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slideLayouts/slideLayout2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4.xml" ContentType="application/vnd.openxmlformats-officedocument.theme+xml"/>
  <Override PartName="/ppt/tags/tag5.xml" ContentType="application/vnd.openxmlformats-officedocument.presentationml.tags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heme/theme5.xml" ContentType="application/vnd.openxmlformats-officedocument.theme+xml"/>
  <Override PartName="/ppt/tags/tag6.xml" ContentType="application/vnd.openxmlformats-officedocument.presentationml.tags+xml"/>
  <Override PartName="/ppt/theme/theme6.xml" ContentType="application/vnd.openxmlformats-officedocument.theme+xml"/>
  <Override PartName="/ppt/theme/themeOverride1.xml" ContentType="application/vnd.openxmlformats-officedocument.themeOverride+xml"/>
  <Override PartName="/ppt/theme/themeOverride2.xml" ContentType="application/vnd.openxmlformats-officedocument.themeOverr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notesSlides/notesSlide1.xml" ContentType="application/vnd.openxmlformats-officedocument.presentationml.notesSlid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theme/themeOverride3.xml" ContentType="application/vnd.openxmlformats-officedocument.themeOverride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tags/tag7.xml" ContentType="application/vnd.openxmlformats-officedocument.presentationml.tags+xml"/>
  <Override PartName="/ppt/notesSlides/notesSlide2.xml" ContentType="application/vnd.openxmlformats-officedocument.presentationml.notesSlide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04" r:id="rId4"/>
    <p:sldMasterId id="2147483706" r:id="rId5"/>
    <p:sldMasterId id="2147483672" r:id="rId6"/>
    <p:sldMasterId id="2147483694" r:id="rId7"/>
    <p:sldMasterId id="2147483684" r:id="rId8"/>
  </p:sldMasterIdLst>
  <p:notesMasterIdLst>
    <p:notesMasterId r:id="rId39"/>
  </p:notesMasterIdLst>
  <p:sldIdLst>
    <p:sldId id="256" r:id="rId9"/>
    <p:sldId id="2147482908" r:id="rId10"/>
    <p:sldId id="361" r:id="rId11"/>
    <p:sldId id="2147482881" r:id="rId12"/>
    <p:sldId id="2147482890" r:id="rId13"/>
    <p:sldId id="2147482891" r:id="rId14"/>
    <p:sldId id="2147482892" r:id="rId15"/>
    <p:sldId id="2147482882" r:id="rId16"/>
    <p:sldId id="2147482897" r:id="rId17"/>
    <p:sldId id="2147482893" r:id="rId18"/>
    <p:sldId id="2147482898" r:id="rId19"/>
    <p:sldId id="2147482899" r:id="rId20"/>
    <p:sldId id="485" r:id="rId21"/>
    <p:sldId id="2147482887" r:id="rId22"/>
    <p:sldId id="2147482888" r:id="rId23"/>
    <p:sldId id="2147482889" r:id="rId24"/>
    <p:sldId id="439" r:id="rId25"/>
    <p:sldId id="258" r:id="rId26"/>
    <p:sldId id="2147482902" r:id="rId27"/>
    <p:sldId id="482" r:id="rId28"/>
    <p:sldId id="483" r:id="rId29"/>
    <p:sldId id="2147482854" r:id="rId30"/>
    <p:sldId id="2147482909" r:id="rId31"/>
    <p:sldId id="2147482910" r:id="rId32"/>
    <p:sldId id="2147482878" r:id="rId33"/>
    <p:sldId id="2147482880" r:id="rId34"/>
    <p:sldId id="2147482885" r:id="rId35"/>
    <p:sldId id="2147482877" r:id="rId36"/>
    <p:sldId id="2147482850" r:id="rId37"/>
    <p:sldId id="289" r:id="rId38"/>
  </p:sldIdLst>
  <p:sldSz cx="12192000" cy="6858000"/>
  <p:notesSz cx="7010400" cy="9296400"/>
  <p:custDataLst>
    <p:tags r:id="rId40"/>
  </p:custDataLst>
  <p:defaultTextStyle>
    <a:defPPr>
      <a:defRPr lang="en-US"/>
    </a:defPPr>
    <a:lvl1pPr marL="0" algn="l" defTabSz="914186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092" algn="l" defTabSz="914186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186" algn="l" defTabSz="914186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279" algn="l" defTabSz="914186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373" algn="l" defTabSz="914186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5466" algn="l" defTabSz="914186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2558" algn="l" defTabSz="914186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199652" algn="l" defTabSz="914186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6744" algn="l" defTabSz="914186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E39D2E2E-66BB-4566-9CB9-0C33657283EB}" name="Ewing, Jenn" initials="JE" userId="S::jennifer.ewing@rbccm.com::f9212601-ab3e-4d9e-9380-bee170fd3b58" providerId="AD"/>
  <p188:author id="{F29E31CA-8A62-9F0C-6BE9-F3DB093E9499}" name="Yokum, Sarah" initials="SY" userId="S::sarah.yokum@wvumedicine.org::7e7903f2-68a4-41c8-8c0e-c8e84dcd3591" providerId="AD"/>
  <p188:author id="{890315DE-68D6-5E6F-AE93-58362F5CAB3E}" name="Bane, Bill" initials="WB" userId="S::william.bane@wvumedicine.org::f02518b1-7a38-429f-bf5a-0c60aa8bb3cc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275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7B302998-6CE9-4C7A-BC41-9C35B6DAC60D}" v="23" dt="2025-08-21T17:28:54.178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22623" autoAdjust="0"/>
    <p:restoredTop sz="96247" autoAdjust="0"/>
  </p:normalViewPr>
  <p:slideViewPr>
    <p:cSldViewPr showGuides="1">
      <p:cViewPr varScale="1">
        <p:scale>
          <a:sx n="111" d="100"/>
          <a:sy n="111" d="100"/>
        </p:scale>
        <p:origin x="156" y="78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5.xml"/><Relationship Id="rId18" Type="http://schemas.openxmlformats.org/officeDocument/2006/relationships/slide" Target="slides/slide10.xml"/><Relationship Id="rId26" Type="http://schemas.openxmlformats.org/officeDocument/2006/relationships/slide" Target="slides/slide18.xml"/><Relationship Id="rId39" Type="http://schemas.openxmlformats.org/officeDocument/2006/relationships/notesMaster" Target="notesMasters/notesMaster1.xml"/><Relationship Id="rId21" Type="http://schemas.openxmlformats.org/officeDocument/2006/relationships/slide" Target="slides/slide13.xml"/><Relationship Id="rId34" Type="http://schemas.openxmlformats.org/officeDocument/2006/relationships/slide" Target="slides/slide26.xml"/><Relationship Id="rId42" Type="http://schemas.openxmlformats.org/officeDocument/2006/relationships/viewProps" Target="viewProps.xml"/><Relationship Id="rId7" Type="http://schemas.openxmlformats.org/officeDocument/2006/relationships/slideMaster" Target="slideMasters/slideMaster4.xml"/><Relationship Id="rId2" Type="http://schemas.openxmlformats.org/officeDocument/2006/relationships/customXml" Target="../customXml/item2.xml"/><Relationship Id="rId16" Type="http://schemas.openxmlformats.org/officeDocument/2006/relationships/slide" Target="slides/slide8.xml"/><Relationship Id="rId29" Type="http://schemas.openxmlformats.org/officeDocument/2006/relationships/slide" Target="slides/slide2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3.xml"/><Relationship Id="rId24" Type="http://schemas.openxmlformats.org/officeDocument/2006/relationships/slide" Target="slides/slide16.xml"/><Relationship Id="rId32" Type="http://schemas.openxmlformats.org/officeDocument/2006/relationships/slide" Target="slides/slide24.xml"/><Relationship Id="rId37" Type="http://schemas.openxmlformats.org/officeDocument/2006/relationships/slide" Target="slides/slide29.xml"/><Relationship Id="rId40" Type="http://schemas.openxmlformats.org/officeDocument/2006/relationships/tags" Target="tags/tag1.xml"/><Relationship Id="rId45" Type="http://schemas.microsoft.com/office/2015/10/relationships/revisionInfo" Target="revisionInfo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7.xml"/><Relationship Id="rId23" Type="http://schemas.openxmlformats.org/officeDocument/2006/relationships/slide" Target="slides/slide15.xml"/><Relationship Id="rId28" Type="http://schemas.openxmlformats.org/officeDocument/2006/relationships/slide" Target="slides/slide20.xml"/><Relationship Id="rId36" Type="http://schemas.openxmlformats.org/officeDocument/2006/relationships/slide" Target="slides/slide28.xml"/><Relationship Id="rId10" Type="http://schemas.openxmlformats.org/officeDocument/2006/relationships/slide" Target="slides/slide2.xml"/><Relationship Id="rId19" Type="http://schemas.openxmlformats.org/officeDocument/2006/relationships/slide" Target="slides/slide11.xml"/><Relationship Id="rId31" Type="http://schemas.openxmlformats.org/officeDocument/2006/relationships/slide" Target="slides/slide23.xml"/><Relationship Id="rId44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1.xml"/><Relationship Id="rId14" Type="http://schemas.openxmlformats.org/officeDocument/2006/relationships/slide" Target="slides/slide6.xml"/><Relationship Id="rId22" Type="http://schemas.openxmlformats.org/officeDocument/2006/relationships/slide" Target="slides/slide14.xml"/><Relationship Id="rId27" Type="http://schemas.openxmlformats.org/officeDocument/2006/relationships/slide" Target="slides/slide19.xml"/><Relationship Id="rId30" Type="http://schemas.openxmlformats.org/officeDocument/2006/relationships/slide" Target="slides/slide22.xml"/><Relationship Id="rId35" Type="http://schemas.openxmlformats.org/officeDocument/2006/relationships/slide" Target="slides/slide27.xml"/><Relationship Id="rId43" Type="http://schemas.openxmlformats.org/officeDocument/2006/relationships/theme" Target="theme/theme1.xml"/><Relationship Id="rId8" Type="http://schemas.openxmlformats.org/officeDocument/2006/relationships/slideMaster" Target="slideMasters/slideMaster5.xml"/><Relationship Id="rId3" Type="http://schemas.openxmlformats.org/officeDocument/2006/relationships/customXml" Target="../customXml/item3.xml"/><Relationship Id="rId12" Type="http://schemas.openxmlformats.org/officeDocument/2006/relationships/slide" Target="slides/slide4.xml"/><Relationship Id="rId17" Type="http://schemas.openxmlformats.org/officeDocument/2006/relationships/slide" Target="slides/slide9.xml"/><Relationship Id="rId25" Type="http://schemas.openxmlformats.org/officeDocument/2006/relationships/slide" Target="slides/slide17.xml"/><Relationship Id="rId33" Type="http://schemas.openxmlformats.org/officeDocument/2006/relationships/slide" Target="slides/slide25.xml"/><Relationship Id="rId38" Type="http://schemas.openxmlformats.org/officeDocument/2006/relationships/slide" Target="slides/slide30.xml"/><Relationship Id="rId46" Type="http://schemas.microsoft.com/office/2018/10/relationships/authors" Target="authors.xml"/><Relationship Id="rId20" Type="http://schemas.openxmlformats.org/officeDocument/2006/relationships/slide" Target="slides/slide12.xml"/><Relationship Id="rId41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3.xml"/><Relationship Id="rId2" Type="http://schemas.microsoft.com/office/2011/relationships/chartColorStyle" Target="colors5.xml"/><Relationship Id="rId1" Type="http://schemas.microsoft.com/office/2011/relationships/chartStyle" Target="style5.xml"/><Relationship Id="rId4" Type="http://schemas.openxmlformats.org/officeDocument/2006/relationships/package" Target="../embeddings/Microsoft_Excel_Worksheet4.xlsx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5.xlsx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8618766404199475E-2"/>
          <c:y val="3.2210868872604798E-2"/>
          <c:w val="0.92440592495382523"/>
          <c:h val="0.693454051221763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 % of NPR </c:v>
                </c:pt>
              </c:strCache>
            </c:strRef>
          </c:tx>
          <c:spPr>
            <a:solidFill>
              <a:srgbClr val="002859"/>
            </a:solidFill>
            <a:ln>
              <a:noFill/>
            </a:ln>
            <a:effectLst/>
          </c:spPr>
          <c:invertIfNegative val="0"/>
          <c:dLbls>
            <c:numFmt formatCode="0.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8</c:f>
              <c:strCache>
                <c:ptCount val="7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  <c:pt idx="3">
                  <c:v>2022</c:v>
                </c:pt>
                <c:pt idx="4">
                  <c:v>2023</c:v>
                </c:pt>
                <c:pt idx="5">
                  <c:v>2024</c:v>
                </c:pt>
                <c:pt idx="6">
                  <c:v>Jan-25</c:v>
                </c:pt>
              </c:strCache>
            </c:strRef>
          </c:cat>
          <c:val>
            <c:numRef>
              <c:f>Sheet1!$B$2:$B$8</c:f>
              <c:numCache>
                <c:formatCode>0.00%</c:formatCode>
                <c:ptCount val="7"/>
                <c:pt idx="0">
                  <c:v>8.3791059378731849E-3</c:v>
                </c:pt>
                <c:pt idx="1">
                  <c:v>7.623290938630338E-3</c:v>
                </c:pt>
                <c:pt idx="2">
                  <c:v>1.7864912935917129E-2</c:v>
                </c:pt>
                <c:pt idx="3">
                  <c:v>5.2456647433040557E-2</c:v>
                </c:pt>
                <c:pt idx="4">
                  <c:v>4.3953678694885083E-2</c:v>
                </c:pt>
                <c:pt idx="5">
                  <c:v>3.201687149062854E-2</c:v>
                </c:pt>
                <c:pt idx="6">
                  <c:v>3.2205439731652213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8A6-421C-9473-82C6E01A06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-5"/>
        <c:axId val="1167879631"/>
        <c:axId val="1167872431"/>
        <c:extLst/>
      </c:barChart>
      <c:catAx>
        <c:axId val="1167879631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167872431"/>
        <c:crosses val="autoZero"/>
        <c:auto val="1"/>
        <c:lblAlgn val="ctr"/>
        <c:lblOffset val="100"/>
        <c:noMultiLvlLbl val="0"/>
      </c:catAx>
      <c:valAx>
        <c:axId val="1167872431"/>
        <c:scaling>
          <c:orientation val="minMax"/>
        </c:scaling>
        <c:delete val="0"/>
        <c:axPos val="l"/>
        <c:numFmt formatCode="0.0%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167879631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"/>
          <c:y val="0.88391038186700666"/>
          <c:w val="1"/>
          <c:h val="9.8748577670565732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000">
          <a:solidFill>
            <a:schemeClr val="tx1"/>
          </a:solidFill>
        </a:defRPr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8618766404199475E-2"/>
          <c:y val="3.2210868872604798E-2"/>
          <c:w val="0.92440592495382523"/>
          <c:h val="0.6934540512217634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 Agency </c:v>
                </c:pt>
              </c:strCache>
            </c:strRef>
          </c:tx>
          <c:spPr>
            <a:solidFill>
              <a:srgbClr val="002859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-6.1728395061728392E-3"/>
                  <c:y val="0"/>
                </c:manualLayout>
              </c:layout>
              <c:numFmt formatCode="&quot;$&quot;#,##0.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800" b="0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F177-4619-A676-2D1C347BB4C3}"/>
                </c:ext>
              </c:extLst>
            </c:dLbl>
            <c:dLbl>
              <c:idx val="1"/>
              <c:numFmt formatCode="&quot;$&quot;#,##0.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800" b="0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6-F177-4619-A676-2D1C347BB4C3}"/>
                </c:ext>
              </c:extLst>
            </c:dLbl>
            <c:numFmt formatCode="&quot;$&quot;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0</c:f>
              <c:strCache>
                <c:ptCount val="9"/>
                <c:pt idx="0">
                  <c:v>2019 Avg</c:v>
                </c:pt>
                <c:pt idx="1">
                  <c:v>2020 Avg</c:v>
                </c:pt>
                <c:pt idx="2">
                  <c:v>2021 Avg</c:v>
                </c:pt>
                <c:pt idx="3">
                  <c:v>2022 Avg</c:v>
                </c:pt>
                <c:pt idx="4">
                  <c:v>2023 Avg</c:v>
                </c:pt>
                <c:pt idx="5">
                  <c:v>2024 Avg</c:v>
                </c:pt>
                <c:pt idx="6">
                  <c:v>Jan
25</c:v>
                </c:pt>
                <c:pt idx="7">
                  <c:v>Feb
25</c:v>
                </c:pt>
                <c:pt idx="8">
                  <c:v>Mar
25</c:v>
                </c:pt>
              </c:strCache>
            </c:strRef>
          </c:cat>
          <c:val>
            <c:numRef>
              <c:f>Sheet1!$B$2:$B$10</c:f>
              <c:numCache>
                <c:formatCode>_(* #,##0_);_(* \(#,##0\);_(* "-"??_);_(@_)</c:formatCode>
                <c:ptCount val="9"/>
                <c:pt idx="0">
                  <c:v>135327</c:v>
                </c:pt>
                <c:pt idx="1">
                  <c:v>124069</c:v>
                </c:pt>
                <c:pt idx="2">
                  <c:v>3331789</c:v>
                </c:pt>
                <c:pt idx="3">
                  <c:v>14239005.7425</c:v>
                </c:pt>
                <c:pt idx="4">
                  <c:v>13523500.525</c:v>
                </c:pt>
                <c:pt idx="5">
                  <c:v>9056368.3500000015</c:v>
                </c:pt>
                <c:pt idx="6">
                  <c:v>7879813.4000000004</c:v>
                </c:pt>
                <c:pt idx="7">
                  <c:v>7026790.8599999994</c:v>
                </c:pt>
                <c:pt idx="8">
                  <c:v>7789271.41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177-4619-A676-2D1C347BB4C3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 Overtime </c:v>
                </c:pt>
              </c:strCache>
            </c:strRef>
          </c:tx>
          <c:spPr>
            <a:solidFill>
              <a:schemeClr val="bg2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-6.1728395061728392E-3"/>
                  <c:y val="-1.6889510682947979E-2"/>
                </c:manualLayout>
              </c:layout>
              <c:numFmt formatCode="&quot;$&quot;#,##0.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800" b="0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F177-4619-A676-2D1C347BB4C3}"/>
                </c:ext>
              </c:extLst>
            </c:dLbl>
            <c:dLbl>
              <c:idx val="1"/>
              <c:layout>
                <c:manualLayout>
                  <c:x val="3.0864197530863914E-3"/>
                  <c:y val="-1.688951068294808E-2"/>
                </c:manualLayout>
              </c:layout>
              <c:numFmt formatCode="&quot;$&quot;#,##0.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800" b="0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F177-4619-A676-2D1C347BB4C3}"/>
                </c:ext>
              </c:extLst>
            </c:dLbl>
            <c:numFmt formatCode="&quot;$&quot;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0</c:f>
              <c:strCache>
                <c:ptCount val="9"/>
                <c:pt idx="0">
                  <c:v>2019 Avg</c:v>
                </c:pt>
                <c:pt idx="1">
                  <c:v>2020 Avg</c:v>
                </c:pt>
                <c:pt idx="2">
                  <c:v>2021 Avg</c:v>
                </c:pt>
                <c:pt idx="3">
                  <c:v>2022 Avg</c:v>
                </c:pt>
                <c:pt idx="4">
                  <c:v>2023 Avg</c:v>
                </c:pt>
                <c:pt idx="5">
                  <c:v>2024 Avg</c:v>
                </c:pt>
                <c:pt idx="6">
                  <c:v>Jan
25</c:v>
                </c:pt>
                <c:pt idx="7">
                  <c:v>Feb
25</c:v>
                </c:pt>
                <c:pt idx="8">
                  <c:v>Mar
25</c:v>
                </c:pt>
              </c:strCache>
            </c:strRef>
          </c:cat>
          <c:val>
            <c:numRef>
              <c:f>Sheet1!$C$2:$C$10</c:f>
              <c:numCache>
                <c:formatCode>_-* #,##0_-;\-* #,##0_-;_-* "-"??_-;_-@_-</c:formatCode>
                <c:ptCount val="9"/>
                <c:pt idx="0">
                  <c:v>1611792</c:v>
                </c:pt>
                <c:pt idx="1">
                  <c:v>1549878</c:v>
                </c:pt>
                <c:pt idx="2">
                  <c:v>1969877</c:v>
                </c:pt>
                <c:pt idx="3">
                  <c:v>3494767.8604333331</c:v>
                </c:pt>
                <c:pt idx="4">
                  <c:v>5599099.683600001</c:v>
                </c:pt>
                <c:pt idx="5">
                  <c:v>6544694.833333333</c:v>
                </c:pt>
                <c:pt idx="6">
                  <c:v>9555793</c:v>
                </c:pt>
                <c:pt idx="7">
                  <c:v>6326419</c:v>
                </c:pt>
                <c:pt idx="8">
                  <c:v>698003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F177-4619-A676-2D1C347BB4C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1167879631"/>
        <c:axId val="1167872431"/>
      </c:barChart>
      <c:lineChart>
        <c:grouping val="standard"/>
        <c:varyColors val="0"/>
        <c:ser>
          <c:idx val="2"/>
          <c:order val="2"/>
          <c:tx>
            <c:strRef>
              <c:f>Sheet1!$D$1</c:f>
              <c:strCache>
                <c:ptCount val="1"/>
                <c:pt idx="0">
                  <c:v>Total</c:v>
                </c:pt>
              </c:strCache>
            </c:strRef>
          </c:tx>
          <c:spPr>
            <a:ln w="28575" cap="rnd">
              <a:noFill/>
              <a:round/>
            </a:ln>
            <a:effectLst/>
          </c:spPr>
          <c:marker>
            <c:symbol val="none"/>
          </c:marker>
          <c:dLbls>
            <c:numFmt formatCode="&quot;$&quot;#,##0.0" sourceLinked="0"/>
            <c:spPr>
              <a:solidFill>
                <a:schemeClr val="accent6">
                  <a:lumMod val="20000"/>
                  <a:lumOff val="80000"/>
                </a:schemeClr>
              </a:solidFill>
              <a:ln>
                <a:solidFill>
                  <a:srgbClr val="002859"/>
                </a:solidFill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0</c:f>
              <c:strCache>
                <c:ptCount val="9"/>
                <c:pt idx="0">
                  <c:v>2019 Avg</c:v>
                </c:pt>
                <c:pt idx="1">
                  <c:v>2020 Avg</c:v>
                </c:pt>
                <c:pt idx="2">
                  <c:v>2021 Avg</c:v>
                </c:pt>
                <c:pt idx="3">
                  <c:v>2022 Avg</c:v>
                </c:pt>
                <c:pt idx="4">
                  <c:v>2023 Avg</c:v>
                </c:pt>
                <c:pt idx="5">
                  <c:v>2024 Avg</c:v>
                </c:pt>
                <c:pt idx="6">
                  <c:v>Jan
25</c:v>
                </c:pt>
                <c:pt idx="7">
                  <c:v>Feb
25</c:v>
                </c:pt>
                <c:pt idx="8">
                  <c:v>Mar
25</c:v>
                </c:pt>
              </c:strCache>
            </c:strRef>
          </c:cat>
          <c:val>
            <c:numRef>
              <c:f>Sheet1!$D$2:$D$10</c:f>
              <c:numCache>
                <c:formatCode>_-* #,##0_-;\-* #,##0_-;_-* "-"??_-;_-@_-</c:formatCode>
                <c:ptCount val="9"/>
                <c:pt idx="0">
                  <c:v>1747119</c:v>
                </c:pt>
                <c:pt idx="1">
                  <c:v>1673947</c:v>
                </c:pt>
                <c:pt idx="2">
                  <c:v>5301666</c:v>
                </c:pt>
                <c:pt idx="3">
                  <c:v>17733773.602933332</c:v>
                </c:pt>
                <c:pt idx="4">
                  <c:v>19122600.2086</c:v>
                </c:pt>
                <c:pt idx="5">
                  <c:v>15601063.183333334</c:v>
                </c:pt>
                <c:pt idx="6">
                  <c:v>17435606.399999999</c:v>
                </c:pt>
                <c:pt idx="7">
                  <c:v>13353209.859999999</c:v>
                </c:pt>
                <c:pt idx="8">
                  <c:v>14769307.4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F177-4619-A676-2D1C347BB4C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167879631"/>
        <c:axId val="1167872431"/>
      </c:lineChart>
      <c:catAx>
        <c:axId val="1167879631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167872431"/>
        <c:crosses val="autoZero"/>
        <c:auto val="1"/>
        <c:lblAlgn val="ctr"/>
        <c:lblOffset val="100"/>
        <c:noMultiLvlLbl val="0"/>
      </c:catAx>
      <c:valAx>
        <c:axId val="1167872431"/>
        <c:scaling>
          <c:orientation val="minMax"/>
        </c:scaling>
        <c:delete val="0"/>
        <c:axPos val="l"/>
        <c:numFmt formatCode="&quot;$&quot;#,##0.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167879631"/>
        <c:crosses val="autoZero"/>
        <c:crossBetween val="between"/>
        <c:dispUnits>
          <c:builtInUnit val="millions"/>
          <c:dispUnitsLbl>
            <c:spPr>
              <a:noFill/>
              <a:ln>
                <a:noFill/>
              </a:ln>
              <a:effectLst/>
            </c:spPr>
            <c:txPr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</c:dispUnitsLbl>
        </c:dispUnits>
      </c:valAx>
      <c:spPr>
        <a:noFill/>
        <a:ln>
          <a:noFill/>
        </a:ln>
        <a:effectLst/>
      </c:spPr>
    </c:plotArea>
    <c:legend>
      <c:legendPos val="b"/>
      <c:legendEntry>
        <c:idx val="2"/>
        <c:delete val="1"/>
      </c:legendEntry>
      <c:layout>
        <c:manualLayout>
          <c:xMode val="edge"/>
          <c:yMode val="edge"/>
          <c:x val="0.30246913580246915"/>
          <c:y val="0.90080005745093394"/>
          <c:w val="0.38942573150578402"/>
          <c:h val="8.7618507748490254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000">
          <a:solidFill>
            <a:schemeClr val="tx1"/>
          </a:solidFill>
        </a:defRPr>
      </a:pPr>
      <a:endParaRPr lang="en-US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8618766404199475E-2"/>
          <c:y val="3.2210868872604798E-2"/>
          <c:w val="0.92440592495382523"/>
          <c:h val="0.76664170952619359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WVUHS RN Turnover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dLbls>
            <c:numFmt formatCode="0.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8</c:f>
              <c:strCache>
                <c:ptCount val="5"/>
                <c:pt idx="0">
                  <c:v>2021</c:v>
                </c:pt>
                <c:pt idx="1">
                  <c:v>2022</c:v>
                </c:pt>
                <c:pt idx="2">
                  <c:v>2023</c:v>
                </c:pt>
                <c:pt idx="3">
                  <c:v>2024</c:v>
                </c:pt>
                <c:pt idx="4">
                  <c:v>2025 YTD
(Annualized)</c:v>
                </c:pt>
              </c:strCache>
              <c:extLst/>
            </c:strRef>
          </c:cat>
          <c:val>
            <c:numRef>
              <c:f>Sheet1!$B$2:$B$8</c:f>
              <c:numCache>
                <c:formatCode>0.00%</c:formatCode>
                <c:ptCount val="5"/>
                <c:pt idx="0">
                  <c:v>0.20569999999999999</c:v>
                </c:pt>
                <c:pt idx="1">
                  <c:v>0.15010000000000001</c:v>
                </c:pt>
                <c:pt idx="2" formatCode="General">
                  <c:v>0.1114</c:v>
                </c:pt>
                <c:pt idx="3" formatCode="General">
                  <c:v>0.1236</c:v>
                </c:pt>
                <c:pt idx="4" formatCode="General">
                  <c:v>0.1206</c:v>
                </c:pt>
              </c:numCache>
              <c:extLst/>
            </c:numRef>
          </c:val>
          <c:extLst>
            <c:ext xmlns:c16="http://schemas.microsoft.com/office/drawing/2014/chart" uri="{C3380CC4-5D6E-409C-BE32-E72D297353CC}">
              <c16:uniqueId val="{00000000-111B-4EB4-A03F-11BC0292009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167879631"/>
        <c:axId val="1167872431"/>
        <c:extLst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Median RN Turnover</c:v>
                </c:pt>
              </c:strCache>
            </c:strRef>
          </c:tx>
          <c:spPr>
            <a:ln w="28575" cap="rnd">
              <a:solidFill>
                <a:schemeClr val="accent1"/>
              </a:solidFill>
              <a:prstDash val="dash"/>
              <a:round/>
            </a:ln>
            <a:effectLst/>
          </c:spPr>
          <c:marker>
            <c:symbol val="none"/>
          </c:marker>
          <c:dLbls>
            <c:numFmt formatCode="0.0%" sourceLinked="0"/>
            <c:spPr>
              <a:solidFill>
                <a:schemeClr val="accent1">
                  <a:lumMod val="20000"/>
                  <a:lumOff val="80000"/>
                </a:schemeClr>
              </a:solidFill>
              <a:ln>
                <a:solidFill>
                  <a:schemeClr val="accent1"/>
                </a:solidFill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8</c:f>
              <c:strCache>
                <c:ptCount val="5"/>
                <c:pt idx="0">
                  <c:v>2021</c:v>
                </c:pt>
                <c:pt idx="1">
                  <c:v>2022</c:v>
                </c:pt>
                <c:pt idx="2">
                  <c:v>2023</c:v>
                </c:pt>
                <c:pt idx="3">
                  <c:v>2024</c:v>
                </c:pt>
                <c:pt idx="4">
                  <c:v>2025 YTD
(Annualized)</c:v>
                </c:pt>
              </c:strCache>
              <c:extLst/>
            </c:strRef>
          </c:cat>
          <c:val>
            <c:numRef>
              <c:f>Sheet1!$C$2:$C$8</c:f>
              <c:numCache>
                <c:formatCode>0.00%</c:formatCode>
                <c:ptCount val="5"/>
                <c:pt idx="0">
                  <c:v>0.27100000000000002</c:v>
                </c:pt>
                <c:pt idx="1">
                  <c:v>0.22500000000000001</c:v>
                </c:pt>
                <c:pt idx="2">
                  <c:v>0.184</c:v>
                </c:pt>
                <c:pt idx="3">
                  <c:v>0.16400000000000001</c:v>
                </c:pt>
                <c:pt idx="4">
                  <c:v>0.16400000000000001</c:v>
                </c:pt>
              </c:numCache>
              <c:extLst/>
            </c:numRef>
          </c:val>
          <c:smooth val="0"/>
          <c:extLst>
            <c:ext xmlns:c16="http://schemas.microsoft.com/office/drawing/2014/chart" uri="{C3380CC4-5D6E-409C-BE32-E72D297353CC}">
              <c16:uniqueId val="{00000001-111B-4EB4-A03F-11BC0292009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167879631"/>
        <c:axId val="1167872431"/>
      </c:lineChart>
      <c:catAx>
        <c:axId val="1167879631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167872431"/>
        <c:crosses val="autoZero"/>
        <c:auto val="1"/>
        <c:lblAlgn val="ctr"/>
        <c:lblOffset val="100"/>
        <c:noMultiLvlLbl val="0"/>
      </c:catAx>
      <c:valAx>
        <c:axId val="1167872431"/>
        <c:scaling>
          <c:orientation val="minMax"/>
        </c:scaling>
        <c:delete val="0"/>
        <c:axPos val="l"/>
        <c:numFmt formatCode="0%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167879631"/>
        <c:crosses val="autoZero"/>
        <c:crossBetween val="between"/>
        <c:majorUnit val="5.000000000000001E-2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4.6296296296296294E-2"/>
          <c:y val="0.8839102362204726"/>
          <c:w val="0.9"/>
          <c:h val="0.1137548556430446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000">
          <a:solidFill>
            <a:schemeClr val="tx1"/>
          </a:solidFill>
        </a:defRPr>
      </a:pPr>
      <a:endParaRPr lang="en-US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8618766404199475E-2"/>
          <c:y val="3.2210868872604798E-2"/>
          <c:w val="0.92440592495382523"/>
          <c:h val="0.76664170952619359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WVUHS Turnover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dLbls>
            <c:numFmt formatCode="0.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5="http://schemas.microsoft.com/office/drawing/2012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8</c:f>
              <c:strCache>
                <c:ptCount val="5"/>
                <c:pt idx="0">
                  <c:v>2021</c:v>
                </c:pt>
                <c:pt idx="1">
                  <c:v>2022</c:v>
                </c:pt>
                <c:pt idx="2">
                  <c:v>2023</c:v>
                </c:pt>
                <c:pt idx="3">
                  <c:v>2024</c:v>
                </c:pt>
                <c:pt idx="4">
                  <c:v>2025 YTD
(Annualized)</c:v>
                </c:pt>
              </c:strCache>
              <c:extLst/>
            </c:strRef>
          </c:cat>
          <c:val>
            <c:numRef>
              <c:f>Sheet1!$B$2:$B$8</c:f>
              <c:numCache>
                <c:formatCode>0.00%</c:formatCode>
                <c:ptCount val="5"/>
                <c:pt idx="0">
                  <c:v>0.22589999999999999</c:v>
                </c:pt>
                <c:pt idx="1">
                  <c:v>0.18629999999999999</c:v>
                </c:pt>
                <c:pt idx="2" formatCode="General">
                  <c:v>0.16539999999999999</c:v>
                </c:pt>
                <c:pt idx="3" formatCode="General">
                  <c:v>0.16700000000000001</c:v>
                </c:pt>
                <c:pt idx="4" formatCode="General">
                  <c:v>0.16320000000000001</c:v>
                </c:pt>
              </c:numCache>
              <c:extLst/>
            </c:numRef>
          </c:val>
          <c:extLst xmlns:c15="http://schemas.microsoft.com/office/drawing/2012/chart">
            <c:ext xmlns:c16="http://schemas.microsoft.com/office/drawing/2014/chart" uri="{C3380CC4-5D6E-409C-BE32-E72D297353CC}">
              <c16:uniqueId val="{00000000-410F-413B-95F9-249F4ABA8A9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-5"/>
        <c:axId val="1167879631"/>
        <c:axId val="1167872431"/>
        <c:extLst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Median Turnover</c:v>
                </c:pt>
              </c:strCache>
            </c:strRef>
          </c:tx>
          <c:spPr>
            <a:ln w="28575" cap="rnd">
              <a:solidFill>
                <a:schemeClr val="accent2"/>
              </a:solidFill>
              <a:prstDash val="dash"/>
              <a:round/>
            </a:ln>
            <a:effectLst/>
          </c:spPr>
          <c:marker>
            <c:symbol val="none"/>
          </c:marker>
          <c:dLbls>
            <c:numFmt formatCode="0.0%" sourceLinked="0"/>
            <c:spPr>
              <a:solidFill>
                <a:schemeClr val="bg2">
                  <a:lumMod val="20000"/>
                  <a:lumOff val="80000"/>
                </a:schemeClr>
              </a:solidFill>
              <a:ln>
                <a:solidFill>
                  <a:schemeClr val="bg2"/>
                </a:solidFill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5="http://schemas.microsoft.com/office/drawing/2012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8</c:f>
              <c:strCache>
                <c:ptCount val="5"/>
                <c:pt idx="0">
                  <c:v>2021</c:v>
                </c:pt>
                <c:pt idx="1">
                  <c:v>2022</c:v>
                </c:pt>
                <c:pt idx="2">
                  <c:v>2023</c:v>
                </c:pt>
                <c:pt idx="3">
                  <c:v>2024</c:v>
                </c:pt>
                <c:pt idx="4">
                  <c:v>2025 YTD
(Annualized)</c:v>
                </c:pt>
              </c:strCache>
              <c:extLst/>
            </c:strRef>
          </c:cat>
          <c:val>
            <c:numRef>
              <c:f>Sheet1!$C$2:$C$8</c:f>
              <c:numCache>
                <c:formatCode>0.00%</c:formatCode>
                <c:ptCount val="5"/>
                <c:pt idx="0">
                  <c:v>0.25900000000000001</c:v>
                </c:pt>
                <c:pt idx="1">
                  <c:v>0.22700000000000001</c:v>
                </c:pt>
                <c:pt idx="2">
                  <c:v>0.20699999999999999</c:v>
                </c:pt>
                <c:pt idx="3">
                  <c:v>0.183</c:v>
                </c:pt>
                <c:pt idx="4">
                  <c:v>0.183</c:v>
                </c:pt>
              </c:numCache>
              <c:extLst/>
            </c:numRef>
          </c:val>
          <c:smooth val="0"/>
          <c:extLst xmlns:c15="http://schemas.microsoft.com/office/drawing/2012/chart">
            <c:ext xmlns:c16="http://schemas.microsoft.com/office/drawing/2014/chart" uri="{C3380CC4-5D6E-409C-BE32-E72D297353CC}">
              <c16:uniqueId val="{00000001-410F-413B-95F9-249F4ABA8A9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167879631"/>
        <c:axId val="1167872431"/>
      </c:lineChart>
      <c:catAx>
        <c:axId val="1167879631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167872431"/>
        <c:crosses val="autoZero"/>
        <c:auto val="1"/>
        <c:lblAlgn val="ctr"/>
        <c:lblOffset val="100"/>
        <c:noMultiLvlLbl val="0"/>
      </c:catAx>
      <c:valAx>
        <c:axId val="1167872431"/>
        <c:scaling>
          <c:orientation val="minMax"/>
        </c:scaling>
        <c:delete val="0"/>
        <c:axPos val="l"/>
        <c:numFmt formatCode="0%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167879631"/>
        <c:crosses val="autoZero"/>
        <c:crossBetween val="between"/>
        <c:majorUnit val="0.1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"/>
          <c:y val="0.88391038186700666"/>
          <c:w val="0.99577160493827166"/>
          <c:h val="0.11608969137478505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000">
          <a:solidFill>
            <a:schemeClr val="tx1"/>
          </a:solidFill>
        </a:defRPr>
      </a:pPr>
      <a:endParaRPr lang="en-US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US Hospital Revenue by Source</c:v>
                </c:pt>
              </c:strCache>
            </c:strRef>
          </c:tx>
          <c:dPt>
            <c:idx val="0"/>
            <c:bubble3D val="0"/>
            <c:spPr>
              <a:solidFill>
                <a:srgbClr val="FF0000"/>
              </a:solidFill>
              <a:ln w="9525" cap="flat" cmpd="sng" algn="ctr">
                <a:solidFill>
                  <a:schemeClr val="accent1">
                    <a:shade val="95000"/>
                  </a:schemeClr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1-573E-461F-9D35-4C4A1C24A1AB}"/>
              </c:ext>
            </c:extLst>
          </c:dPt>
          <c:dPt>
            <c:idx val="1"/>
            <c:bubble3D val="0"/>
            <c:spPr>
              <a:solidFill>
                <a:srgbClr val="FF5353"/>
              </a:solidFill>
              <a:ln w="9525" cap="flat" cmpd="sng" algn="ctr">
                <a:solidFill>
                  <a:schemeClr val="accent2">
                    <a:shade val="95000"/>
                  </a:schemeClr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3-573E-461F-9D35-4C4A1C24A1AB}"/>
              </c:ext>
            </c:extLst>
          </c:dPt>
          <c:dPt>
            <c:idx val="2"/>
            <c:bubble3D val="0"/>
            <c:spPr>
              <a:solidFill>
                <a:srgbClr val="00B0F0"/>
              </a:solidFill>
              <a:ln w="9525" cap="flat" cmpd="sng" algn="ctr">
                <a:solidFill>
                  <a:schemeClr val="accent3">
                    <a:shade val="95000"/>
                  </a:schemeClr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5-573E-461F-9D35-4C4A1C24A1AB}"/>
              </c:ext>
            </c:extLst>
          </c:dPt>
          <c:dPt>
            <c:idx val="3"/>
            <c:bubble3D val="0"/>
            <c:spPr>
              <a:solidFill>
                <a:srgbClr val="92D050"/>
              </a:solidFill>
              <a:ln w="9525" cap="flat" cmpd="sng" algn="ctr">
                <a:solidFill>
                  <a:schemeClr val="accent4">
                    <a:shade val="95000"/>
                  </a:schemeClr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7-573E-461F-9D35-4C4A1C24A1AB}"/>
              </c:ext>
            </c:extLst>
          </c:dPt>
          <c:dLbls>
            <c:dLbl>
              <c:idx val="0"/>
              <c:layout>
                <c:manualLayout>
                  <c:x val="-0.13303500565772103"/>
                  <c:y val="4.9297583640531002E-2"/>
                </c:manualLayout>
              </c:layout>
              <c:tx>
                <c:rich>
                  <a:bodyPr/>
                  <a:lstStyle/>
                  <a:p>
                    <a:fld id="{E8A39D14-78C8-4BF3-8956-EA63360C532D}" type="CATEGORYNAME">
                      <a:rPr lang="en-US" sz="2200" smtClean="0">
                        <a:solidFill>
                          <a:schemeClr val="tx1"/>
                        </a:solidFill>
                      </a:rPr>
                      <a:pPr/>
                      <a:t>[CATEGORY NAME]</a:t>
                    </a:fld>
                    <a:endParaRPr lang="en-US"/>
                  </a:p>
                </c:rich>
              </c:tx>
              <c:dLblPos val="bestFit"/>
              <c:showLegendKey val="0"/>
              <c:showVal val="0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1877897534294569"/>
                      <c:h val="0.20116763715030681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1-573E-461F-9D35-4C4A1C24A1AB}"/>
                </c:ext>
              </c:extLst>
            </c:dLbl>
            <c:dLbl>
              <c:idx val="1"/>
              <c:layout>
                <c:manualLayout>
                  <c:x val="-0.17223950358563486"/>
                  <c:y val="-3.3710459403828667E-3"/>
                </c:manualLayout>
              </c:layout>
              <c:tx>
                <c:rich>
                  <a:bodyPr/>
                  <a:lstStyle/>
                  <a:p>
                    <a:fld id="{B9B3AC32-A722-4D9A-8441-D9F18D59F07D}" type="CATEGORYNAME">
                      <a:rPr lang="en-US" sz="1600">
                        <a:solidFill>
                          <a:schemeClr val="tx1"/>
                        </a:solidFill>
                      </a:rPr>
                      <a:pPr/>
                      <a:t>[CATEGORY NAME]</a:t>
                    </a:fld>
                    <a:endParaRPr lang="en-US"/>
                  </a:p>
                </c:rich>
              </c:tx>
              <c:dLblPos val="bestFit"/>
              <c:showLegendKey val="0"/>
              <c:showVal val="0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13784648242499101"/>
                      <c:h val="5.8635527738824245E-2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3-573E-461F-9D35-4C4A1C24A1AB}"/>
                </c:ext>
              </c:extLst>
            </c:dLbl>
            <c:dLbl>
              <c:idx val="2"/>
              <c:layout>
                <c:manualLayout>
                  <c:x val="0.1613403260104275"/>
                  <c:y val="-7.0368331522502811E-2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noAutofit/>
                  </a:bodyPr>
                  <a:lstStyle/>
                  <a:p>
                    <a:pPr>
                      <a:defRPr lang="en-US" sz="2200" b="0" i="0" u="none" strike="noStrike" kern="1200" baseline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sz="2200" dirty="0">
                        <a:solidFill>
                          <a:schemeClr val="tx1"/>
                        </a:solidFill>
                      </a:rPr>
                      <a:t>Employer/Other</a:t>
                    </a:r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lang="en-US" sz="2200" b="0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bestFit"/>
              <c:showLegendKey val="0"/>
              <c:showVal val="0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0587598391633752"/>
                      <c:h val="0.22832446508993909"/>
                    </c:manualLayout>
                  </c15:layout>
                  <c15:showDataLabelsRange val="0"/>
                </c:ext>
                <c:ext xmlns:c16="http://schemas.microsoft.com/office/drawing/2014/chart" uri="{C3380CC4-5D6E-409C-BE32-E72D297353CC}">
                  <c16:uniqueId val="{00000005-573E-461F-9D35-4C4A1C24A1AB}"/>
                </c:ext>
              </c:extLst>
            </c:dLbl>
            <c:dLbl>
              <c:idx val="3"/>
              <c:layout>
                <c:manualLayout>
                  <c:x val="2.6990890844526789E-2"/>
                  <c:y val="-9.4407283460857333E-2"/>
                </c:manualLayout>
              </c:layout>
              <c:tx>
                <c:rich>
                  <a:bodyPr/>
                  <a:lstStyle/>
                  <a:p>
                    <a:fld id="{DAECD81C-FBBD-4A42-BDC7-1128DD8F291E}" type="CATEGORYNAME">
                      <a:rPr lang="en-US" sz="1600">
                        <a:solidFill>
                          <a:schemeClr val="tx1"/>
                        </a:solidFill>
                      </a:rPr>
                      <a:pPr/>
                      <a:t>[CATEGORY NAME]</a:t>
                    </a:fld>
                    <a:endParaRPr lang="en-US"/>
                  </a:p>
                </c:rich>
              </c:tx>
              <c:dLblPos val="bestFit"/>
              <c:showLegendKey val="0"/>
              <c:showVal val="0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7-573E-461F-9D35-4C4A1C24A1AB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en-US" sz="2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0"/>
            <c:showCatName val="1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5</c:f>
              <c:strCache>
                <c:ptCount val="3"/>
                <c:pt idx="0">
                  <c:v>Medicaid/Medicare</c:v>
                </c:pt>
                <c:pt idx="2">
                  <c:v>Employer/Other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 formatCode="0%">
                  <c:v>0.43</c:v>
                </c:pt>
                <c:pt idx="2" formatCode="0%">
                  <c:v>0.5699999999999999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573E-461F-9D35-4C4A1C24A1A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WV Hospital Utilization</c:v>
                </c:pt>
              </c:strCache>
            </c:strRef>
          </c:tx>
          <c:dPt>
            <c:idx val="0"/>
            <c:bubble3D val="0"/>
            <c:spPr>
              <a:solidFill>
                <a:srgbClr val="FF0000"/>
              </a:solidFill>
              <a:ln w="9525" cap="flat" cmpd="sng" algn="ctr">
                <a:solidFill>
                  <a:schemeClr val="accent1">
                    <a:shade val="95000"/>
                  </a:schemeClr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1-E43E-4516-AE54-1A3164E4DE9F}"/>
              </c:ext>
            </c:extLst>
          </c:dPt>
          <c:dPt>
            <c:idx val="1"/>
            <c:bubble3D val="0"/>
            <c:spPr>
              <a:solidFill>
                <a:srgbClr val="FF5353"/>
              </a:solidFill>
              <a:ln w="9525" cap="flat" cmpd="sng" algn="ctr">
                <a:solidFill>
                  <a:schemeClr val="accent2">
                    <a:shade val="95000"/>
                  </a:schemeClr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3-E43E-4516-AE54-1A3164E4DE9F}"/>
              </c:ext>
            </c:extLst>
          </c:dPt>
          <c:dPt>
            <c:idx val="2"/>
            <c:bubble3D val="0"/>
            <c:spPr>
              <a:solidFill>
                <a:srgbClr val="00B0F0"/>
              </a:solidFill>
              <a:ln w="9525" cap="flat" cmpd="sng" algn="ctr">
                <a:solidFill>
                  <a:schemeClr val="accent3">
                    <a:shade val="95000"/>
                  </a:schemeClr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5-E43E-4516-AE54-1A3164E4DE9F}"/>
              </c:ext>
            </c:extLst>
          </c:dPt>
          <c:dPt>
            <c:idx val="3"/>
            <c:bubble3D val="0"/>
            <c:spPr>
              <a:solidFill>
                <a:srgbClr val="92D050"/>
              </a:solidFill>
              <a:ln w="9525" cap="flat" cmpd="sng" algn="ctr">
                <a:solidFill>
                  <a:schemeClr val="accent4">
                    <a:shade val="95000"/>
                  </a:schemeClr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7-E43E-4516-AE54-1A3164E4DE9F}"/>
              </c:ext>
            </c:extLst>
          </c:dPt>
          <c:dLbls>
            <c:dLbl>
              <c:idx val="0"/>
              <c:layout>
                <c:manualLayout>
                  <c:x val="-0.13020458506071936"/>
                  <c:y val="-0.2417808759128785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2200" b="0" i="0" u="none" strike="noStrike" kern="1200" baseline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sz="2200" dirty="0">
                        <a:solidFill>
                          <a:schemeClr val="tx1"/>
                        </a:solidFill>
                      </a:rPr>
                      <a:t>Medicare,</a:t>
                    </a:r>
                    <a:r>
                      <a:rPr lang="en-US" sz="2200" baseline="0" dirty="0">
                        <a:solidFill>
                          <a:schemeClr val="tx1"/>
                        </a:solidFill>
                      </a:rPr>
                      <a:t> Medicaid, PEIA</a:t>
                    </a:r>
                    <a:endParaRPr lang="en-US" sz="2200" dirty="0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2200" b="0" i="0" u="none" strike="noStrike" kern="1200" baseline="0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bestFit"/>
              <c:showLegendKey val="0"/>
              <c:showVal val="0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61315423077362463"/>
                      <c:h val="0.20116757304013375"/>
                    </c:manualLayout>
                  </c15:layout>
                  <c15:showDataLabelsRange val="0"/>
                </c:ext>
                <c:ext xmlns:c16="http://schemas.microsoft.com/office/drawing/2014/chart" uri="{C3380CC4-5D6E-409C-BE32-E72D297353CC}">
                  <c16:uniqueId val="{00000001-E43E-4516-AE54-1A3164E4DE9F}"/>
                </c:ext>
              </c:extLst>
            </c:dLbl>
            <c:dLbl>
              <c:idx val="1"/>
              <c:layout>
                <c:manualLayout>
                  <c:x val="-0.17223950358563486"/>
                  <c:y val="-3.3710459403828667E-3"/>
                </c:manualLayout>
              </c:layout>
              <c:tx>
                <c:rich>
                  <a:bodyPr/>
                  <a:lstStyle/>
                  <a:p>
                    <a:fld id="{B9B3AC32-A722-4D9A-8441-D9F18D59F07D}" type="CATEGORYNAME">
                      <a:rPr lang="en-US" sz="1600">
                        <a:solidFill>
                          <a:schemeClr val="tx1"/>
                        </a:solidFill>
                      </a:rPr>
                      <a:pPr/>
                      <a:t>[CATEGORY NAME]</a:t>
                    </a:fld>
                    <a:endParaRPr lang="en-US"/>
                  </a:p>
                </c:rich>
              </c:tx>
              <c:dLblPos val="bestFit"/>
              <c:showLegendKey val="0"/>
              <c:showVal val="0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13784648242499101"/>
                      <c:h val="5.8635527738824245E-2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3-E43E-4516-AE54-1A3164E4DE9F}"/>
                </c:ext>
              </c:extLst>
            </c:dLbl>
            <c:dLbl>
              <c:idx val="2"/>
              <c:layout>
                <c:manualLayout>
                  <c:x val="0.17690825220441611"/>
                  <c:y val="0.20979567288355377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noAutofit/>
                  </a:bodyPr>
                  <a:lstStyle/>
                  <a:p>
                    <a:pPr>
                      <a:defRPr lang="en-US" sz="2200" b="0" i="0" u="none" strike="noStrike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sz="2200" b="0" i="0" u="none" strike="noStrike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rPr>
                      <a:t>Employer/Other</a:t>
                    </a:r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lang="en-US" sz="2200" b="0" i="0" u="none" strike="noStrike" kern="1200" baseline="0" dirty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bestFit"/>
              <c:showLegendKey val="0"/>
              <c:showVal val="0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2002864409269077"/>
                      <c:h val="0.2078922897228839"/>
                    </c:manualLayout>
                  </c15:layout>
                  <c15:showDataLabelsRange val="0"/>
                </c:ext>
                <c:ext xmlns:c16="http://schemas.microsoft.com/office/drawing/2014/chart" uri="{C3380CC4-5D6E-409C-BE32-E72D297353CC}">
                  <c16:uniqueId val="{00000005-E43E-4516-AE54-1A3164E4DE9F}"/>
                </c:ext>
              </c:extLst>
            </c:dLbl>
            <c:dLbl>
              <c:idx val="3"/>
              <c:layout>
                <c:manualLayout>
                  <c:x val="2.6990890844526789E-2"/>
                  <c:y val="-9.4407283460857333E-2"/>
                </c:manualLayout>
              </c:layout>
              <c:tx>
                <c:rich>
                  <a:bodyPr/>
                  <a:lstStyle/>
                  <a:p>
                    <a:fld id="{DAECD81C-FBBD-4A42-BDC7-1128DD8F291E}" type="CATEGORYNAME">
                      <a:rPr lang="en-US" sz="1600">
                        <a:solidFill>
                          <a:schemeClr val="tx1"/>
                        </a:solidFill>
                      </a:rPr>
                      <a:pPr/>
                      <a:t>[CATEGORY NAME]</a:t>
                    </a:fld>
                    <a:endParaRPr lang="en-US"/>
                  </a:p>
                </c:rich>
              </c:tx>
              <c:dLblPos val="bestFit"/>
              <c:showLegendKey val="0"/>
              <c:showVal val="0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7-E43E-4516-AE54-1A3164E4DE9F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0"/>
            <c:showCatName val="1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5</c:f>
              <c:strCache>
                <c:ptCount val="3"/>
                <c:pt idx="0">
                  <c:v>Government</c:v>
                </c:pt>
                <c:pt idx="2">
                  <c:v>Employer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75</c:v>
                </c:pt>
                <c:pt idx="2">
                  <c:v>2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E43E-4516-AE54-1A3164E4DE9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360"/>
      </c:pieChart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54">
  <cs:axisTitle>
    <cs:lnRef idx="0"/>
    <cs:fillRef idx="0"/>
    <cs:effectRef idx="0"/>
    <cs:fontRef idx="minor">
      <a:schemeClr val="tx1">
        <a:lumMod val="50000"/>
        <a:lumOff val="50000"/>
      </a:schemeClr>
    </cs:fontRef>
    <cs:defRPr sz="1197" kern="1200" cap="all"/>
  </cs:axisTitle>
  <cs:categoryAxis>
    <cs:lnRef idx="0"/>
    <cs:fillRef idx="0"/>
    <cs:effectRef idx="0"/>
    <cs:fontRef idx="minor">
      <a:schemeClr val="tx1">
        <a:lumMod val="50000"/>
        <a:lumOff val="50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>
      <cs:styleClr val="auto"/>
    </cs:lnRef>
    <cs:fillRef idx="2">
      <cs:styleClr val="auto"/>
    </cs:fillRef>
    <cs:effectRef idx="1"/>
    <cs:fontRef idx="minor">
      <a:schemeClr val="dk1"/>
    </cs:fontRef>
    <cs:spPr>
      <a:ln w="9525" cap="flat" cmpd="sng" algn="ctr">
        <a:solidFill>
          <a:schemeClr val="phClr">
            <a:shade val="95000"/>
          </a:schemeClr>
        </a:solidFill>
        <a:round/>
      </a:ln>
    </cs:spPr>
  </cs:dataPoint>
  <cs:dataPoint3D>
    <cs:lnRef idx="0"/>
    <cs:fillRef idx="2">
      <cs:styleClr val="auto"/>
    </cs:fillRef>
    <cs:effectRef idx="1"/>
    <cs:fontRef idx="minor">
      <a:schemeClr val="dk1"/>
    </cs:fontRef>
    <cs:spPr/>
  </cs:dataPoint3D>
  <cs:dataPointLine>
    <cs:lnRef idx="0">
      <cs:styleClr val="auto"/>
    </cs:lnRef>
    <cs:fillRef idx="2">
      <cs:styleClr val="auto"/>
    </cs:fillRef>
    <cs:effectRef idx="1"/>
    <cs:fontRef idx="minor">
      <a:schemeClr val="dk1"/>
    </cs:fontRef>
    <cs:spPr>
      <a:ln w="158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2">
      <cs:styleClr val="auto"/>
    </cs:fillRef>
    <cs:effectRef idx="1"/>
    <cs:fontRef idx="minor">
      <a:schemeClr val="dk1"/>
    </cs:fontRef>
    <cs:spPr>
      <a:ln w="9525" cap="flat" cmpd="sng" algn="ctr">
        <a:solidFill>
          <a:schemeClr val="phClr">
            <a:shade val="95000"/>
          </a:schemeClr>
        </a:solidFill>
        <a:round/>
      </a:ln>
    </cs:spPr>
  </cs:dataPointMarker>
  <cs:dataPointMarkerLayout symbol="circle" size="4"/>
  <cs:dataPointWireframe>
    <cs:lnRef idx="0">
      <cs:styleClr val="auto"/>
    </cs:lnRef>
    <cs:fillRef idx="2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50000"/>
        <a:lumOff val="50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50000"/>
            <a:lumOff val="50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solidFill>
          <a:schemeClr val="tx1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50000"/>
        <a:lumOff val="50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50000"/>
        <a:lumOff val="50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prstDash val="dash"/>
      </a:ln>
    </cs:spPr>
  </cs:seriesLine>
  <cs:title>
    <cs:lnRef idx="0"/>
    <cs:fillRef idx="0"/>
    <cs:effectRef idx="0"/>
    <cs:fontRef idx="minor">
      <a:schemeClr val="tx1">
        <a:lumMod val="50000"/>
        <a:lumOff val="50000"/>
      </a:schemeClr>
    </cs:fontRef>
    <cs:defRPr sz="1862" kern="1200" cap="none" spc="20" baseline="0"/>
  </cs:title>
  <cs:trendline>
    <cs:lnRef idx="0">
      <cs:styleClr val="auto"/>
    </cs:lnRef>
    <cs:fillRef idx="2"/>
    <cs:effectRef idx="0"/>
    <cs:fontRef idx="minor">
      <a:schemeClr val="dk1"/>
    </cs:fontRef>
    <cs:spPr>
      <a:ln w="9525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50000"/>
        <a:lumOff val="50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50000"/>
            <a:lumOff val="50000"/>
          </a:schemeClr>
        </a:solidFill>
      </a:ln>
    </cs:spPr>
  </cs:upBar>
  <cs:valueAxis>
    <cs:lnRef idx="0"/>
    <cs:fillRef idx="0"/>
    <cs:effectRef idx="0"/>
    <cs:fontRef idx="minor">
      <a:schemeClr val="tx1">
        <a:lumMod val="50000"/>
        <a:lumOff val="50000"/>
      </a:schemeClr>
    </cs:fontRef>
    <cs:defRPr sz="1197" kern="1200"/>
  </cs:valueAxis>
  <cs:wall>
    <cs:lnRef idx="0"/>
    <cs:fillRef idx="0"/>
    <cs:effectRef idx="0"/>
    <cs:fontRef idx="minor">
      <a:schemeClr val="dk1"/>
    </cs:fontRef>
  </cs:wall>
</cs:chartStyle>
</file>

<file path=ppt/charts/style6.xml><?xml version="1.0" encoding="utf-8"?>
<cs:chartStyle xmlns:cs="http://schemas.microsoft.com/office/drawing/2012/chartStyle" xmlns:a="http://schemas.openxmlformats.org/drawingml/2006/main" id="254">
  <cs:axisTitle>
    <cs:lnRef idx="0"/>
    <cs:fillRef idx="0"/>
    <cs:effectRef idx="0"/>
    <cs:fontRef idx="minor">
      <a:schemeClr val="tx1">
        <a:lumMod val="50000"/>
        <a:lumOff val="50000"/>
      </a:schemeClr>
    </cs:fontRef>
    <cs:defRPr sz="1197" kern="1200" cap="all"/>
  </cs:axisTitle>
  <cs:categoryAxis>
    <cs:lnRef idx="0"/>
    <cs:fillRef idx="0"/>
    <cs:effectRef idx="0"/>
    <cs:fontRef idx="minor">
      <a:schemeClr val="tx1">
        <a:lumMod val="50000"/>
        <a:lumOff val="50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>
      <cs:styleClr val="auto"/>
    </cs:lnRef>
    <cs:fillRef idx="2">
      <cs:styleClr val="auto"/>
    </cs:fillRef>
    <cs:effectRef idx="1"/>
    <cs:fontRef idx="minor">
      <a:schemeClr val="dk1"/>
    </cs:fontRef>
    <cs:spPr>
      <a:ln w="9525" cap="flat" cmpd="sng" algn="ctr">
        <a:solidFill>
          <a:schemeClr val="phClr">
            <a:shade val="95000"/>
          </a:schemeClr>
        </a:solidFill>
        <a:round/>
      </a:ln>
    </cs:spPr>
  </cs:dataPoint>
  <cs:dataPoint3D>
    <cs:lnRef idx="0"/>
    <cs:fillRef idx="2">
      <cs:styleClr val="auto"/>
    </cs:fillRef>
    <cs:effectRef idx="1"/>
    <cs:fontRef idx="minor">
      <a:schemeClr val="dk1"/>
    </cs:fontRef>
    <cs:spPr/>
  </cs:dataPoint3D>
  <cs:dataPointLine>
    <cs:lnRef idx="0">
      <cs:styleClr val="auto"/>
    </cs:lnRef>
    <cs:fillRef idx="2">
      <cs:styleClr val="auto"/>
    </cs:fillRef>
    <cs:effectRef idx="1"/>
    <cs:fontRef idx="minor">
      <a:schemeClr val="dk1"/>
    </cs:fontRef>
    <cs:spPr>
      <a:ln w="158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2">
      <cs:styleClr val="auto"/>
    </cs:fillRef>
    <cs:effectRef idx="1"/>
    <cs:fontRef idx="minor">
      <a:schemeClr val="dk1"/>
    </cs:fontRef>
    <cs:spPr>
      <a:ln w="9525" cap="flat" cmpd="sng" algn="ctr">
        <a:solidFill>
          <a:schemeClr val="phClr">
            <a:shade val="95000"/>
          </a:schemeClr>
        </a:solidFill>
        <a:round/>
      </a:ln>
    </cs:spPr>
  </cs:dataPointMarker>
  <cs:dataPointMarkerLayout symbol="circle" size="4"/>
  <cs:dataPointWireframe>
    <cs:lnRef idx="0">
      <cs:styleClr val="auto"/>
    </cs:lnRef>
    <cs:fillRef idx="2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50000"/>
        <a:lumOff val="50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50000"/>
            <a:lumOff val="50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solidFill>
          <a:schemeClr val="tx1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50000"/>
        <a:lumOff val="50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50000"/>
        <a:lumOff val="50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prstDash val="dash"/>
      </a:ln>
    </cs:spPr>
  </cs:seriesLine>
  <cs:title>
    <cs:lnRef idx="0"/>
    <cs:fillRef idx="0"/>
    <cs:effectRef idx="0"/>
    <cs:fontRef idx="minor">
      <a:schemeClr val="tx1">
        <a:lumMod val="50000"/>
        <a:lumOff val="50000"/>
      </a:schemeClr>
    </cs:fontRef>
    <cs:defRPr sz="1862" kern="1200" cap="none" spc="20" baseline="0"/>
  </cs:title>
  <cs:trendline>
    <cs:lnRef idx="0">
      <cs:styleClr val="auto"/>
    </cs:lnRef>
    <cs:fillRef idx="2"/>
    <cs:effectRef idx="0"/>
    <cs:fontRef idx="minor">
      <a:schemeClr val="dk1"/>
    </cs:fontRef>
    <cs:spPr>
      <a:ln w="9525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50000"/>
        <a:lumOff val="50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50000"/>
            <a:lumOff val="50000"/>
          </a:schemeClr>
        </a:solidFill>
      </a:ln>
    </cs:spPr>
  </cs:upBar>
  <cs:valueAxis>
    <cs:lnRef idx="0"/>
    <cs:fillRef idx="0"/>
    <cs:effectRef idx="0"/>
    <cs:fontRef idx="minor">
      <a:schemeClr val="tx1">
        <a:lumMod val="50000"/>
        <a:lumOff val="50000"/>
      </a:schemeClr>
    </cs:fontRef>
    <cs:defRPr sz="1197" kern="1200"/>
  </cs:valueAxis>
  <cs:wall>
    <cs:lnRef idx="0"/>
    <cs:fillRef idx="0"/>
    <cs:effectRef idx="0"/>
    <cs:fontRef idx="minor">
      <a:schemeClr val="dk1"/>
    </cs:fontRef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338" y="0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A072FF6-520F-4BDC-B4D6-0C5347D9B90A}" type="datetimeFigureOut">
              <a:rPr lang="en-US" smtClean="0"/>
              <a:t>9/19/2025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17550" y="1162050"/>
            <a:ext cx="5575300" cy="31369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675" y="4473575"/>
            <a:ext cx="5607050" cy="366077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675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338" y="8829675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B30790A-B6E2-485A-A932-CF01C1B64EFB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2798260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17550" y="1162050"/>
            <a:ext cx="5575300" cy="31369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B71C262-DB78-42A3-B76F-7A841CFB84C8}" type="slidenum">
              <a:rPr lang="en-US" smtClean="0"/>
              <a:t>1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4756671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6D95A5D-C143-825C-2BF9-D3BB5C325E8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A38CFE17-50C0-9D85-A0EA-479C5C7B113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717550" y="1162050"/>
            <a:ext cx="5575300" cy="3136900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623D1516-EEE7-EC17-83D0-37533DC418E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255B64A-E977-E181-A4DA-1AC32B6B54A6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A5B4FF9-F0EF-4010-A82B-7FEF02F1544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9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044461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2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828800" y="2438403"/>
            <a:ext cx="9448800" cy="1470025"/>
          </a:xfrm>
        </p:spPr>
        <p:txBody>
          <a:bodyPr/>
          <a:lstStyle>
            <a:lvl1pPr algn="l"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9448800" cy="1752600"/>
          </a:xfrm>
        </p:spPr>
        <p:txBody>
          <a:bodyPr/>
          <a:lstStyle>
            <a:lvl1pPr marL="0" indent="0" algn="l">
              <a:buNone/>
              <a:defRPr>
                <a:solidFill>
                  <a:schemeClr val="bg2"/>
                </a:solidFill>
              </a:defRPr>
            </a:lvl1pPr>
            <a:lvl2pPr marL="4570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1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2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3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4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5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6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7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828800" y="6324603"/>
            <a:ext cx="3860800" cy="365125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52AB188-8542-42D5-90E8-23674E6E5ED5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3302287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2" y="273050"/>
            <a:ext cx="4011084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733" y="273053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2" y="1435103"/>
            <a:ext cx="4011084" cy="4691063"/>
          </a:xfrm>
        </p:spPr>
        <p:txBody>
          <a:bodyPr/>
          <a:lstStyle>
            <a:lvl1pPr marL="0" indent="0">
              <a:buNone/>
              <a:defRPr sz="1400">
                <a:solidFill>
                  <a:srgbClr val="E29A09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3FBA54-5C1B-D348-9A99-18A91FDE7B7F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9886132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3FBA54-5C1B-D348-9A99-18A91FDE7B7F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4020036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828800" y="2209803"/>
            <a:ext cx="103632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657600"/>
            <a:ext cx="8534400" cy="1752600"/>
          </a:xfrm>
        </p:spPr>
        <p:txBody>
          <a:bodyPr/>
          <a:lstStyle>
            <a:lvl1pPr marL="0" indent="0" algn="l">
              <a:buNone/>
              <a:defRPr>
                <a:solidFill>
                  <a:schemeClr val="bg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3FBA54-5C1B-D348-9A99-18A91FDE7B7F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1267805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251200" y="1600203"/>
            <a:ext cx="8331200" cy="4525963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3FBA54-5C1B-D348-9A99-18A91FDE7B7F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0" y="1600200"/>
            <a:ext cx="3251200" cy="5257800"/>
          </a:xfr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0695026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4406903"/>
            <a:ext cx="10363200" cy="1362075"/>
          </a:xfrm>
        </p:spPr>
        <p:txBody>
          <a:bodyPr anchor="t">
            <a:normAutofit/>
          </a:bodyPr>
          <a:lstStyle>
            <a:lvl1pPr algn="l">
              <a:defRPr sz="3200" b="1" cap="all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 b="0">
                <a:solidFill>
                  <a:srgbClr val="E29A09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3FBA54-5C1B-D348-9A99-18A91FDE7B7F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6557681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3FBA54-5C1B-D348-9A99-18A91FDE7B7F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1273403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3FBA54-5C1B-D348-9A99-18A91FDE7B7F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9981864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2" y="3028950"/>
            <a:ext cx="4011084" cy="933450"/>
          </a:xfrm>
        </p:spPr>
        <p:txBody>
          <a:bodyPr anchor="t" anchorCtr="0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733" y="273053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2" y="3962403"/>
            <a:ext cx="4011084" cy="2667001"/>
          </a:xfrm>
        </p:spPr>
        <p:txBody>
          <a:bodyPr/>
          <a:lstStyle>
            <a:lvl1pPr marL="0" indent="0">
              <a:buNone/>
              <a:defRPr sz="1400">
                <a:solidFill>
                  <a:srgbClr val="E29A09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3FBA54-5C1B-D348-9A99-18A91FDE7B7F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1743642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46400" y="4767262"/>
            <a:ext cx="73152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946400" y="457200"/>
            <a:ext cx="8636000" cy="41910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946400" y="5334000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3FBA54-5C1B-D348-9A99-18A91FDE7B7F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1528806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428"/>
            <a:ext cx="103632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bg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3FBA54-5C1B-D348-9A99-18A91FDE7B7F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9127440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828800" y="2438403"/>
            <a:ext cx="9448800" cy="1470025"/>
          </a:xfrm>
        </p:spPr>
        <p:txBody>
          <a:bodyPr/>
          <a:lstStyle>
            <a:lvl1pPr algn="r"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9448800" cy="1752600"/>
          </a:xfrm>
        </p:spPr>
        <p:txBody>
          <a:bodyPr/>
          <a:lstStyle>
            <a:lvl1pPr marL="0" indent="0" algn="r">
              <a:buNone/>
              <a:defRPr>
                <a:solidFill>
                  <a:schemeClr val="bg2"/>
                </a:solidFill>
              </a:defRPr>
            </a:lvl1pPr>
            <a:lvl2pPr marL="4570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1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2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3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4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5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6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7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828800" y="6324603"/>
            <a:ext cx="3860800" cy="365125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52AB188-8542-42D5-90E8-23674E6E5ED5}" type="slidenum">
              <a:rPr lang="en-US" smtClean="0"/>
              <a:t>‹#›</a:t>
            </a:fld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470400" y="1231900"/>
            <a:ext cx="6705600" cy="596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594532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3FBA54-5C1B-D348-9A99-18A91FDE7B7F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54686823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4406903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 b="0">
                <a:solidFill>
                  <a:srgbClr val="E29A09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3FBA54-5C1B-D348-9A99-18A91FDE7B7F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67195339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00" y="1600203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1600203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3FBA54-5C1B-D348-9A99-18A91FDE7B7F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92434070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</p:spPr>
        <p:txBody>
          <a:bodyPr anchor="b"/>
          <a:lstStyle>
            <a:lvl1pPr marL="0" indent="0">
              <a:buNone/>
              <a:defRPr sz="2400" b="1">
                <a:solidFill>
                  <a:srgbClr val="E29A09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69" y="1535113"/>
            <a:ext cx="5389033" cy="639762"/>
          </a:xfrm>
        </p:spPr>
        <p:txBody>
          <a:bodyPr anchor="b"/>
          <a:lstStyle>
            <a:lvl1pPr marL="0" indent="0">
              <a:buNone/>
              <a:defRPr sz="2400" b="1">
                <a:solidFill>
                  <a:srgbClr val="E29A09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69" y="21748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3FBA54-5C1B-D348-9A99-18A91FDE7B7F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97277991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3FBA54-5C1B-D348-9A99-18A91FDE7B7F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87083415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3FBA54-5C1B-D348-9A99-18A91FDE7B7F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45352569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2" y="273050"/>
            <a:ext cx="4011084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733" y="273053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2" y="1435103"/>
            <a:ext cx="4011084" cy="4691063"/>
          </a:xfrm>
        </p:spPr>
        <p:txBody>
          <a:bodyPr/>
          <a:lstStyle>
            <a:lvl1pPr marL="0" indent="0">
              <a:buNone/>
              <a:defRPr sz="1400">
                <a:solidFill>
                  <a:srgbClr val="E29A09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3FBA54-5C1B-D348-9A99-18A91FDE7B7F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79656904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3FBA54-5C1B-D348-9A99-18A91FDE7B7F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5376857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428"/>
            <a:ext cx="103632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bg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3FBA54-5C1B-D348-9A99-18A91FDE7B7F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6266605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3FBA54-5C1B-D348-9A99-18A91FDE7B7F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0887304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4406903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 b="0">
                <a:solidFill>
                  <a:srgbClr val="E29A09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3FBA54-5C1B-D348-9A99-18A91FDE7B7F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6861200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00" y="1600203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1600203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3FBA54-5C1B-D348-9A99-18A91FDE7B7F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7283020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</p:spPr>
        <p:txBody>
          <a:bodyPr anchor="b"/>
          <a:lstStyle>
            <a:lvl1pPr marL="0" indent="0">
              <a:buNone/>
              <a:defRPr sz="2400" b="1">
                <a:solidFill>
                  <a:srgbClr val="E29A09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69" y="1535113"/>
            <a:ext cx="5389033" cy="639762"/>
          </a:xfrm>
        </p:spPr>
        <p:txBody>
          <a:bodyPr anchor="b"/>
          <a:lstStyle>
            <a:lvl1pPr marL="0" indent="0">
              <a:buNone/>
              <a:defRPr sz="2400" b="1">
                <a:solidFill>
                  <a:srgbClr val="E29A09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69" y="21748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3FBA54-5C1B-D348-9A99-18A91FDE7B7F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3744900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3FBA54-5C1B-D348-9A99-18A91FDE7B7F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976246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3FBA54-5C1B-D348-9A99-18A91FDE7B7F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9538006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.bin"/><Relationship Id="rId4" Type="http://schemas.openxmlformats.org/officeDocument/2006/relationships/image" Target="../media/image1.jpg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3.jp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.xml"/><Relationship Id="rId13" Type="http://schemas.openxmlformats.org/officeDocument/2006/relationships/oleObject" Target="../embeddings/oleObject3.bin"/><Relationship Id="rId3" Type="http://schemas.openxmlformats.org/officeDocument/2006/relationships/slideLayout" Target="../slideLayouts/slideLayout5.xml"/><Relationship Id="rId7" Type="http://schemas.openxmlformats.org/officeDocument/2006/relationships/slideLayout" Target="../slideLayouts/slideLayout9.xml"/><Relationship Id="rId12" Type="http://schemas.openxmlformats.org/officeDocument/2006/relationships/image" Target="../media/image5.png"/><Relationship Id="rId2" Type="http://schemas.openxmlformats.org/officeDocument/2006/relationships/slideLayout" Target="../slideLayouts/slideLayout4.xml"/><Relationship Id="rId1" Type="http://schemas.openxmlformats.org/officeDocument/2006/relationships/slideLayout" Target="../slideLayouts/slideLayout3.xml"/><Relationship Id="rId6" Type="http://schemas.openxmlformats.org/officeDocument/2006/relationships/slideLayout" Target="../slideLayouts/slideLayout8.xml"/><Relationship Id="rId11" Type="http://schemas.openxmlformats.org/officeDocument/2006/relationships/tags" Target="../tags/tag4.xml"/><Relationship Id="rId5" Type="http://schemas.openxmlformats.org/officeDocument/2006/relationships/slideLayout" Target="../slideLayouts/slideLayout7.xml"/><Relationship Id="rId10" Type="http://schemas.openxmlformats.org/officeDocument/2006/relationships/theme" Target="../theme/theme3.xml"/><Relationship Id="rId4" Type="http://schemas.openxmlformats.org/officeDocument/2006/relationships/slideLayout" Target="../slideLayouts/slideLayout6.xml"/><Relationship Id="rId9" Type="http://schemas.openxmlformats.org/officeDocument/2006/relationships/slideLayout" Target="../slideLayouts/slideLayout11.xml"/><Relationship Id="rId14" Type="http://schemas.openxmlformats.org/officeDocument/2006/relationships/image" Target="../media/image2.emf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theme" Target="../theme/theme4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image" Target="../media/image2.emf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oleObject" Target="../embeddings/oleObject4.bin"/><Relationship Id="rId5" Type="http://schemas.openxmlformats.org/officeDocument/2006/relationships/slideLayout" Target="../slideLayouts/slideLayout16.xml"/><Relationship Id="rId10" Type="http://schemas.openxmlformats.org/officeDocument/2006/relationships/image" Target="../media/image6.jpg"/><Relationship Id="rId4" Type="http://schemas.openxmlformats.org/officeDocument/2006/relationships/slideLayout" Target="../slideLayouts/slideLayout15.xml"/><Relationship Id="rId9" Type="http://schemas.openxmlformats.org/officeDocument/2006/relationships/tags" Target="../tags/tag5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6.xml"/><Relationship Id="rId13" Type="http://schemas.openxmlformats.org/officeDocument/2006/relationships/oleObject" Target="../embeddings/oleObject5.bin"/><Relationship Id="rId3" Type="http://schemas.openxmlformats.org/officeDocument/2006/relationships/slideLayout" Target="../slideLayouts/slideLayout21.xml"/><Relationship Id="rId7" Type="http://schemas.openxmlformats.org/officeDocument/2006/relationships/slideLayout" Target="../slideLayouts/slideLayout25.xml"/><Relationship Id="rId12" Type="http://schemas.openxmlformats.org/officeDocument/2006/relationships/image" Target="../media/image7.jpg"/><Relationship Id="rId2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9.xml"/><Relationship Id="rId6" Type="http://schemas.openxmlformats.org/officeDocument/2006/relationships/slideLayout" Target="../slideLayouts/slideLayout24.xml"/><Relationship Id="rId11" Type="http://schemas.openxmlformats.org/officeDocument/2006/relationships/tags" Target="../tags/tag6.xml"/><Relationship Id="rId5" Type="http://schemas.openxmlformats.org/officeDocument/2006/relationships/slideLayout" Target="../slideLayouts/slideLayout23.xml"/><Relationship Id="rId10" Type="http://schemas.openxmlformats.org/officeDocument/2006/relationships/theme" Target="../theme/theme5.xml"/><Relationship Id="rId4" Type="http://schemas.openxmlformats.org/officeDocument/2006/relationships/slideLayout" Target="../slideLayouts/slideLayout22.xml"/><Relationship Id="rId9" Type="http://schemas.openxmlformats.org/officeDocument/2006/relationships/slideLayout" Target="../slideLayouts/slideLayout27.xml"/><Relationship Id="rId14" Type="http://schemas.openxmlformats.org/officeDocument/2006/relationships/image" Target="../media/image2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rotWithShape="1">
          <a:blip r:embed="rId4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CDB57A92-2FA7-41AE-85AD-F8DB583D5D5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239408956"/>
              </p:ext>
            </p:extLst>
          </p:nvPr>
        </p:nvGraphicFramePr>
        <p:xfrm>
          <a:off x="2119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28" imgH="329" progId="TCLayout.ActiveDocument.1">
                  <p:embed/>
                </p:oleObj>
              </mc:Choice>
              <mc:Fallback>
                <p:oleObj name="think-cell Slide" r:id="rId5" imgW="328" imgH="329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CDB57A92-2FA7-41AE-85AD-F8DB583D5D5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422400" y="2743200"/>
            <a:ext cx="10972800" cy="1143000"/>
          </a:xfrm>
          <a:prstGeom prst="rect">
            <a:avLst/>
          </a:prstGeom>
        </p:spPr>
        <p:txBody>
          <a:bodyPr vert="horz" lIns="91418" tIns="45709" rIns="91418" bIns="45709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422400" y="3810003"/>
            <a:ext cx="10972800" cy="2087565"/>
          </a:xfrm>
          <a:prstGeom prst="rect">
            <a:avLst/>
          </a:prstGeom>
        </p:spPr>
        <p:txBody>
          <a:bodyPr vert="horz" lIns="91418" tIns="45709" rIns="91418" bIns="45709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422400" y="6356353"/>
            <a:ext cx="3860800" cy="365125"/>
          </a:xfrm>
          <a:prstGeom prst="rect">
            <a:avLst/>
          </a:prstGeom>
        </p:spPr>
        <p:txBody>
          <a:bodyPr vert="horz" lIns="91418" tIns="45709" rIns="91418" bIns="45709" rtlCol="0" anchor="ctr"/>
          <a:lstStyle>
            <a:lvl1pPr algn="ctr">
              <a:defRPr sz="12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737600" y="6356353"/>
            <a:ext cx="2844800" cy="365125"/>
          </a:xfrm>
          <a:prstGeom prst="rect">
            <a:avLst/>
          </a:prstGeom>
        </p:spPr>
        <p:txBody>
          <a:bodyPr vert="horz" lIns="91418" tIns="45709" rIns="91418" bIns="45709" rtlCol="0" anchor="ctr"/>
          <a:lstStyle>
            <a:lvl1pPr algn="r">
              <a:defRPr sz="1200">
                <a:solidFill>
                  <a:schemeClr val="bg1"/>
                </a:solidFill>
              </a:defRPr>
            </a:lvl1pPr>
          </a:lstStyle>
          <a:p>
            <a:fld id="{C52AB188-8542-42D5-90E8-23674E6E5ED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912691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5" r:id="rId1"/>
  </p:sldLayoutIdLst>
  <p:hf hdr="0" ftr="0" dt="0"/>
  <p:txStyles>
    <p:titleStyle>
      <a:lvl1pPr algn="l" defTabSz="914186" rtl="0" eaLnBrk="1" latinLnBrk="0" hangingPunct="1">
        <a:spcBef>
          <a:spcPct val="0"/>
        </a:spcBef>
        <a:buNone/>
        <a:defRPr sz="3200" kern="120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0" indent="0" algn="l" defTabSz="914186" rtl="0" eaLnBrk="1" latinLnBrk="0" hangingPunct="1">
        <a:spcBef>
          <a:spcPct val="20000"/>
        </a:spcBef>
        <a:buClr>
          <a:schemeClr val="bg2"/>
        </a:buClr>
        <a:buFontTx/>
        <a:buNone/>
        <a:defRPr sz="2000" kern="1200">
          <a:solidFill>
            <a:schemeClr val="bg2"/>
          </a:solidFill>
          <a:latin typeface="+mn-lt"/>
          <a:ea typeface="+mn-ea"/>
          <a:cs typeface="+mn-cs"/>
        </a:defRPr>
      </a:lvl1pPr>
      <a:lvl2pPr marL="457092" indent="0" algn="l" defTabSz="914186" rtl="0" eaLnBrk="1" latinLnBrk="0" hangingPunct="1">
        <a:spcBef>
          <a:spcPct val="20000"/>
        </a:spcBef>
        <a:buClr>
          <a:schemeClr val="bg2"/>
        </a:buClr>
        <a:buFontTx/>
        <a:buNone/>
        <a:defRPr sz="2000" kern="1200">
          <a:solidFill>
            <a:schemeClr val="bg2"/>
          </a:solidFill>
          <a:latin typeface="+mn-lt"/>
          <a:ea typeface="+mn-ea"/>
          <a:cs typeface="+mn-cs"/>
        </a:defRPr>
      </a:lvl2pPr>
      <a:lvl3pPr marL="914187" indent="0" algn="l" defTabSz="914186" rtl="0" eaLnBrk="1" latinLnBrk="0" hangingPunct="1">
        <a:spcBef>
          <a:spcPct val="20000"/>
        </a:spcBef>
        <a:buClr>
          <a:schemeClr val="bg2"/>
        </a:buClr>
        <a:buFontTx/>
        <a:buNone/>
        <a:defRPr sz="2000" kern="1200">
          <a:solidFill>
            <a:schemeClr val="bg2"/>
          </a:solidFill>
          <a:latin typeface="+mn-lt"/>
          <a:ea typeface="+mn-ea"/>
          <a:cs typeface="+mn-cs"/>
        </a:defRPr>
      </a:lvl3pPr>
      <a:lvl4pPr marL="1371279" indent="0" algn="l" defTabSz="914186" rtl="0" eaLnBrk="1" latinLnBrk="0" hangingPunct="1">
        <a:spcBef>
          <a:spcPct val="20000"/>
        </a:spcBef>
        <a:buClr>
          <a:schemeClr val="bg2"/>
        </a:buClr>
        <a:buFontTx/>
        <a:buNone/>
        <a:defRPr sz="2000" kern="1200">
          <a:solidFill>
            <a:schemeClr val="bg2"/>
          </a:solidFill>
          <a:latin typeface="+mn-lt"/>
          <a:ea typeface="+mn-ea"/>
          <a:cs typeface="+mn-cs"/>
        </a:defRPr>
      </a:lvl4pPr>
      <a:lvl5pPr marL="1828373" indent="0" algn="l" defTabSz="914186" rtl="0" eaLnBrk="1" latinLnBrk="0" hangingPunct="1">
        <a:spcBef>
          <a:spcPct val="20000"/>
        </a:spcBef>
        <a:buClr>
          <a:schemeClr val="bg2"/>
        </a:buClr>
        <a:buFontTx/>
        <a:buNone/>
        <a:defRPr sz="2000" kern="1200">
          <a:solidFill>
            <a:schemeClr val="bg2"/>
          </a:solidFill>
          <a:latin typeface="+mn-lt"/>
          <a:ea typeface="+mn-ea"/>
          <a:cs typeface="+mn-cs"/>
        </a:defRPr>
      </a:lvl5pPr>
      <a:lvl6pPr marL="2514012" indent="-228546" algn="l" defTabSz="914186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106" indent="-228546" algn="l" defTabSz="914186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198" indent="-228546" algn="l" defTabSz="914186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292" indent="-228546" algn="l" defTabSz="914186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1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092" algn="l" defTabSz="9141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186" algn="l" defTabSz="9141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279" algn="l" defTabSz="9141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373" algn="l" defTabSz="9141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466" algn="l" defTabSz="9141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558" algn="l" defTabSz="9141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652" algn="l" defTabSz="9141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744" algn="l" defTabSz="9141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rotWithShape="1">
          <a:blip r:embed="rId4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D89F48C3-AC91-4A04-B2FC-A46A9A78BEA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366025260"/>
              </p:ext>
            </p:extLst>
          </p:nvPr>
        </p:nvGraphicFramePr>
        <p:xfrm>
          <a:off x="2119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28" imgH="329" progId="TCLayout.ActiveDocument.1">
                  <p:embed/>
                </p:oleObj>
              </mc:Choice>
              <mc:Fallback>
                <p:oleObj name="think-cell Slide" r:id="rId5" imgW="328" imgH="329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D89F48C3-AC91-4A04-B2FC-A46A9A78BE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422400" y="2743200"/>
            <a:ext cx="10972800" cy="1143000"/>
          </a:xfrm>
          <a:prstGeom prst="rect">
            <a:avLst/>
          </a:prstGeom>
        </p:spPr>
        <p:txBody>
          <a:bodyPr vert="horz" lIns="91418" tIns="45709" rIns="91418" bIns="45709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422400" y="3810003"/>
            <a:ext cx="10972800" cy="2087565"/>
          </a:xfrm>
          <a:prstGeom prst="rect">
            <a:avLst/>
          </a:prstGeom>
        </p:spPr>
        <p:txBody>
          <a:bodyPr vert="horz" lIns="91418" tIns="45709" rIns="91418" bIns="45709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422400" y="6356353"/>
            <a:ext cx="3860800" cy="365125"/>
          </a:xfrm>
          <a:prstGeom prst="rect">
            <a:avLst/>
          </a:prstGeom>
        </p:spPr>
        <p:txBody>
          <a:bodyPr vert="horz" lIns="91418" tIns="45709" rIns="91418" bIns="45709" rtlCol="0" anchor="ctr"/>
          <a:lstStyle>
            <a:lvl1pPr algn="ctr">
              <a:defRPr sz="12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737600" y="6356353"/>
            <a:ext cx="2844800" cy="365125"/>
          </a:xfrm>
          <a:prstGeom prst="rect">
            <a:avLst/>
          </a:prstGeom>
        </p:spPr>
        <p:txBody>
          <a:bodyPr vert="horz" lIns="91418" tIns="45709" rIns="91418" bIns="45709" rtlCol="0" anchor="ctr"/>
          <a:lstStyle>
            <a:lvl1pPr algn="r">
              <a:defRPr sz="1200">
                <a:solidFill>
                  <a:schemeClr val="bg1"/>
                </a:solidFill>
              </a:defRPr>
            </a:lvl1pPr>
          </a:lstStyle>
          <a:p>
            <a:fld id="{C52AB188-8542-42D5-90E8-23674E6E5ED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945961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7" r:id="rId1"/>
  </p:sldLayoutIdLst>
  <p:hf hdr="0" ftr="0" dt="0"/>
  <p:txStyles>
    <p:titleStyle>
      <a:lvl1pPr algn="l" defTabSz="914186" rtl="0" eaLnBrk="1" latinLnBrk="0" hangingPunct="1">
        <a:spcBef>
          <a:spcPct val="0"/>
        </a:spcBef>
        <a:buNone/>
        <a:defRPr sz="3200" kern="120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0" indent="0" algn="l" defTabSz="914186" rtl="0" eaLnBrk="1" latinLnBrk="0" hangingPunct="1">
        <a:spcBef>
          <a:spcPct val="20000"/>
        </a:spcBef>
        <a:buClr>
          <a:schemeClr val="bg2"/>
        </a:buClr>
        <a:buFontTx/>
        <a:buNone/>
        <a:defRPr sz="2000" kern="1200">
          <a:solidFill>
            <a:schemeClr val="bg2"/>
          </a:solidFill>
          <a:latin typeface="+mn-lt"/>
          <a:ea typeface="+mn-ea"/>
          <a:cs typeface="+mn-cs"/>
        </a:defRPr>
      </a:lvl1pPr>
      <a:lvl2pPr marL="457092" indent="0" algn="l" defTabSz="914186" rtl="0" eaLnBrk="1" latinLnBrk="0" hangingPunct="1">
        <a:spcBef>
          <a:spcPct val="20000"/>
        </a:spcBef>
        <a:buClr>
          <a:schemeClr val="bg2"/>
        </a:buClr>
        <a:buFontTx/>
        <a:buNone/>
        <a:defRPr sz="2000" kern="1200">
          <a:solidFill>
            <a:schemeClr val="bg2"/>
          </a:solidFill>
          <a:latin typeface="+mn-lt"/>
          <a:ea typeface="+mn-ea"/>
          <a:cs typeface="+mn-cs"/>
        </a:defRPr>
      </a:lvl2pPr>
      <a:lvl3pPr marL="914187" indent="0" algn="l" defTabSz="914186" rtl="0" eaLnBrk="1" latinLnBrk="0" hangingPunct="1">
        <a:spcBef>
          <a:spcPct val="20000"/>
        </a:spcBef>
        <a:buClr>
          <a:schemeClr val="bg2"/>
        </a:buClr>
        <a:buFontTx/>
        <a:buNone/>
        <a:defRPr sz="2000" kern="1200">
          <a:solidFill>
            <a:schemeClr val="bg2"/>
          </a:solidFill>
          <a:latin typeface="+mn-lt"/>
          <a:ea typeface="+mn-ea"/>
          <a:cs typeface="+mn-cs"/>
        </a:defRPr>
      </a:lvl3pPr>
      <a:lvl4pPr marL="1371279" indent="0" algn="l" defTabSz="914186" rtl="0" eaLnBrk="1" latinLnBrk="0" hangingPunct="1">
        <a:spcBef>
          <a:spcPct val="20000"/>
        </a:spcBef>
        <a:buClr>
          <a:schemeClr val="bg2"/>
        </a:buClr>
        <a:buFontTx/>
        <a:buNone/>
        <a:defRPr sz="2000" kern="1200">
          <a:solidFill>
            <a:schemeClr val="bg2"/>
          </a:solidFill>
          <a:latin typeface="+mn-lt"/>
          <a:ea typeface="+mn-ea"/>
          <a:cs typeface="+mn-cs"/>
        </a:defRPr>
      </a:lvl4pPr>
      <a:lvl5pPr marL="1828373" indent="0" algn="l" defTabSz="914186" rtl="0" eaLnBrk="1" latinLnBrk="0" hangingPunct="1">
        <a:spcBef>
          <a:spcPct val="20000"/>
        </a:spcBef>
        <a:buClr>
          <a:schemeClr val="bg2"/>
        </a:buClr>
        <a:buFontTx/>
        <a:buNone/>
        <a:defRPr sz="2000" kern="1200">
          <a:solidFill>
            <a:schemeClr val="bg2"/>
          </a:solidFill>
          <a:latin typeface="+mn-lt"/>
          <a:ea typeface="+mn-ea"/>
          <a:cs typeface="+mn-cs"/>
        </a:defRPr>
      </a:lvl5pPr>
      <a:lvl6pPr marL="2514012" indent="-228546" algn="l" defTabSz="914186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106" indent="-228546" algn="l" defTabSz="914186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198" indent="-228546" algn="l" defTabSz="914186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292" indent="-228546" algn="l" defTabSz="914186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1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092" algn="l" defTabSz="9141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186" algn="l" defTabSz="9141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279" algn="l" defTabSz="9141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373" algn="l" defTabSz="9141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466" algn="l" defTabSz="9141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558" algn="l" defTabSz="9141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652" algn="l" defTabSz="9141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744" algn="l" defTabSz="9141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rotWithShape="1">
          <a:blip r:embed="rId1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E99068F4-6D87-45DE-876C-F8A74EBECD4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3651026193"/>
              </p:ext>
            </p:extLst>
          </p:nvPr>
        </p:nvGraphicFramePr>
        <p:xfrm>
          <a:off x="2119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3" imgW="328" imgH="329" progId="TCLayout.ActiveDocument.1">
                  <p:embed/>
                </p:oleObj>
              </mc:Choice>
              <mc:Fallback>
                <p:oleObj name="think-cell Slide" r:id="rId13" imgW="328" imgH="329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E99068F4-6D87-45DE-876C-F8A74EBECD4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2119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600203"/>
            <a:ext cx="109728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705601" y="6248403"/>
            <a:ext cx="396965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871200" y="6248403"/>
            <a:ext cx="711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rgbClr val="FFFFFF"/>
                </a:solidFill>
              </a:defRPr>
            </a:lvl1pPr>
          </a:lstStyle>
          <a:p>
            <a:fld id="{4A3FBA54-5C1B-D348-9A99-18A91FDE7B7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544665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</p:sldLayoutIdLst>
  <p:hf hdr="0" ftr="0" dt="0"/>
  <p:txStyles>
    <p:titleStyle>
      <a:lvl1pPr algn="ctr" defTabSz="457200" rtl="0" eaLnBrk="1" latinLnBrk="0" hangingPunct="1">
        <a:spcBef>
          <a:spcPct val="0"/>
        </a:spcBef>
        <a:buNone/>
        <a:defRPr sz="4000" u="none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Clr>
          <a:schemeClr val="bg2"/>
        </a:buClr>
        <a:buFont typeface="Arial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Clr>
          <a:schemeClr val="bg2"/>
        </a:buClr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Clr>
          <a:schemeClr val="bg2"/>
        </a:buClr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Clr>
          <a:schemeClr val="bg2"/>
        </a:buClr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Clr>
          <a:schemeClr val="bg2"/>
        </a:buClr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rotWithShape="1">
          <a:blip r:embed="rId10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CD03B19F-88F5-4461-AFEF-C48358DC243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4235439286"/>
              </p:ext>
            </p:extLst>
          </p:nvPr>
        </p:nvGraphicFramePr>
        <p:xfrm>
          <a:off x="2119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328" imgH="329" progId="TCLayout.ActiveDocument.1">
                  <p:embed/>
                </p:oleObj>
              </mc:Choice>
              <mc:Fallback>
                <p:oleObj name="think-cell Slide" r:id="rId11" imgW="328" imgH="329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CD03B19F-88F5-4461-AFEF-C48358DC243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2119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251200" y="228600"/>
            <a:ext cx="8331200" cy="1143000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251200" y="1600203"/>
            <a:ext cx="83312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705601" y="6248403"/>
            <a:ext cx="396965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871200" y="6248403"/>
            <a:ext cx="711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4A3FBA54-5C1B-D348-9A99-18A91FDE7B7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256406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5" r:id="rId1"/>
    <p:sldLayoutId id="2147483696" r:id="rId2"/>
    <p:sldLayoutId id="2147483697" r:id="rId3"/>
    <p:sldLayoutId id="2147483700" r:id="rId4"/>
    <p:sldLayoutId id="2147483701" r:id="rId5"/>
    <p:sldLayoutId id="2147483702" r:id="rId6"/>
    <p:sldLayoutId id="2147483703" r:id="rId7"/>
  </p:sldLayoutIdLst>
  <p:hf hdr="0" ftr="0" dt="0"/>
  <p:txStyles>
    <p:titleStyle>
      <a:lvl1pPr algn="l" defTabSz="457200" rtl="0" eaLnBrk="1" latinLnBrk="0" hangingPunct="1">
        <a:spcBef>
          <a:spcPct val="0"/>
        </a:spcBef>
        <a:spcAft>
          <a:spcPts val="600"/>
        </a:spcAft>
        <a:buNone/>
        <a:defRPr sz="3600" u="none" kern="1200" baseline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Clr>
          <a:schemeClr val="bg2"/>
        </a:buClr>
        <a:buFont typeface="Arial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Clr>
          <a:schemeClr val="bg2"/>
        </a:buClr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Clr>
          <a:schemeClr val="bg2"/>
        </a:buClr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Clr>
          <a:schemeClr val="bg2"/>
        </a:buClr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Clr>
          <a:schemeClr val="bg2"/>
        </a:buClr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rotWithShape="1">
          <a:blip r:embed="rId1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04D6062F-76C8-4279-9FCE-35219C94B14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3552290889"/>
              </p:ext>
            </p:extLst>
          </p:nvPr>
        </p:nvGraphicFramePr>
        <p:xfrm>
          <a:off x="2119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3" imgW="328" imgH="329" progId="TCLayout.ActiveDocument.1">
                  <p:embed/>
                </p:oleObj>
              </mc:Choice>
              <mc:Fallback>
                <p:oleObj name="think-cell Slide" r:id="rId13" imgW="328" imgH="329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04D6062F-76C8-4279-9FCE-35219C94B14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2119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600203"/>
            <a:ext cx="109728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682341" y="6248403"/>
            <a:ext cx="396965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855200" y="6248403"/>
            <a:ext cx="1727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rgbClr val="FFFFFF"/>
                </a:solidFill>
              </a:defRPr>
            </a:lvl1pPr>
          </a:lstStyle>
          <a:p>
            <a:fld id="{4A3FBA54-5C1B-D348-9A99-18A91FDE7B7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2563921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5" r:id="rId1"/>
    <p:sldLayoutId id="2147483686" r:id="rId2"/>
    <p:sldLayoutId id="2147483687" r:id="rId3"/>
    <p:sldLayoutId id="2147483688" r:id="rId4"/>
    <p:sldLayoutId id="2147483689" r:id="rId5"/>
    <p:sldLayoutId id="2147483690" r:id="rId6"/>
    <p:sldLayoutId id="2147483691" r:id="rId7"/>
    <p:sldLayoutId id="2147483692" r:id="rId8"/>
    <p:sldLayoutId id="2147483693" r:id="rId9"/>
  </p:sldLayoutIdLst>
  <p:hf hdr="0" ftr="0" dt="0"/>
  <p:txStyles>
    <p:titleStyle>
      <a:lvl1pPr algn="ctr" defTabSz="457200" rtl="0" eaLnBrk="1" latinLnBrk="0" hangingPunct="1">
        <a:spcBef>
          <a:spcPct val="0"/>
        </a:spcBef>
        <a:buNone/>
        <a:defRPr sz="4000" u="none" kern="120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Clr>
          <a:schemeClr val="bg2"/>
        </a:buClr>
        <a:buFont typeface="Arial"/>
        <a:buChar char="•"/>
        <a:defRPr sz="2800" kern="1200">
          <a:solidFill>
            <a:srgbClr val="FFFFFF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Clr>
          <a:schemeClr val="bg2"/>
        </a:buClr>
        <a:buFont typeface="Arial"/>
        <a:buChar char="•"/>
        <a:defRPr sz="2400" kern="1200">
          <a:solidFill>
            <a:srgbClr val="FFFFFF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Clr>
          <a:schemeClr val="bg2"/>
        </a:buClr>
        <a:buFont typeface="Arial"/>
        <a:buChar char="•"/>
        <a:defRPr sz="2400" kern="1200">
          <a:solidFill>
            <a:srgbClr val="FFFFFF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Clr>
          <a:schemeClr val="bg2"/>
        </a:buClr>
        <a:buFont typeface="Arial"/>
        <a:buChar char="•"/>
        <a:defRPr sz="2000" kern="1200">
          <a:solidFill>
            <a:srgbClr val="FFFFFF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Clr>
          <a:schemeClr val="bg2"/>
        </a:buClr>
        <a:buFont typeface="Arial"/>
        <a:buChar char="•"/>
        <a:defRPr sz="2000" kern="1200">
          <a:solidFill>
            <a:srgbClr val="FFFFFF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eg"/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4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slideLayout" Target="../slideLayouts/slideLayout4.xml"/><Relationship Id="rId1" Type="http://schemas.openxmlformats.org/officeDocument/2006/relationships/themeOverride" Target="../theme/themeOverride2.xml"/><Relationship Id="rId5" Type="http://schemas.openxmlformats.org/officeDocument/2006/relationships/chart" Target="../charts/chart2.xml"/><Relationship Id="rId4" Type="http://schemas.openxmlformats.org/officeDocument/2006/relationships/chart" Target="../charts/chart1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4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4.xml"/><Relationship Id="rId2" Type="http://schemas.openxmlformats.org/officeDocument/2006/relationships/chart" Target="../charts/chart3.xml"/><Relationship Id="rId1" Type="http://schemas.openxmlformats.org/officeDocument/2006/relationships/slideLayout" Target="../slideLayouts/slideLayout4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png"/><Relationship Id="rId13" Type="http://schemas.openxmlformats.org/officeDocument/2006/relationships/image" Target="../media/image30.png"/><Relationship Id="rId18" Type="http://schemas.openxmlformats.org/officeDocument/2006/relationships/image" Target="../media/image35.png"/><Relationship Id="rId3" Type="http://schemas.openxmlformats.org/officeDocument/2006/relationships/image" Target="../media/image20.png"/><Relationship Id="rId21" Type="http://schemas.openxmlformats.org/officeDocument/2006/relationships/image" Target="../media/image38.png"/><Relationship Id="rId7" Type="http://schemas.openxmlformats.org/officeDocument/2006/relationships/image" Target="../media/image24.png"/><Relationship Id="rId12" Type="http://schemas.openxmlformats.org/officeDocument/2006/relationships/image" Target="../media/image29.png"/><Relationship Id="rId17" Type="http://schemas.openxmlformats.org/officeDocument/2006/relationships/image" Target="../media/image34.png"/><Relationship Id="rId2" Type="http://schemas.openxmlformats.org/officeDocument/2006/relationships/notesSlide" Target="../notesSlides/notesSlide1.xml"/><Relationship Id="rId16" Type="http://schemas.openxmlformats.org/officeDocument/2006/relationships/image" Target="../media/image33.png"/><Relationship Id="rId20" Type="http://schemas.openxmlformats.org/officeDocument/2006/relationships/image" Target="../media/image37.jpe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23.png"/><Relationship Id="rId11" Type="http://schemas.openxmlformats.org/officeDocument/2006/relationships/image" Target="../media/image28.png"/><Relationship Id="rId5" Type="http://schemas.openxmlformats.org/officeDocument/2006/relationships/image" Target="../media/image22.png"/><Relationship Id="rId15" Type="http://schemas.openxmlformats.org/officeDocument/2006/relationships/image" Target="../media/image32.png"/><Relationship Id="rId10" Type="http://schemas.openxmlformats.org/officeDocument/2006/relationships/image" Target="../media/image27.png"/><Relationship Id="rId19" Type="http://schemas.openxmlformats.org/officeDocument/2006/relationships/image" Target="../media/image36.png"/><Relationship Id="rId4" Type="http://schemas.openxmlformats.org/officeDocument/2006/relationships/image" Target="../media/image21.png"/><Relationship Id="rId9" Type="http://schemas.openxmlformats.org/officeDocument/2006/relationships/image" Target="../media/image26.png"/><Relationship Id="rId14" Type="http://schemas.openxmlformats.org/officeDocument/2006/relationships/image" Target="../media/image31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jpeg"/><Relationship Id="rId2" Type="http://schemas.openxmlformats.org/officeDocument/2006/relationships/image" Target="../media/image39.jpeg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41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4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6.xml"/><Relationship Id="rId2" Type="http://schemas.openxmlformats.org/officeDocument/2006/relationships/chart" Target="../charts/chart5.xml"/><Relationship Id="rId1" Type="http://schemas.openxmlformats.org/officeDocument/2006/relationships/slideLayout" Target="../slideLayouts/slideLayout4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ers.usda.gov/publications/pub-details?pubid=107027" TargetMode="External"/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4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4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5.jpg"/><Relationship Id="rId1" Type="http://schemas.openxmlformats.org/officeDocument/2006/relationships/slideLayout" Target="../slideLayouts/slideLayout4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7.xml"/><Relationship Id="rId6" Type="http://schemas.openxmlformats.org/officeDocument/2006/relationships/image" Target="../media/image47.png"/><Relationship Id="rId5" Type="http://schemas.openxmlformats.org/officeDocument/2006/relationships/image" Target="../media/image46.emf"/><Relationship Id="rId4" Type="http://schemas.openxmlformats.org/officeDocument/2006/relationships/oleObject" Target="../embeddings/oleObject6.bin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g"/><Relationship Id="rId1" Type="http://schemas.openxmlformats.org/officeDocument/2006/relationships/slideLayout" Target="../slideLayouts/slideLayout4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emf"/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slideLayout" Target="../slideLayouts/slideLayout4.xml"/><Relationship Id="rId1" Type="http://schemas.openxmlformats.org/officeDocument/2006/relationships/themeOverride" Target="../theme/themeOverride1.xml"/><Relationship Id="rId4" Type="http://schemas.openxmlformats.org/officeDocument/2006/relationships/image" Target="../media/image12.jp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47688" y="2743200"/>
            <a:ext cx="9301112" cy="1524000"/>
          </a:xfrm>
        </p:spPr>
        <p:txBody>
          <a:bodyPr>
            <a:noAutofit/>
          </a:bodyPr>
          <a:lstStyle/>
          <a:p>
            <a:r>
              <a:rPr lang="en-US" sz="4400" dirty="0"/>
              <a:t>WV Economic Development Council</a:t>
            </a:r>
            <a:br>
              <a:rPr lang="en-US" sz="4400" dirty="0"/>
            </a:br>
            <a:r>
              <a:rPr lang="en-US" sz="4400" dirty="0"/>
              <a:t>Annual Fall Conference</a:t>
            </a:r>
            <a:br>
              <a:rPr lang="en-US" sz="3600" dirty="0"/>
            </a:br>
            <a:endParaRPr lang="en-US" sz="360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7900" y="6172200"/>
            <a:ext cx="9012025" cy="1752600"/>
          </a:xfrm>
        </p:spPr>
        <p:txBody>
          <a:bodyPr/>
          <a:lstStyle/>
          <a:p>
            <a:r>
              <a:rPr lang="en-US" dirty="0">
                <a:solidFill>
                  <a:srgbClr val="FFC000"/>
                </a:solidFill>
              </a:rPr>
              <a:t>September 23, 2025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D632EC6-0A8C-1D30-F61D-9D086BFC957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901286" y="6492875"/>
            <a:ext cx="2133600" cy="365125"/>
          </a:xfrm>
        </p:spPr>
        <p:txBody>
          <a:bodyPr/>
          <a:lstStyle/>
          <a:p>
            <a:fld id="{C52AB188-8542-42D5-90E8-23674E6E5ED5}" type="slidenum">
              <a:rPr lang="en-US" smtClean="0"/>
              <a:t>1</a:t>
            </a:fld>
            <a:endParaRPr lang="en-US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D0BF4851-27C6-50D5-1976-62B461BD61CA}"/>
              </a:ext>
            </a:extLst>
          </p:cNvPr>
          <p:cNvSpPr txBox="1"/>
          <p:nvPr/>
        </p:nvSpPr>
        <p:spPr>
          <a:xfrm>
            <a:off x="381000" y="4876800"/>
            <a:ext cx="54864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David F. Hess, M.D.</a:t>
            </a:r>
          </a:p>
          <a:p>
            <a:r>
              <a:rPr lang="en-US" dirty="0">
                <a:solidFill>
                  <a:schemeClr val="bg1"/>
                </a:solidFill>
              </a:rPr>
              <a:t>Regional President, WVU Medicine</a:t>
            </a:r>
          </a:p>
        </p:txBody>
      </p:sp>
    </p:spTree>
    <p:extLst>
      <p:ext uri="{BB962C8B-B14F-4D97-AF65-F5344CB8AC3E}">
        <p14:creationId xmlns:p14="http://schemas.microsoft.com/office/powerpoint/2010/main" val="367171951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EDA7272-A187-6411-A3DD-38EA267B307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A building with many windows&#10;&#10;AI-generated content may be incorrect.">
            <a:extLst>
              <a:ext uri="{FF2B5EF4-FFF2-40B4-BE49-F238E27FC236}">
                <a16:creationId xmlns:a16="http://schemas.microsoft.com/office/drawing/2014/main" id="{B4784CF1-CABC-9D05-0A19-5544365416CF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35803" y="1737983"/>
            <a:ext cx="6012505" cy="3382034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0F7C6E6E-16C2-8823-0C25-D556B15EF3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82927" y="232411"/>
            <a:ext cx="7886700" cy="690608"/>
          </a:xfrm>
        </p:spPr>
        <p:txBody>
          <a:bodyPr>
            <a:normAutofit/>
          </a:bodyPr>
          <a:lstStyle/>
          <a:p>
            <a:r>
              <a:rPr lang="en-US" sz="3600" b="1" dirty="0">
                <a:solidFill>
                  <a:srgbClr val="002060"/>
                </a:solidFill>
              </a:rPr>
              <a:t>Recent Board Approved Projects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325DF7D1-9D15-C818-8E8B-C66403154319}"/>
              </a:ext>
            </a:extLst>
          </p:cNvPr>
          <p:cNvSpPr txBox="1"/>
          <p:nvPr/>
        </p:nvSpPr>
        <p:spPr>
          <a:xfrm>
            <a:off x="1752603" y="878991"/>
            <a:ext cx="877890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At its April 16, 2025 meeting, WVUHS Board of Directors approved </a:t>
            </a:r>
            <a:r>
              <a:rPr lang="en-US" b="1" u="sng" dirty="0"/>
              <a:t>$460M </a:t>
            </a:r>
            <a:r>
              <a:rPr lang="en-US" dirty="0"/>
              <a:t>in new strategic capital projects, including: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3F6A87D1-71D1-9552-D9C3-A52D7E9569F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492875"/>
            <a:ext cx="711200" cy="365125"/>
          </a:xfrm>
        </p:spPr>
        <p:txBody>
          <a:bodyPr/>
          <a:lstStyle/>
          <a:p>
            <a:fld id="{4A3FBA54-5C1B-D348-9A99-18A91FDE7B7F}" type="slidenum">
              <a:rPr lang="en-US" smtClean="0"/>
              <a:t>10</a:t>
            </a:fld>
            <a:endParaRPr lang="en-US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0DAE701C-F254-0C75-8CE9-0D4D373DFB12}"/>
              </a:ext>
            </a:extLst>
          </p:cNvPr>
          <p:cNvSpPr txBox="1"/>
          <p:nvPr/>
        </p:nvSpPr>
        <p:spPr>
          <a:xfrm>
            <a:off x="3657600" y="5257800"/>
            <a:ext cx="548640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Groundbreaking Date : Second Quarter 2026</a:t>
            </a:r>
          </a:p>
          <a:p>
            <a:r>
              <a:rPr lang="en-US" dirty="0"/>
              <a:t>Anticipated Completion: Fourth Quarter 2028</a:t>
            </a:r>
          </a:p>
          <a:p>
            <a:endParaRPr lang="en-US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84BDEAC0-3D47-9F41-0B03-12C3AECE735C}"/>
              </a:ext>
            </a:extLst>
          </p:cNvPr>
          <p:cNvSpPr txBox="1"/>
          <p:nvPr/>
        </p:nvSpPr>
        <p:spPr>
          <a:xfrm>
            <a:off x="3208352" y="4819577"/>
            <a:ext cx="5867400" cy="369332"/>
          </a:xfrm>
          <a:prstGeom prst="rect">
            <a:avLst/>
          </a:prstGeom>
          <a:solidFill>
            <a:srgbClr val="FFC000"/>
          </a:solidFill>
          <a:ln w="12700">
            <a:solidFill>
              <a:srgbClr val="002060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dirty="0"/>
              <a:t>Wheeling Hospital – Regional Cancer Center</a:t>
            </a:r>
          </a:p>
        </p:txBody>
      </p:sp>
    </p:spTree>
    <p:extLst>
      <p:ext uri="{BB962C8B-B14F-4D97-AF65-F5344CB8AC3E}">
        <p14:creationId xmlns:p14="http://schemas.microsoft.com/office/powerpoint/2010/main" val="416115899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85569FC-377A-DB4E-9993-4C09E0D4154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A building with people walking by&#10;&#10;AI-generated content may be incorrect.">
            <a:extLst>
              <a:ext uri="{FF2B5EF4-FFF2-40B4-BE49-F238E27FC236}">
                <a16:creationId xmlns:a16="http://schemas.microsoft.com/office/drawing/2014/main" id="{678E88F3-DBE1-FFDA-465C-97692C94A2A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00400" y="1621657"/>
            <a:ext cx="6019800" cy="348374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02C97A85-A125-31D0-74A1-4E1F017DBAE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82927" y="232411"/>
            <a:ext cx="7886700" cy="690608"/>
          </a:xfrm>
        </p:spPr>
        <p:txBody>
          <a:bodyPr>
            <a:normAutofit/>
          </a:bodyPr>
          <a:lstStyle/>
          <a:p>
            <a:r>
              <a:rPr lang="en-US" sz="3600" b="1" dirty="0">
                <a:solidFill>
                  <a:srgbClr val="002060"/>
                </a:solidFill>
              </a:rPr>
              <a:t>Recent Board Approved Projects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BD6E36E2-CE9D-3B73-FC41-FF4C7DD529AC}"/>
              </a:ext>
            </a:extLst>
          </p:cNvPr>
          <p:cNvSpPr txBox="1"/>
          <p:nvPr/>
        </p:nvSpPr>
        <p:spPr>
          <a:xfrm>
            <a:off x="1752603" y="878991"/>
            <a:ext cx="877890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At its April 16, 2025 meeting, WVUHS Board of Directors approved </a:t>
            </a:r>
            <a:r>
              <a:rPr lang="en-US" b="1" u="sng" dirty="0"/>
              <a:t>$460M </a:t>
            </a:r>
            <a:r>
              <a:rPr lang="en-US" dirty="0"/>
              <a:t>in new strategic capital projects, including: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E2BE682B-5FA3-24B9-27A9-ACF6394621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30000" y="6492875"/>
            <a:ext cx="711200" cy="365125"/>
          </a:xfrm>
        </p:spPr>
        <p:txBody>
          <a:bodyPr/>
          <a:lstStyle/>
          <a:p>
            <a:fld id="{4A3FBA54-5C1B-D348-9A99-18A91FDE7B7F}" type="slidenum">
              <a:rPr lang="en-US" smtClean="0"/>
              <a:t>11</a:t>
            </a:fld>
            <a:endParaRPr lang="en-US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3737DE8-0308-8E16-D315-1A5EF50EC8F5}"/>
              </a:ext>
            </a:extLst>
          </p:cNvPr>
          <p:cNvSpPr txBox="1"/>
          <p:nvPr/>
        </p:nvSpPr>
        <p:spPr>
          <a:xfrm>
            <a:off x="4038600" y="5325070"/>
            <a:ext cx="548640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Groundbreaking Date : August 12, 2025</a:t>
            </a:r>
          </a:p>
          <a:p>
            <a:r>
              <a:rPr lang="en-US" dirty="0"/>
              <a:t>Anticipated Completion: December 2026 </a:t>
            </a:r>
          </a:p>
          <a:p>
            <a:endParaRPr lang="en-US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DD066CB9-1FF1-52C7-849C-5D970E24BB54}"/>
              </a:ext>
            </a:extLst>
          </p:cNvPr>
          <p:cNvSpPr txBox="1"/>
          <p:nvPr/>
        </p:nvSpPr>
        <p:spPr>
          <a:xfrm>
            <a:off x="3276600" y="4813527"/>
            <a:ext cx="5867400" cy="369332"/>
          </a:xfrm>
          <a:prstGeom prst="rect">
            <a:avLst/>
          </a:prstGeom>
          <a:solidFill>
            <a:srgbClr val="FFC000"/>
          </a:solidFill>
          <a:ln w="12700">
            <a:solidFill>
              <a:srgbClr val="002060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dirty="0"/>
              <a:t>Wheeling Hospital – Pediatrics Outpatient Clinic </a:t>
            </a:r>
          </a:p>
        </p:txBody>
      </p:sp>
    </p:spTree>
    <p:extLst>
      <p:ext uri="{BB962C8B-B14F-4D97-AF65-F5344CB8AC3E}">
        <p14:creationId xmlns:p14="http://schemas.microsoft.com/office/powerpoint/2010/main" val="217481514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5C72C48-EF38-515C-705A-CF2C12C039E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5E6EC44-F53B-D7D5-1F96-5C384C8EC0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82927" y="232411"/>
            <a:ext cx="7886700" cy="690608"/>
          </a:xfrm>
        </p:spPr>
        <p:txBody>
          <a:bodyPr>
            <a:normAutofit/>
          </a:bodyPr>
          <a:lstStyle/>
          <a:p>
            <a:pPr algn="ctr"/>
            <a:r>
              <a:rPr lang="en-US" sz="3600" b="1" dirty="0">
                <a:solidFill>
                  <a:srgbClr val="002060"/>
                </a:solidFill>
              </a:rPr>
              <a:t>Recent Board Approved Projects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1A20AFFC-A6CB-9E76-6363-DDB7E416AD7E}"/>
              </a:ext>
            </a:extLst>
          </p:cNvPr>
          <p:cNvSpPr txBox="1"/>
          <p:nvPr/>
        </p:nvSpPr>
        <p:spPr>
          <a:xfrm>
            <a:off x="1752603" y="878991"/>
            <a:ext cx="877890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At its April 16, 2025 meeting, WVUHS Board of Directors approved </a:t>
            </a:r>
            <a:r>
              <a:rPr lang="en-US" b="1" u="sng" dirty="0"/>
              <a:t>$460M </a:t>
            </a:r>
            <a:r>
              <a:rPr lang="en-US" dirty="0"/>
              <a:t>in new strategic capital projects, including: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4BC84AD4-7C63-D421-ACB7-7697560830D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80800" y="6492875"/>
            <a:ext cx="711200" cy="365125"/>
          </a:xfrm>
        </p:spPr>
        <p:txBody>
          <a:bodyPr/>
          <a:lstStyle/>
          <a:p>
            <a:fld id="{4A3FBA54-5C1B-D348-9A99-18A91FDE7B7F}" type="slidenum">
              <a:rPr lang="en-US" smtClean="0"/>
              <a:t>12</a:t>
            </a:fld>
            <a:endParaRPr lang="en-US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8ADCD154-CA63-F01A-06F0-67C71290855B}"/>
              </a:ext>
            </a:extLst>
          </p:cNvPr>
          <p:cNvSpPr txBox="1"/>
          <p:nvPr/>
        </p:nvSpPr>
        <p:spPr>
          <a:xfrm>
            <a:off x="3639532" y="5325070"/>
            <a:ext cx="548640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/>
              <a:t>Groundbreaking Date: TBD</a:t>
            </a:r>
          </a:p>
          <a:p>
            <a:pPr algn="ctr"/>
            <a:r>
              <a:rPr lang="en-US" dirty="0"/>
              <a:t>Anticipated Completion: TBD</a:t>
            </a:r>
          </a:p>
          <a:p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53352C62-EB0B-AB2A-CCE5-FFFBDAFC48A4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t="10895" b="13639"/>
          <a:stretch>
            <a:fillRect/>
          </a:stretch>
        </p:blipFill>
        <p:spPr>
          <a:xfrm>
            <a:off x="2927170" y="1740276"/>
            <a:ext cx="6586488" cy="3200401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71EB9028-A64B-E532-F119-251E78126DDF}"/>
              </a:ext>
            </a:extLst>
          </p:cNvPr>
          <p:cNvSpPr txBox="1"/>
          <p:nvPr/>
        </p:nvSpPr>
        <p:spPr>
          <a:xfrm>
            <a:off x="3352800" y="4832356"/>
            <a:ext cx="5791200" cy="369332"/>
          </a:xfrm>
          <a:prstGeom prst="rect">
            <a:avLst/>
          </a:prstGeom>
          <a:solidFill>
            <a:srgbClr val="FFC000"/>
          </a:solidFill>
          <a:ln w="12700">
            <a:solidFill>
              <a:srgbClr val="002060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dirty="0"/>
              <a:t>United Hospital Center – Outpatient Surgery Center</a:t>
            </a:r>
          </a:p>
        </p:txBody>
      </p:sp>
    </p:spTree>
    <p:extLst>
      <p:ext uri="{BB962C8B-B14F-4D97-AF65-F5344CB8AC3E}">
        <p14:creationId xmlns:p14="http://schemas.microsoft.com/office/powerpoint/2010/main" val="359469307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D1C72C0-19C3-7AC9-42B8-88F08B33A26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0F29001-5260-73F1-96DC-9BD7E60119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24000" y="1981200"/>
            <a:ext cx="9144000" cy="2247900"/>
          </a:xfrm>
        </p:spPr>
        <p:txBody>
          <a:bodyPr>
            <a:normAutofit/>
          </a:bodyPr>
          <a:lstStyle/>
          <a:p>
            <a:r>
              <a:rPr lang="en-US" sz="5400" b="1" dirty="0">
                <a:solidFill>
                  <a:srgbClr val="002060"/>
                </a:solidFill>
              </a:rPr>
              <a:t>WVU Medicine</a:t>
            </a:r>
            <a:br>
              <a:rPr lang="en-US" sz="5400" b="1" dirty="0">
                <a:solidFill>
                  <a:srgbClr val="002060"/>
                </a:solidFill>
              </a:rPr>
            </a:br>
            <a:r>
              <a:rPr lang="en-US" sz="5400" b="1" dirty="0">
                <a:solidFill>
                  <a:srgbClr val="002060"/>
                </a:solidFill>
              </a:rPr>
              <a:t>Workforc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A0DDBCB-F952-DFB8-2D5B-D66B3737C8D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582400" y="6492875"/>
            <a:ext cx="533400" cy="365125"/>
          </a:xfrm>
        </p:spPr>
        <p:txBody>
          <a:bodyPr/>
          <a:lstStyle/>
          <a:p>
            <a:pPr>
              <a:defRPr/>
            </a:pPr>
            <a:fld id="{4A3FBA54-5C1B-D348-9A99-18A91FDE7B7F}" type="slidenum">
              <a:rPr lang="en-US">
                <a:latin typeface="Arial"/>
              </a:rPr>
              <a:pPr>
                <a:defRPr/>
              </a:pPr>
              <a:t>13</a:t>
            </a:fld>
            <a:endParaRPr lang="en-US" dirty="0"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97369089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rotWithShape="1">
          <a:blip r:embed="rId3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4970390-E751-4D0C-AC0A-CEEF2939541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78241" y="0"/>
            <a:ext cx="8229600" cy="990600"/>
          </a:xfrm>
        </p:spPr>
        <p:txBody>
          <a:bodyPr>
            <a:normAutofit/>
          </a:bodyPr>
          <a:lstStyle/>
          <a:p>
            <a:r>
              <a:rPr lang="en-US" sz="3600" b="1" dirty="0">
                <a:solidFill>
                  <a:srgbClr val="002060"/>
                </a:solidFill>
              </a:rPr>
              <a:t>Recruitment &amp; Retention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CF4D0193-20C2-748A-B7D1-1DEC235682F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828800" y="4008438"/>
            <a:ext cx="8534400" cy="2087562"/>
          </a:xfrm>
          <a:solidFill>
            <a:schemeClr val="accent6">
              <a:lumMod val="20000"/>
              <a:lumOff val="80000"/>
            </a:schemeClr>
          </a:solidFill>
          <a:ln>
            <a:solidFill>
              <a:srgbClr val="002859"/>
            </a:solidFill>
          </a:ln>
        </p:spPr>
        <p:txBody>
          <a:bodyPr vert="horz" lIns="182880" tIns="91440" rIns="182880" bIns="91440" rtlCol="0">
            <a:normAutofit fontScale="47500" lnSpcReduction="20000"/>
          </a:bodyPr>
          <a:lstStyle/>
          <a:p>
            <a:pPr marL="0" indent="0">
              <a:buNone/>
            </a:pPr>
            <a:r>
              <a:rPr lang="en-US" dirty="0"/>
              <a:t>Key Nurse Recruitment &amp; Retention initiatives:</a:t>
            </a:r>
            <a:br>
              <a:rPr lang="en-US" dirty="0"/>
            </a:br>
            <a:endParaRPr lang="en-US" dirty="0"/>
          </a:p>
          <a:p>
            <a:r>
              <a:rPr lang="en-US" dirty="0"/>
              <a:t>Clinical Advancement Career Ladder</a:t>
            </a:r>
          </a:p>
          <a:p>
            <a:r>
              <a:rPr lang="en-US" dirty="0"/>
              <a:t>Enhanced Student Loan Assistance Program (max annual benefit of $5,250 with $26,250 lifetime)</a:t>
            </a:r>
          </a:p>
          <a:p>
            <a:r>
              <a:rPr lang="en-US" dirty="0"/>
              <a:t>Sign-on and Retention Bonuses</a:t>
            </a:r>
          </a:p>
          <a:p>
            <a:r>
              <a:rPr lang="en-US" dirty="0"/>
              <a:t>Critical Staffing Incentives</a:t>
            </a:r>
          </a:p>
          <a:p>
            <a:r>
              <a:rPr lang="en-US" dirty="0"/>
              <a:t>Tuition Reimbursement</a:t>
            </a:r>
          </a:p>
          <a:p>
            <a:r>
              <a:rPr lang="en-US" dirty="0"/>
              <a:t>Aspiring Nurse Program</a:t>
            </a:r>
          </a:p>
          <a:p>
            <a:r>
              <a:rPr lang="en-US" dirty="0"/>
              <a:t>Nursing School Development</a:t>
            </a:r>
          </a:p>
          <a:p>
            <a:r>
              <a:rPr lang="en-US" dirty="0"/>
              <a:t>Internal Agency Pool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D017889-9426-E468-00A5-BCE0CBAF67F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630320" y="6529011"/>
            <a:ext cx="533400" cy="365125"/>
          </a:xfrm>
        </p:spPr>
        <p:txBody>
          <a:bodyPr/>
          <a:lstStyle/>
          <a:p>
            <a:pPr>
              <a:defRPr/>
            </a:pPr>
            <a:fld id="{4A3FBA54-5C1B-D348-9A99-18A91FDE7B7F}" type="slidenum">
              <a:rPr lang="en-US">
                <a:latin typeface="Arial"/>
              </a:rPr>
              <a:pPr>
                <a:defRPr/>
              </a:pPr>
              <a:t>14</a:t>
            </a:fld>
            <a:endParaRPr lang="en-US" dirty="0">
              <a:latin typeface="Arial"/>
            </a:endParaRPr>
          </a:p>
        </p:txBody>
      </p:sp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882D5EDC-985F-13D9-DCC0-749AD259A7D6}"/>
              </a:ext>
            </a:extLst>
          </p:cNvPr>
          <p:cNvGraphicFramePr/>
          <p:nvPr/>
        </p:nvGraphicFramePr>
        <p:xfrm>
          <a:off x="1828800" y="1489139"/>
          <a:ext cx="4114800" cy="247325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pSp>
        <p:nvGrpSpPr>
          <p:cNvPr id="8" name="Group 9">
            <a:extLst>
              <a:ext uri="{FF2B5EF4-FFF2-40B4-BE49-F238E27FC236}">
                <a16:creationId xmlns:a16="http://schemas.microsoft.com/office/drawing/2014/main" id="{4716582C-5784-F80E-4435-E358917BD713}"/>
              </a:ext>
            </a:extLst>
          </p:cNvPr>
          <p:cNvGrpSpPr>
            <a:grpSpLocks/>
          </p:cNvGrpSpPr>
          <p:nvPr/>
        </p:nvGrpSpPr>
        <p:grpSpPr bwMode="auto">
          <a:xfrm>
            <a:off x="1828800" y="1088345"/>
            <a:ext cx="4114800" cy="265859"/>
            <a:chOff x="393192" y="1430219"/>
            <a:chExt cx="9262872" cy="215003"/>
          </a:xfrm>
        </p:grpSpPr>
        <p:sp>
          <p:nvSpPr>
            <p:cNvPr id="9" name="HeadingTitle 3">
              <a:extLst>
                <a:ext uri="{FF2B5EF4-FFF2-40B4-BE49-F238E27FC236}">
                  <a16:creationId xmlns:a16="http://schemas.microsoft.com/office/drawing/2014/main" id="{AF60B03B-70C1-A5F5-0905-A48200CB9554}"/>
                </a:ext>
              </a:extLst>
            </p:cNvPr>
            <p:cNvSpPr txBox="1">
              <a:spLocks noChangeArrowheads="1"/>
            </p:cNvSpPr>
            <p:nvPr/>
          </p:nvSpPr>
          <p:spPr bwMode="gray">
            <a:xfrm>
              <a:off x="393192" y="1430219"/>
              <a:ext cx="9262872" cy="2124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46817" rIns="0" anchor="b">
              <a:spAutoFit/>
            </a:bodyPr>
            <a:lstStyle>
              <a:lvl1pPr eaLnBrk="0" hangingPunct="0">
                <a:defRPr sz="10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 eaLnBrk="0" hangingPunct="0">
                <a:defRPr sz="10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 eaLnBrk="0" hangingPunct="0">
                <a:defRPr sz="10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 eaLnBrk="0" hangingPunct="0">
                <a:defRPr sz="10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 eaLnBrk="0" hangingPunct="0">
                <a:defRPr sz="10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defTabSz="914400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100" b="1" dirty="0">
                  <a:ea typeface="MS PGothic" pitchFamily="34" charset="-128"/>
                </a:rPr>
                <a:t>Total Agency &amp; Overtime Costs as % of NPR</a:t>
              </a:r>
            </a:p>
          </p:txBody>
        </p:sp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7C1C3C2E-5C30-532F-21C5-4034D53519E0}"/>
                </a:ext>
              </a:extLst>
            </p:cNvPr>
            <p:cNvCxnSpPr>
              <a:cxnSpLocks noChangeShapeType="1"/>
            </p:cNvCxnSpPr>
            <p:nvPr/>
          </p:nvCxnSpPr>
          <p:spPr bwMode="auto">
            <a:xfrm>
              <a:off x="393192" y="1645222"/>
              <a:ext cx="9262872" cy="0"/>
            </a:xfrm>
            <a:prstGeom prst="line">
              <a:avLst/>
            </a:prstGeom>
            <a:noFill/>
            <a:ln w="9525" algn="ctr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11" name="Group 9">
            <a:extLst>
              <a:ext uri="{FF2B5EF4-FFF2-40B4-BE49-F238E27FC236}">
                <a16:creationId xmlns:a16="http://schemas.microsoft.com/office/drawing/2014/main" id="{944BE715-14C3-F16C-80FD-EE0A298E31E9}"/>
              </a:ext>
            </a:extLst>
          </p:cNvPr>
          <p:cNvGrpSpPr>
            <a:grpSpLocks/>
          </p:cNvGrpSpPr>
          <p:nvPr/>
        </p:nvGrpSpPr>
        <p:grpSpPr bwMode="auto">
          <a:xfrm>
            <a:off x="6245352" y="1088345"/>
            <a:ext cx="4114800" cy="265859"/>
            <a:chOff x="393192" y="1430219"/>
            <a:chExt cx="9262872" cy="215003"/>
          </a:xfrm>
        </p:grpSpPr>
        <p:sp>
          <p:nvSpPr>
            <p:cNvPr id="12" name="HeadingTitle 3">
              <a:extLst>
                <a:ext uri="{FF2B5EF4-FFF2-40B4-BE49-F238E27FC236}">
                  <a16:creationId xmlns:a16="http://schemas.microsoft.com/office/drawing/2014/main" id="{C15387D0-C568-099A-7001-7766CB53DD9F}"/>
                </a:ext>
              </a:extLst>
            </p:cNvPr>
            <p:cNvSpPr txBox="1">
              <a:spLocks noChangeArrowheads="1"/>
            </p:cNvSpPr>
            <p:nvPr/>
          </p:nvSpPr>
          <p:spPr bwMode="gray">
            <a:xfrm>
              <a:off x="393192" y="1430219"/>
              <a:ext cx="9262872" cy="2124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46817" rIns="0" anchor="b">
              <a:spAutoFit/>
            </a:bodyPr>
            <a:lstStyle>
              <a:lvl1pPr eaLnBrk="0" hangingPunct="0">
                <a:defRPr sz="10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 eaLnBrk="0" hangingPunct="0">
                <a:defRPr sz="10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 eaLnBrk="0" hangingPunct="0">
                <a:defRPr sz="10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 eaLnBrk="0" hangingPunct="0">
                <a:defRPr sz="10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 eaLnBrk="0" hangingPunct="0">
                <a:defRPr sz="10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defTabSz="914400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100" b="1" dirty="0">
                  <a:ea typeface="MS PGothic" pitchFamily="34" charset="-128"/>
                </a:rPr>
                <a:t>Total Agency &amp; Overtime Costs (in Millions)</a:t>
              </a:r>
            </a:p>
          </p:txBody>
        </p:sp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59A4A932-1D07-59FF-2644-48C908114F03}"/>
                </a:ext>
              </a:extLst>
            </p:cNvPr>
            <p:cNvCxnSpPr>
              <a:cxnSpLocks noChangeShapeType="1"/>
            </p:cNvCxnSpPr>
            <p:nvPr/>
          </p:nvCxnSpPr>
          <p:spPr bwMode="auto">
            <a:xfrm>
              <a:off x="393192" y="1645222"/>
              <a:ext cx="9262872" cy="0"/>
            </a:xfrm>
            <a:prstGeom prst="line">
              <a:avLst/>
            </a:prstGeom>
            <a:noFill/>
            <a:ln w="9525" algn="ctr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aphicFrame>
        <p:nvGraphicFramePr>
          <p:cNvPr id="14" name="Chart 13">
            <a:extLst>
              <a:ext uri="{FF2B5EF4-FFF2-40B4-BE49-F238E27FC236}">
                <a16:creationId xmlns:a16="http://schemas.microsoft.com/office/drawing/2014/main" id="{22B9FD63-2760-005F-E724-4A097B8F03D0}"/>
              </a:ext>
            </a:extLst>
          </p:cNvPr>
          <p:cNvGraphicFramePr/>
          <p:nvPr/>
        </p:nvGraphicFramePr>
        <p:xfrm>
          <a:off x="6245352" y="1489139"/>
          <a:ext cx="4114800" cy="247325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112033379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4970390-E751-4D0C-AC0A-CEEF2939541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78241" y="0"/>
            <a:ext cx="8229600" cy="990600"/>
          </a:xfrm>
        </p:spPr>
        <p:txBody>
          <a:bodyPr>
            <a:normAutofit/>
          </a:bodyPr>
          <a:lstStyle/>
          <a:p>
            <a:r>
              <a:rPr lang="en-US" sz="3600" b="1" dirty="0">
                <a:solidFill>
                  <a:srgbClr val="002060"/>
                </a:solidFill>
              </a:rPr>
              <a:t>Center for Nursing Educatio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2268A31-EE2C-B509-6165-472ADFA7B0E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659384" y="762003"/>
            <a:ext cx="9008616" cy="5601425"/>
          </a:xfrm>
        </p:spPr>
        <p:txBody>
          <a:bodyPr>
            <a:noAutofit/>
          </a:bodyPr>
          <a:lstStyle/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altLang="en-US" sz="1800" dirty="0">
                <a:solidFill>
                  <a:srgbClr val="000000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Build state-of-the-art, hospital-based, nursing school and registered nurse program at WVU Innovation Corporation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altLang="en-US" sz="1800" dirty="0">
                <a:solidFill>
                  <a:srgbClr val="000000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Offer quality education with focus on students who never thought they could go to nursing school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altLang="en-US" sz="1800" dirty="0">
                <a:solidFill>
                  <a:srgbClr val="000000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Attempt to eliminate barriers with free tuition, free books, no fees, and extensive wraparound services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altLang="en-US" sz="1800" dirty="0">
                <a:solidFill>
                  <a:srgbClr val="000000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Guarantee graduates a nursing position and an early place in the WVU Medicine family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altLang="en-US" sz="1800" dirty="0">
                <a:solidFill>
                  <a:srgbClr val="000000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Develop new and innovative ways to address nursing vacancies and add to the number of nursing graduates</a:t>
            </a:r>
            <a:endParaRPr lang="en-US" sz="1800" dirty="0">
              <a:solidFill>
                <a:srgbClr val="000000"/>
              </a:solidFill>
              <a:cs typeface="Times New Roman" panose="02020603050405020304" pitchFamily="18" charset="0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D017889-9426-E468-00A5-BCE0CBAF67F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506200" y="6492875"/>
            <a:ext cx="533400" cy="365125"/>
          </a:xfrm>
        </p:spPr>
        <p:txBody>
          <a:bodyPr/>
          <a:lstStyle/>
          <a:p>
            <a:pPr>
              <a:defRPr/>
            </a:pPr>
            <a:fld id="{4A3FBA54-5C1B-D348-9A99-18A91FDE7B7F}" type="slidenum">
              <a:rPr lang="en-US">
                <a:latin typeface="Arial"/>
              </a:rPr>
              <a:pPr>
                <a:defRPr/>
              </a:pPr>
              <a:t>15</a:t>
            </a:fld>
            <a:endParaRPr lang="en-US" dirty="0">
              <a:latin typeface="Arial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341AF19E-E833-D666-8BAD-BB84709EDCF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296364" y="3962400"/>
            <a:ext cx="4381039" cy="2757096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4261612171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4970390-E751-4D0C-AC0A-CEEF2939541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78241" y="0"/>
            <a:ext cx="8229600" cy="990600"/>
          </a:xfrm>
        </p:spPr>
        <p:txBody>
          <a:bodyPr>
            <a:normAutofit/>
          </a:bodyPr>
          <a:lstStyle/>
          <a:p>
            <a:r>
              <a:rPr lang="en-US" sz="3600" b="1" dirty="0">
                <a:solidFill>
                  <a:srgbClr val="002060"/>
                </a:solidFill>
              </a:rPr>
              <a:t>Turnover Rate By Year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D017889-9426-E468-00A5-BCE0CBAF67F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582400" y="6492875"/>
            <a:ext cx="533400" cy="365125"/>
          </a:xfrm>
        </p:spPr>
        <p:txBody>
          <a:bodyPr/>
          <a:lstStyle/>
          <a:p>
            <a:pPr>
              <a:defRPr/>
            </a:pPr>
            <a:fld id="{4A3FBA54-5C1B-D348-9A99-18A91FDE7B7F}" type="slidenum">
              <a:rPr lang="en-US">
                <a:latin typeface="Arial"/>
              </a:rPr>
              <a:pPr>
                <a:defRPr/>
              </a:pPr>
              <a:t>16</a:t>
            </a:fld>
            <a:endParaRPr lang="en-US" dirty="0">
              <a:latin typeface="Arial"/>
            </a:endParaRPr>
          </a:p>
        </p:txBody>
      </p:sp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3E9E73FC-8FE3-A5F9-2582-05711E9E21CD}"/>
              </a:ext>
            </a:extLst>
          </p:cNvPr>
          <p:cNvGraphicFramePr/>
          <p:nvPr/>
        </p:nvGraphicFramePr>
        <p:xfrm>
          <a:off x="1831848" y="1447800"/>
          <a:ext cx="4114800" cy="4267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8" name="TextBox 7">
            <a:extLst>
              <a:ext uri="{FF2B5EF4-FFF2-40B4-BE49-F238E27FC236}">
                <a16:creationId xmlns:a16="http://schemas.microsoft.com/office/drawing/2014/main" id="{9EC8AEFF-504C-92F8-4F3D-E293A5014E34}"/>
              </a:ext>
            </a:extLst>
          </p:cNvPr>
          <p:cNvSpPr txBox="1"/>
          <p:nvPr/>
        </p:nvSpPr>
        <p:spPr>
          <a:xfrm>
            <a:off x="1761505" y="5941368"/>
            <a:ext cx="8586846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900" dirty="0">
                <a:solidFill>
                  <a:srgbClr val="000000"/>
                </a:solidFill>
                <a:latin typeface="Arial" panose="020B0604020202020204" pitchFamily="34" charset="0"/>
              </a:rPr>
              <a:t>Source: 2025 NSI National Health Care Retention &amp; RN Staffing Report; 2025 YTD median assumes FY 2024 median   </a:t>
            </a:r>
          </a:p>
        </p:txBody>
      </p:sp>
      <p:graphicFrame>
        <p:nvGraphicFramePr>
          <p:cNvPr id="12" name="Chart 11">
            <a:extLst>
              <a:ext uri="{FF2B5EF4-FFF2-40B4-BE49-F238E27FC236}">
                <a16:creationId xmlns:a16="http://schemas.microsoft.com/office/drawing/2014/main" id="{52126F72-4D6B-F76F-8541-39E0E2A81AE8}"/>
              </a:ext>
            </a:extLst>
          </p:cNvPr>
          <p:cNvGraphicFramePr/>
          <p:nvPr/>
        </p:nvGraphicFramePr>
        <p:xfrm>
          <a:off x="6248400" y="1447803"/>
          <a:ext cx="4114800" cy="426719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pSp>
        <p:nvGrpSpPr>
          <p:cNvPr id="13" name="Group 9">
            <a:extLst>
              <a:ext uri="{FF2B5EF4-FFF2-40B4-BE49-F238E27FC236}">
                <a16:creationId xmlns:a16="http://schemas.microsoft.com/office/drawing/2014/main" id="{7F3AF60F-B976-3471-AFA3-C3FC8C62E9C0}"/>
              </a:ext>
            </a:extLst>
          </p:cNvPr>
          <p:cNvGrpSpPr>
            <a:grpSpLocks/>
          </p:cNvGrpSpPr>
          <p:nvPr/>
        </p:nvGrpSpPr>
        <p:grpSpPr bwMode="auto">
          <a:xfrm>
            <a:off x="6245352" y="1088345"/>
            <a:ext cx="4114800" cy="265859"/>
            <a:chOff x="393192" y="1430219"/>
            <a:chExt cx="9262872" cy="215003"/>
          </a:xfrm>
        </p:grpSpPr>
        <p:sp>
          <p:nvSpPr>
            <p:cNvPr id="14" name="HeadingTitle 3">
              <a:extLst>
                <a:ext uri="{FF2B5EF4-FFF2-40B4-BE49-F238E27FC236}">
                  <a16:creationId xmlns:a16="http://schemas.microsoft.com/office/drawing/2014/main" id="{4EB29152-8041-46B2-7373-AA539D91DE66}"/>
                </a:ext>
              </a:extLst>
            </p:cNvPr>
            <p:cNvSpPr txBox="1">
              <a:spLocks noChangeArrowheads="1"/>
            </p:cNvSpPr>
            <p:nvPr/>
          </p:nvSpPr>
          <p:spPr bwMode="gray">
            <a:xfrm>
              <a:off x="393192" y="1430219"/>
              <a:ext cx="9262872" cy="2124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46817" rIns="0" anchor="b">
              <a:spAutoFit/>
            </a:bodyPr>
            <a:lstStyle>
              <a:lvl1pPr eaLnBrk="0" hangingPunct="0">
                <a:defRPr sz="10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 eaLnBrk="0" hangingPunct="0">
                <a:defRPr sz="10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 eaLnBrk="0" hangingPunct="0">
                <a:defRPr sz="10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 eaLnBrk="0" hangingPunct="0">
                <a:defRPr sz="10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 eaLnBrk="0" hangingPunct="0">
                <a:defRPr sz="10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defTabSz="914400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100" b="1" u="sng" dirty="0">
                  <a:ea typeface="MS PGothic" pitchFamily="34" charset="-128"/>
                </a:rPr>
                <a:t>Annual</a:t>
              </a:r>
              <a:r>
                <a:rPr lang="en-US" sz="1100" b="1" dirty="0">
                  <a:ea typeface="MS PGothic" pitchFamily="34" charset="-128"/>
                </a:rPr>
                <a:t> Turnover by Year</a:t>
              </a:r>
            </a:p>
          </p:txBody>
        </p:sp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1EE6F28A-FC0F-AF6F-6059-4FCF10F4A033}"/>
                </a:ext>
              </a:extLst>
            </p:cNvPr>
            <p:cNvCxnSpPr>
              <a:cxnSpLocks noChangeShapeType="1"/>
            </p:cNvCxnSpPr>
            <p:nvPr/>
          </p:nvCxnSpPr>
          <p:spPr bwMode="auto">
            <a:xfrm>
              <a:off x="393192" y="1645222"/>
              <a:ext cx="9262872" cy="0"/>
            </a:xfrm>
            <a:prstGeom prst="line">
              <a:avLst/>
            </a:prstGeom>
            <a:noFill/>
            <a:ln w="9525" algn="ctr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5" name="Group 9">
            <a:extLst>
              <a:ext uri="{FF2B5EF4-FFF2-40B4-BE49-F238E27FC236}">
                <a16:creationId xmlns:a16="http://schemas.microsoft.com/office/drawing/2014/main" id="{CC877647-B671-6D18-A475-ABC7C91FD62E}"/>
              </a:ext>
            </a:extLst>
          </p:cNvPr>
          <p:cNvGrpSpPr>
            <a:grpSpLocks/>
          </p:cNvGrpSpPr>
          <p:nvPr/>
        </p:nvGrpSpPr>
        <p:grpSpPr bwMode="auto">
          <a:xfrm>
            <a:off x="1828800" y="1092161"/>
            <a:ext cx="4114800" cy="265859"/>
            <a:chOff x="393192" y="1430219"/>
            <a:chExt cx="9262872" cy="215003"/>
          </a:xfrm>
        </p:grpSpPr>
        <p:sp>
          <p:nvSpPr>
            <p:cNvPr id="6" name="HeadingTitle 3">
              <a:extLst>
                <a:ext uri="{FF2B5EF4-FFF2-40B4-BE49-F238E27FC236}">
                  <a16:creationId xmlns:a16="http://schemas.microsoft.com/office/drawing/2014/main" id="{1A328D0F-0BE3-4475-D5A5-1201093985B1}"/>
                </a:ext>
              </a:extLst>
            </p:cNvPr>
            <p:cNvSpPr txBox="1">
              <a:spLocks noChangeArrowheads="1"/>
            </p:cNvSpPr>
            <p:nvPr/>
          </p:nvSpPr>
          <p:spPr bwMode="gray">
            <a:xfrm>
              <a:off x="393192" y="1430219"/>
              <a:ext cx="9262872" cy="2124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46817" rIns="0" anchor="b">
              <a:spAutoFit/>
            </a:bodyPr>
            <a:lstStyle>
              <a:lvl1pPr eaLnBrk="0" hangingPunct="0">
                <a:defRPr sz="10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 eaLnBrk="0" hangingPunct="0">
                <a:defRPr sz="10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 eaLnBrk="0" hangingPunct="0">
                <a:defRPr sz="10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 eaLnBrk="0" hangingPunct="0">
                <a:defRPr sz="10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 eaLnBrk="0" hangingPunct="0">
                <a:defRPr sz="10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defTabSz="914400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100" b="1" u="sng" dirty="0">
                  <a:ea typeface="MS PGothic" pitchFamily="34" charset="-128"/>
                </a:rPr>
                <a:t>RN Annual</a:t>
              </a:r>
              <a:r>
                <a:rPr lang="en-US" sz="1100" b="1" dirty="0">
                  <a:ea typeface="MS PGothic" pitchFamily="34" charset="-128"/>
                </a:rPr>
                <a:t> Turnover by Year</a:t>
              </a:r>
            </a:p>
          </p:txBody>
        </p:sp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505F6AFA-A92F-D60F-A338-9476DE878036}"/>
                </a:ext>
              </a:extLst>
            </p:cNvPr>
            <p:cNvCxnSpPr>
              <a:cxnSpLocks noChangeShapeType="1"/>
            </p:cNvCxnSpPr>
            <p:nvPr/>
          </p:nvCxnSpPr>
          <p:spPr bwMode="auto">
            <a:xfrm>
              <a:off x="393192" y="1645222"/>
              <a:ext cx="9262872" cy="0"/>
            </a:xfrm>
            <a:prstGeom prst="line">
              <a:avLst/>
            </a:prstGeom>
            <a:noFill/>
            <a:ln w="9525" algn="ctr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939127255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4970390-E751-4D0C-AC0A-CEEF2939541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24000" y="2590800"/>
            <a:ext cx="9144000" cy="990600"/>
          </a:xfrm>
        </p:spPr>
        <p:txBody>
          <a:bodyPr>
            <a:normAutofit/>
          </a:bodyPr>
          <a:lstStyle/>
          <a:p>
            <a:r>
              <a:rPr lang="en-US" sz="5400" b="1" dirty="0">
                <a:solidFill>
                  <a:srgbClr val="002060"/>
                </a:solidFill>
              </a:rPr>
              <a:t>Peak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D017889-9426-E468-00A5-BCE0CBAF67F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506200" y="6484234"/>
            <a:ext cx="533400" cy="365125"/>
          </a:xfrm>
        </p:spPr>
        <p:txBody>
          <a:bodyPr/>
          <a:lstStyle/>
          <a:p>
            <a:pPr>
              <a:defRPr/>
            </a:pPr>
            <a:fld id="{4A3FBA54-5C1B-D348-9A99-18A91FDE7B7F}" type="slidenum">
              <a:rPr lang="en-US">
                <a:latin typeface="Arial"/>
              </a:rPr>
              <a:pPr>
                <a:defRPr/>
              </a:pPr>
              <a:t>17</a:t>
            </a:fld>
            <a:endParaRPr lang="en-US" dirty="0"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482068838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" name="Picture 26">
            <a:extLst>
              <a:ext uri="{FF2B5EF4-FFF2-40B4-BE49-F238E27FC236}">
                <a16:creationId xmlns:a16="http://schemas.microsoft.com/office/drawing/2014/main" id="{5D0E9377-184F-884E-2F42-C9F4E6DA73E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069808" y="3609716"/>
            <a:ext cx="1828800" cy="1163490"/>
          </a:xfrm>
          <a:prstGeom prst="rect">
            <a:avLst/>
          </a:prstGeom>
        </p:spPr>
      </p:pic>
      <p:pic>
        <p:nvPicPr>
          <p:cNvPr id="25" name="Picture 24">
            <a:extLst>
              <a:ext uri="{FF2B5EF4-FFF2-40B4-BE49-F238E27FC236}">
                <a16:creationId xmlns:a16="http://schemas.microsoft.com/office/drawing/2014/main" id="{A486D976-FBC2-CD69-664C-C58AC18B71B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096003" y="5120640"/>
            <a:ext cx="1120141" cy="640080"/>
          </a:xfrm>
          <a:prstGeom prst="rect">
            <a:avLst/>
          </a:prstGeom>
        </p:spPr>
      </p:pic>
      <p:pic>
        <p:nvPicPr>
          <p:cNvPr id="31" name="Picture 30">
            <a:extLst>
              <a:ext uri="{FF2B5EF4-FFF2-40B4-BE49-F238E27FC236}">
                <a16:creationId xmlns:a16="http://schemas.microsoft.com/office/drawing/2014/main" id="{2F49A7CE-1158-BCE5-1057-3D49315FD6B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953003" y="5120640"/>
            <a:ext cx="1120141" cy="640080"/>
          </a:xfrm>
          <a:prstGeom prst="rect">
            <a:avLst/>
          </a:prstGeom>
        </p:spPr>
      </p:pic>
      <p:pic>
        <p:nvPicPr>
          <p:cNvPr id="29" name="Picture 28">
            <a:extLst>
              <a:ext uri="{FF2B5EF4-FFF2-40B4-BE49-F238E27FC236}">
                <a16:creationId xmlns:a16="http://schemas.microsoft.com/office/drawing/2014/main" id="{69C6CBA5-BDF6-4EC1-7F40-6CE62E558995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229603" y="5120640"/>
            <a:ext cx="1120141" cy="64008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85899" y="18198"/>
            <a:ext cx="9220200" cy="1143000"/>
          </a:xfrm>
        </p:spPr>
        <p:txBody>
          <a:bodyPr anchor="ctr">
            <a:normAutofit/>
          </a:bodyPr>
          <a:lstStyle/>
          <a:p>
            <a:r>
              <a:rPr lang="en-US" sz="3600" b="1" dirty="0">
                <a:solidFill>
                  <a:srgbClr val="002060"/>
                </a:solidFill>
              </a:rPr>
              <a:t> Integrated Delivery &amp; Finance System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>
          <a:xfrm>
            <a:off x="11582400" y="6492875"/>
            <a:ext cx="533400" cy="365125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fld id="{4A3FBA54-5C1B-D348-9A99-18A91FDE7B7F}" type="slidenum">
              <a:rPr lang="en-US" smtClean="0"/>
              <a:pPr>
                <a:spcAft>
                  <a:spcPts val="600"/>
                </a:spcAft>
              </a:pPr>
              <a:t>18</a:t>
            </a:fld>
            <a:endParaRPr lang="en-US" dirty="0"/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9CE9E54-360C-B7DB-7CC2-4F07D7328CDD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886203" y="5120640"/>
            <a:ext cx="1120141" cy="640080"/>
          </a:xfrm>
          <a:prstGeom prst="rect">
            <a:avLst/>
          </a:prstGeom>
        </p:spPr>
      </p:pic>
      <p:pic>
        <p:nvPicPr>
          <p:cNvPr id="35" name="Picture 34">
            <a:extLst>
              <a:ext uri="{FF2B5EF4-FFF2-40B4-BE49-F238E27FC236}">
                <a16:creationId xmlns:a16="http://schemas.microsoft.com/office/drawing/2014/main" id="{670D1044-8763-7199-6C70-B7026A7EDDC4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162803" y="5120640"/>
            <a:ext cx="1120141" cy="640080"/>
          </a:xfrm>
          <a:prstGeom prst="rect">
            <a:avLst/>
          </a:prstGeom>
        </p:spPr>
      </p:pic>
      <p:pic>
        <p:nvPicPr>
          <p:cNvPr id="37" name="Picture 36">
            <a:extLst>
              <a:ext uri="{FF2B5EF4-FFF2-40B4-BE49-F238E27FC236}">
                <a16:creationId xmlns:a16="http://schemas.microsoft.com/office/drawing/2014/main" id="{4F01F532-04DF-CDE9-EC5D-57C28D124E45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9296403" y="5120640"/>
            <a:ext cx="1120141" cy="640080"/>
          </a:xfrm>
          <a:prstGeom prst="rect">
            <a:avLst/>
          </a:prstGeom>
          <a:ln>
            <a:noFill/>
          </a:ln>
        </p:spPr>
      </p:pic>
      <p:pic>
        <p:nvPicPr>
          <p:cNvPr id="39" name="Picture 38">
            <a:extLst>
              <a:ext uri="{FF2B5EF4-FFF2-40B4-BE49-F238E27FC236}">
                <a16:creationId xmlns:a16="http://schemas.microsoft.com/office/drawing/2014/main" id="{E68CAB7A-48D6-8AB9-10E0-B4512E37B723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1653544" y="5120640"/>
            <a:ext cx="1120141" cy="640080"/>
          </a:xfrm>
          <a:prstGeom prst="rect">
            <a:avLst/>
          </a:prstGeom>
        </p:spPr>
      </p:pic>
      <p:pic>
        <p:nvPicPr>
          <p:cNvPr id="41" name="Picture 40">
            <a:extLst>
              <a:ext uri="{FF2B5EF4-FFF2-40B4-BE49-F238E27FC236}">
                <a16:creationId xmlns:a16="http://schemas.microsoft.com/office/drawing/2014/main" id="{65132B05-2B70-C853-DFBD-1DA25189DF97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2773685" y="5120640"/>
            <a:ext cx="1120141" cy="640080"/>
          </a:xfrm>
          <a:prstGeom prst="rect">
            <a:avLst/>
          </a:prstGeom>
        </p:spPr>
      </p:pic>
      <p:sp>
        <p:nvSpPr>
          <p:cNvPr id="42" name="TextBox 41">
            <a:extLst>
              <a:ext uri="{FF2B5EF4-FFF2-40B4-BE49-F238E27FC236}">
                <a16:creationId xmlns:a16="http://schemas.microsoft.com/office/drawing/2014/main" id="{1863255E-F9EA-FE10-6E5D-7F45CDB10BF3}"/>
              </a:ext>
            </a:extLst>
          </p:cNvPr>
          <p:cNvSpPr txBox="1"/>
          <p:nvPr/>
        </p:nvSpPr>
        <p:spPr>
          <a:xfrm>
            <a:off x="1828802" y="5763827"/>
            <a:ext cx="11201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Clinics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BAFD92BA-31E5-7D15-FF5F-1B7A9BA1AFC0}"/>
              </a:ext>
            </a:extLst>
          </p:cNvPr>
          <p:cNvSpPr txBox="1"/>
          <p:nvPr/>
        </p:nvSpPr>
        <p:spPr>
          <a:xfrm>
            <a:off x="2806835" y="5773874"/>
            <a:ext cx="11201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Pharmacy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A047FCDD-BC3D-6555-A97B-8D8972C9FC53}"/>
              </a:ext>
            </a:extLst>
          </p:cNvPr>
          <p:cNvSpPr txBox="1"/>
          <p:nvPr/>
        </p:nvSpPr>
        <p:spPr>
          <a:xfrm>
            <a:off x="3973912" y="5791203"/>
            <a:ext cx="11201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dirty="0"/>
              <a:t>Home Health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C6D3C670-2026-4CC0-AA46-705418CF9DEC}"/>
              </a:ext>
            </a:extLst>
          </p:cNvPr>
          <p:cNvSpPr txBox="1"/>
          <p:nvPr/>
        </p:nvSpPr>
        <p:spPr>
          <a:xfrm>
            <a:off x="5424141" y="5798273"/>
            <a:ext cx="11201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Lab</a:t>
            </a: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28FFBE5B-6475-A355-53BD-C4D4AEBC92F9}"/>
              </a:ext>
            </a:extLst>
          </p:cNvPr>
          <p:cNvSpPr txBox="1"/>
          <p:nvPr/>
        </p:nvSpPr>
        <p:spPr>
          <a:xfrm>
            <a:off x="6236894" y="5791203"/>
            <a:ext cx="11201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dirty="0"/>
              <a:t>SNF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D01E62FD-E475-E0B0-8162-C51498331C3B}"/>
              </a:ext>
            </a:extLst>
          </p:cNvPr>
          <p:cNvSpPr txBox="1"/>
          <p:nvPr/>
        </p:nvSpPr>
        <p:spPr>
          <a:xfrm>
            <a:off x="7436479" y="5775064"/>
            <a:ext cx="11201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dirty="0"/>
              <a:t>Rehab</a:t>
            </a: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CD57ADC4-A2E4-D7A3-E4DC-42C177C88E09}"/>
              </a:ext>
            </a:extLst>
          </p:cNvPr>
          <p:cNvSpPr txBox="1"/>
          <p:nvPr/>
        </p:nvSpPr>
        <p:spPr>
          <a:xfrm>
            <a:off x="8336123" y="5786738"/>
            <a:ext cx="11201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dirty="0"/>
              <a:t>DME</a:t>
            </a: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FD1A4BCF-4572-A794-E4C3-EA096974977B}"/>
              </a:ext>
            </a:extLst>
          </p:cNvPr>
          <p:cNvSpPr txBox="1"/>
          <p:nvPr/>
        </p:nvSpPr>
        <p:spPr>
          <a:xfrm>
            <a:off x="9465666" y="5786738"/>
            <a:ext cx="11201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dirty="0"/>
              <a:t>Hospice</a:t>
            </a:r>
          </a:p>
        </p:txBody>
      </p:sp>
      <p:pic>
        <p:nvPicPr>
          <p:cNvPr id="63" name="Picture 62">
            <a:extLst>
              <a:ext uri="{FF2B5EF4-FFF2-40B4-BE49-F238E27FC236}">
                <a16:creationId xmlns:a16="http://schemas.microsoft.com/office/drawing/2014/main" id="{F2733D8C-9EA0-91A6-2F16-2FDC41261297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5069808" y="2343146"/>
            <a:ext cx="1828800" cy="1241570"/>
          </a:xfrm>
          <a:prstGeom prst="rect">
            <a:avLst/>
          </a:prstGeom>
        </p:spPr>
      </p:pic>
      <p:pic>
        <p:nvPicPr>
          <p:cNvPr id="69" name="Picture 68">
            <a:extLst>
              <a:ext uri="{FF2B5EF4-FFF2-40B4-BE49-F238E27FC236}">
                <a16:creationId xmlns:a16="http://schemas.microsoft.com/office/drawing/2014/main" id="{5388E46B-D3A7-6F2A-435D-1A58724A309D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2361431" y="1470655"/>
            <a:ext cx="1060006" cy="640080"/>
          </a:xfrm>
          <a:prstGeom prst="rect">
            <a:avLst/>
          </a:prstGeom>
        </p:spPr>
      </p:pic>
      <p:pic>
        <p:nvPicPr>
          <p:cNvPr id="71" name="Picture 70">
            <a:extLst>
              <a:ext uri="{FF2B5EF4-FFF2-40B4-BE49-F238E27FC236}">
                <a16:creationId xmlns:a16="http://schemas.microsoft.com/office/drawing/2014/main" id="{1E0D7E58-1FBC-DC9D-809E-8D5766D60558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3432109" y="1470655"/>
            <a:ext cx="1056131" cy="640080"/>
          </a:xfrm>
          <a:prstGeom prst="rect">
            <a:avLst/>
          </a:prstGeom>
        </p:spPr>
      </p:pic>
      <p:pic>
        <p:nvPicPr>
          <p:cNvPr id="75" name="Picture 74">
            <a:extLst>
              <a:ext uri="{FF2B5EF4-FFF2-40B4-BE49-F238E27FC236}">
                <a16:creationId xmlns:a16="http://schemas.microsoft.com/office/drawing/2014/main" id="{03182672-729F-9CE0-0207-7E63E60A14A5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4386637" y="1470655"/>
            <a:ext cx="1244600" cy="640080"/>
          </a:xfrm>
          <a:prstGeom prst="rect">
            <a:avLst/>
          </a:prstGeom>
        </p:spPr>
      </p:pic>
      <p:pic>
        <p:nvPicPr>
          <p:cNvPr id="83" name="Picture 82">
            <a:extLst>
              <a:ext uri="{FF2B5EF4-FFF2-40B4-BE49-F238E27FC236}">
                <a16:creationId xmlns:a16="http://schemas.microsoft.com/office/drawing/2014/main" id="{551E0416-C8CC-95E6-8537-0E68862585D8}"/>
              </a:ext>
            </a:extLst>
          </p:cNvPr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6621837" y="1470655"/>
            <a:ext cx="1046518" cy="640080"/>
          </a:xfrm>
          <a:prstGeom prst="rect">
            <a:avLst/>
          </a:prstGeom>
        </p:spPr>
      </p:pic>
      <p:pic>
        <p:nvPicPr>
          <p:cNvPr id="85" name="Picture 84">
            <a:extLst>
              <a:ext uri="{FF2B5EF4-FFF2-40B4-BE49-F238E27FC236}">
                <a16:creationId xmlns:a16="http://schemas.microsoft.com/office/drawing/2014/main" id="{9B0A8739-4874-B404-FBFB-449C21D62E23}"/>
              </a:ext>
            </a:extLst>
          </p:cNvPr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7688640" y="1470655"/>
            <a:ext cx="1004207" cy="640080"/>
          </a:xfrm>
          <a:prstGeom prst="rect">
            <a:avLst/>
          </a:prstGeom>
        </p:spPr>
      </p:pic>
      <p:pic>
        <p:nvPicPr>
          <p:cNvPr id="89" name="Picture 88">
            <a:extLst>
              <a:ext uri="{FF2B5EF4-FFF2-40B4-BE49-F238E27FC236}">
                <a16:creationId xmlns:a16="http://schemas.microsoft.com/office/drawing/2014/main" id="{A895BC6C-94E2-F84F-E121-32044EFF6B91}"/>
              </a:ext>
            </a:extLst>
          </p:cNvPr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>
            <a:off x="5631240" y="1493520"/>
            <a:ext cx="1039707" cy="640080"/>
          </a:xfrm>
          <a:prstGeom prst="rect">
            <a:avLst/>
          </a:prstGeom>
        </p:spPr>
      </p:pic>
      <p:sp>
        <p:nvSpPr>
          <p:cNvPr id="90" name="TextBox 89">
            <a:extLst>
              <a:ext uri="{FF2B5EF4-FFF2-40B4-BE49-F238E27FC236}">
                <a16:creationId xmlns:a16="http://schemas.microsoft.com/office/drawing/2014/main" id="{B2862D51-12C9-5291-5DB3-0EBD23BB350C}"/>
              </a:ext>
            </a:extLst>
          </p:cNvPr>
          <p:cNvSpPr txBox="1"/>
          <p:nvPr/>
        </p:nvSpPr>
        <p:spPr>
          <a:xfrm>
            <a:off x="2373549" y="1133757"/>
            <a:ext cx="11201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MA Plans</a:t>
            </a:r>
          </a:p>
        </p:txBody>
      </p:sp>
      <p:sp>
        <p:nvSpPr>
          <p:cNvPr id="91" name="TextBox 90">
            <a:extLst>
              <a:ext uri="{FF2B5EF4-FFF2-40B4-BE49-F238E27FC236}">
                <a16:creationId xmlns:a16="http://schemas.microsoft.com/office/drawing/2014/main" id="{8284145C-ABB0-31C1-0D93-4653727C27F0}"/>
              </a:ext>
            </a:extLst>
          </p:cNvPr>
          <p:cNvSpPr txBox="1"/>
          <p:nvPr/>
        </p:nvSpPr>
        <p:spPr>
          <a:xfrm>
            <a:off x="3360642" y="974077"/>
            <a:ext cx="112014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dirty="0"/>
              <a:t>Insurance License</a:t>
            </a:r>
          </a:p>
        </p:txBody>
      </p:sp>
      <p:sp>
        <p:nvSpPr>
          <p:cNvPr id="92" name="TextBox 91">
            <a:extLst>
              <a:ext uri="{FF2B5EF4-FFF2-40B4-BE49-F238E27FC236}">
                <a16:creationId xmlns:a16="http://schemas.microsoft.com/office/drawing/2014/main" id="{06AB03C9-87BB-4A1C-40C9-DF243D1D5864}"/>
              </a:ext>
            </a:extLst>
          </p:cNvPr>
          <p:cNvSpPr txBox="1"/>
          <p:nvPr/>
        </p:nvSpPr>
        <p:spPr>
          <a:xfrm>
            <a:off x="4254157" y="970303"/>
            <a:ext cx="157589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dirty="0"/>
              <a:t>Administrative Services</a:t>
            </a:r>
          </a:p>
        </p:txBody>
      </p:sp>
      <p:sp>
        <p:nvSpPr>
          <p:cNvPr id="93" name="TextBox 92">
            <a:extLst>
              <a:ext uri="{FF2B5EF4-FFF2-40B4-BE49-F238E27FC236}">
                <a16:creationId xmlns:a16="http://schemas.microsoft.com/office/drawing/2014/main" id="{EF8F5987-86C3-D1EC-52C2-D6F3F48A27D0}"/>
              </a:ext>
            </a:extLst>
          </p:cNvPr>
          <p:cNvSpPr txBox="1"/>
          <p:nvPr/>
        </p:nvSpPr>
        <p:spPr>
          <a:xfrm>
            <a:off x="5312106" y="955962"/>
            <a:ext cx="170511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dirty="0"/>
              <a:t>Capitation</a:t>
            </a:r>
          </a:p>
          <a:p>
            <a:pPr algn="ctr"/>
            <a:r>
              <a:rPr lang="en-US" sz="1200" dirty="0"/>
              <a:t>Model</a:t>
            </a:r>
          </a:p>
        </p:txBody>
      </p:sp>
      <p:sp>
        <p:nvSpPr>
          <p:cNvPr id="94" name="TextBox 93">
            <a:extLst>
              <a:ext uri="{FF2B5EF4-FFF2-40B4-BE49-F238E27FC236}">
                <a16:creationId xmlns:a16="http://schemas.microsoft.com/office/drawing/2014/main" id="{600639DB-F092-0660-464E-EF609138631B}"/>
              </a:ext>
            </a:extLst>
          </p:cNvPr>
          <p:cNvSpPr txBox="1"/>
          <p:nvPr/>
        </p:nvSpPr>
        <p:spPr>
          <a:xfrm>
            <a:off x="6286317" y="963133"/>
            <a:ext cx="170511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dirty="0"/>
              <a:t>Population</a:t>
            </a:r>
          </a:p>
          <a:p>
            <a:pPr algn="ctr"/>
            <a:r>
              <a:rPr lang="en-US" sz="1200" dirty="0"/>
              <a:t>Health</a:t>
            </a:r>
          </a:p>
        </p:txBody>
      </p:sp>
      <p:sp>
        <p:nvSpPr>
          <p:cNvPr id="95" name="TextBox 94">
            <a:extLst>
              <a:ext uri="{FF2B5EF4-FFF2-40B4-BE49-F238E27FC236}">
                <a16:creationId xmlns:a16="http://schemas.microsoft.com/office/drawing/2014/main" id="{64D9BE03-834C-899F-A413-3ED33912232A}"/>
              </a:ext>
            </a:extLst>
          </p:cNvPr>
          <p:cNvSpPr txBox="1"/>
          <p:nvPr/>
        </p:nvSpPr>
        <p:spPr>
          <a:xfrm>
            <a:off x="7332264" y="917666"/>
            <a:ext cx="170511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dirty="0"/>
              <a:t>PBM </a:t>
            </a:r>
          </a:p>
          <a:p>
            <a:pPr algn="ctr"/>
            <a:r>
              <a:rPr lang="en-US" sz="1200" dirty="0"/>
              <a:t>Partnership</a:t>
            </a:r>
          </a:p>
        </p:txBody>
      </p:sp>
      <p:pic>
        <p:nvPicPr>
          <p:cNvPr id="1026" name="Picture 2" descr="WVU Medicine | Leading Healthcare Here and Everywhere.">
            <a:extLst>
              <a:ext uri="{FF2B5EF4-FFF2-40B4-BE49-F238E27FC236}">
                <a16:creationId xmlns:a16="http://schemas.microsoft.com/office/drawing/2014/main" id="{ADEB9CD5-CFFB-2BEF-D630-17B66774DA3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67003" y="4049069"/>
            <a:ext cx="2068905" cy="2861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Careers">
            <a:extLst>
              <a:ext uri="{FF2B5EF4-FFF2-40B4-BE49-F238E27FC236}">
                <a16:creationId xmlns:a16="http://schemas.microsoft.com/office/drawing/2014/main" id="{67152C9A-5BD3-4A14-5B9B-55FEFD23AB2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99745" y="2854253"/>
            <a:ext cx="1912768" cy="4542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7" name="Picture 96">
            <a:extLst>
              <a:ext uri="{FF2B5EF4-FFF2-40B4-BE49-F238E27FC236}">
                <a16:creationId xmlns:a16="http://schemas.microsoft.com/office/drawing/2014/main" id="{94A4DA9B-4480-A012-D565-7F4F19FB1F52}"/>
              </a:ext>
            </a:extLst>
          </p:cNvPr>
          <p:cNvPicPr>
            <a:picLocks noChangeAspect="1"/>
          </p:cNvPicPr>
          <p:nvPr/>
        </p:nvPicPr>
        <p:blipFill>
          <a:blip r:embed="rId21"/>
          <a:stretch>
            <a:fillRect/>
          </a:stretch>
        </p:blipFill>
        <p:spPr>
          <a:xfrm>
            <a:off x="8679240" y="1466898"/>
            <a:ext cx="1001287" cy="640080"/>
          </a:xfrm>
          <a:prstGeom prst="rect">
            <a:avLst/>
          </a:prstGeom>
        </p:spPr>
      </p:pic>
      <p:sp>
        <p:nvSpPr>
          <p:cNvPr id="98" name="TextBox 97">
            <a:extLst>
              <a:ext uri="{FF2B5EF4-FFF2-40B4-BE49-F238E27FC236}">
                <a16:creationId xmlns:a16="http://schemas.microsoft.com/office/drawing/2014/main" id="{67EDC8C0-5D6B-12A5-F74E-191853B03A04}"/>
              </a:ext>
            </a:extLst>
          </p:cNvPr>
          <p:cNvSpPr txBox="1"/>
          <p:nvPr/>
        </p:nvSpPr>
        <p:spPr>
          <a:xfrm>
            <a:off x="8305803" y="955962"/>
            <a:ext cx="170511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dirty="0"/>
              <a:t>Network</a:t>
            </a:r>
          </a:p>
          <a:p>
            <a:pPr algn="ctr"/>
            <a:r>
              <a:rPr lang="en-US" sz="1200" dirty="0"/>
              <a:t>Management</a:t>
            </a:r>
          </a:p>
        </p:txBody>
      </p:sp>
      <p:sp>
        <p:nvSpPr>
          <p:cNvPr id="99" name="Left Brace 98">
            <a:extLst>
              <a:ext uri="{FF2B5EF4-FFF2-40B4-BE49-F238E27FC236}">
                <a16:creationId xmlns:a16="http://schemas.microsoft.com/office/drawing/2014/main" id="{0A9C815E-6FD2-EA21-EAE9-051AC0677882}"/>
              </a:ext>
            </a:extLst>
          </p:cNvPr>
          <p:cNvSpPr/>
          <p:nvPr/>
        </p:nvSpPr>
        <p:spPr>
          <a:xfrm rot="5400000">
            <a:off x="5940342" y="512813"/>
            <a:ext cx="189400" cy="8763002"/>
          </a:xfrm>
          <a:prstGeom prst="leftBrace">
            <a:avLst/>
          </a:prstGeom>
          <a:ln w="15875">
            <a:solidFill>
              <a:srgbClr val="00206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0" name="Left Brace 99">
            <a:extLst>
              <a:ext uri="{FF2B5EF4-FFF2-40B4-BE49-F238E27FC236}">
                <a16:creationId xmlns:a16="http://schemas.microsoft.com/office/drawing/2014/main" id="{C8C90C76-8845-44D3-C70C-E98DB73ECE46}"/>
              </a:ext>
            </a:extLst>
          </p:cNvPr>
          <p:cNvSpPr/>
          <p:nvPr/>
        </p:nvSpPr>
        <p:spPr>
          <a:xfrm rot="16200000">
            <a:off x="6001300" y="-2075573"/>
            <a:ext cx="189400" cy="8763002"/>
          </a:xfrm>
          <a:prstGeom prst="leftBrace">
            <a:avLst/>
          </a:prstGeom>
          <a:ln w="15875">
            <a:solidFill>
              <a:srgbClr val="00206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50276910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CD2BB09-4013-2792-90C9-0408C574597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8" descr="WVU Medicine - YouTube">
            <a:extLst>
              <a:ext uri="{FF2B5EF4-FFF2-40B4-BE49-F238E27FC236}">
                <a16:creationId xmlns:a16="http://schemas.microsoft.com/office/drawing/2014/main" id="{365F1328-D890-9794-2AAD-A4D2F5BBFE94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2005" b="26807"/>
          <a:stretch/>
        </p:blipFill>
        <p:spPr bwMode="auto">
          <a:xfrm>
            <a:off x="996939" y="3124200"/>
            <a:ext cx="2218879" cy="9139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Freeform 77">
            <a:extLst>
              <a:ext uri="{FF2B5EF4-FFF2-40B4-BE49-F238E27FC236}">
                <a16:creationId xmlns:a16="http://schemas.microsoft.com/office/drawing/2014/main" id="{E8622D3C-4985-3943-CBA4-C8399D94D61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/>
          </p:cNvSpPr>
          <p:nvPr/>
        </p:nvSpPr>
        <p:spPr bwMode="auto">
          <a:xfrm>
            <a:off x="779714" y="1676400"/>
            <a:ext cx="3545544" cy="3105686"/>
          </a:xfrm>
          <a:custGeom>
            <a:avLst/>
            <a:gdLst>
              <a:gd name="T0" fmla="*/ 245 w 285"/>
              <a:gd name="T1" fmla="*/ 139 h 285"/>
              <a:gd name="T2" fmla="*/ 213 w 285"/>
              <a:gd name="T3" fmla="*/ 156 h 285"/>
              <a:gd name="T4" fmla="*/ 213 w 285"/>
              <a:gd name="T5" fmla="*/ 133 h 285"/>
              <a:gd name="T6" fmla="*/ 213 w 285"/>
              <a:gd name="T7" fmla="*/ 72 h 285"/>
              <a:gd name="T8" fmla="*/ 213 w 285"/>
              <a:gd name="T9" fmla="*/ 72 h 285"/>
              <a:gd name="T10" fmla="*/ 130 w 285"/>
              <a:gd name="T11" fmla="*/ 72 h 285"/>
              <a:gd name="T12" fmla="*/ 146 w 285"/>
              <a:gd name="T13" fmla="*/ 40 h 285"/>
              <a:gd name="T14" fmla="*/ 106 w 285"/>
              <a:gd name="T15" fmla="*/ 0 h 285"/>
              <a:gd name="T16" fmla="*/ 67 w 285"/>
              <a:gd name="T17" fmla="*/ 40 h 285"/>
              <a:gd name="T18" fmla="*/ 83 w 285"/>
              <a:gd name="T19" fmla="*/ 72 h 285"/>
              <a:gd name="T20" fmla="*/ 0 w 285"/>
              <a:gd name="T21" fmla="*/ 72 h 285"/>
              <a:gd name="T22" fmla="*/ 0 w 285"/>
              <a:gd name="T23" fmla="*/ 133 h 285"/>
              <a:gd name="T24" fmla="*/ 20 w 285"/>
              <a:gd name="T25" fmla="*/ 129 h 285"/>
              <a:gd name="T26" fmla="*/ 70 w 285"/>
              <a:gd name="T27" fmla="*/ 179 h 285"/>
              <a:gd name="T28" fmla="*/ 20 w 285"/>
              <a:gd name="T29" fmla="*/ 229 h 285"/>
              <a:gd name="T30" fmla="*/ 0 w 285"/>
              <a:gd name="T31" fmla="*/ 225 h 285"/>
              <a:gd name="T32" fmla="*/ 0 w 285"/>
              <a:gd name="T33" fmla="*/ 285 h 285"/>
              <a:gd name="T34" fmla="*/ 152 w 285"/>
              <a:gd name="T35" fmla="*/ 285 h 285"/>
              <a:gd name="T36" fmla="*/ 213 w 285"/>
              <a:gd name="T37" fmla="*/ 285 h 285"/>
              <a:gd name="T38" fmla="*/ 213 w 285"/>
              <a:gd name="T39" fmla="*/ 202 h 285"/>
              <a:gd name="T40" fmla="*/ 245 w 285"/>
              <a:gd name="T41" fmla="*/ 219 h 285"/>
              <a:gd name="T42" fmla="*/ 285 w 285"/>
              <a:gd name="T43" fmla="*/ 179 h 285"/>
              <a:gd name="T44" fmla="*/ 245 w 285"/>
              <a:gd name="T45" fmla="*/ 139 h 28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</a:cxnLst>
            <a:rect l="0" t="0" r="r" b="b"/>
            <a:pathLst>
              <a:path w="285" h="285">
                <a:moveTo>
                  <a:pt x="245" y="139"/>
                </a:moveTo>
                <a:cubicBezTo>
                  <a:pt x="232" y="139"/>
                  <a:pt x="220" y="146"/>
                  <a:pt x="213" y="156"/>
                </a:cubicBezTo>
                <a:cubicBezTo>
                  <a:pt x="213" y="133"/>
                  <a:pt x="213" y="133"/>
                  <a:pt x="213" y="133"/>
                </a:cubicBezTo>
                <a:cubicBezTo>
                  <a:pt x="213" y="72"/>
                  <a:pt x="213" y="72"/>
                  <a:pt x="213" y="72"/>
                </a:cubicBezTo>
                <a:cubicBezTo>
                  <a:pt x="213" y="72"/>
                  <a:pt x="213" y="72"/>
                  <a:pt x="213" y="72"/>
                </a:cubicBezTo>
                <a:cubicBezTo>
                  <a:pt x="130" y="72"/>
                  <a:pt x="130" y="72"/>
                  <a:pt x="130" y="72"/>
                </a:cubicBezTo>
                <a:cubicBezTo>
                  <a:pt x="140" y="65"/>
                  <a:pt x="146" y="53"/>
                  <a:pt x="146" y="40"/>
                </a:cubicBezTo>
                <a:cubicBezTo>
                  <a:pt x="146" y="18"/>
                  <a:pt x="128" y="0"/>
                  <a:pt x="106" y="0"/>
                </a:cubicBezTo>
                <a:cubicBezTo>
                  <a:pt x="84" y="0"/>
                  <a:pt x="67" y="18"/>
                  <a:pt x="67" y="40"/>
                </a:cubicBezTo>
                <a:cubicBezTo>
                  <a:pt x="67" y="53"/>
                  <a:pt x="73" y="65"/>
                  <a:pt x="83" y="72"/>
                </a:cubicBezTo>
                <a:cubicBezTo>
                  <a:pt x="0" y="72"/>
                  <a:pt x="0" y="72"/>
                  <a:pt x="0" y="72"/>
                </a:cubicBezTo>
                <a:cubicBezTo>
                  <a:pt x="0" y="133"/>
                  <a:pt x="0" y="133"/>
                  <a:pt x="0" y="133"/>
                </a:cubicBezTo>
                <a:cubicBezTo>
                  <a:pt x="6" y="130"/>
                  <a:pt x="13" y="129"/>
                  <a:pt x="20" y="129"/>
                </a:cubicBezTo>
                <a:cubicBezTo>
                  <a:pt x="48" y="129"/>
                  <a:pt x="70" y="151"/>
                  <a:pt x="70" y="179"/>
                </a:cubicBezTo>
                <a:cubicBezTo>
                  <a:pt x="70" y="206"/>
                  <a:pt x="48" y="229"/>
                  <a:pt x="20" y="229"/>
                </a:cubicBezTo>
                <a:cubicBezTo>
                  <a:pt x="13" y="229"/>
                  <a:pt x="6" y="227"/>
                  <a:pt x="0" y="225"/>
                </a:cubicBezTo>
                <a:cubicBezTo>
                  <a:pt x="0" y="285"/>
                  <a:pt x="0" y="285"/>
                  <a:pt x="0" y="285"/>
                </a:cubicBezTo>
                <a:cubicBezTo>
                  <a:pt x="152" y="285"/>
                  <a:pt x="152" y="285"/>
                  <a:pt x="152" y="285"/>
                </a:cubicBezTo>
                <a:cubicBezTo>
                  <a:pt x="213" y="285"/>
                  <a:pt x="213" y="285"/>
                  <a:pt x="213" y="285"/>
                </a:cubicBezTo>
                <a:cubicBezTo>
                  <a:pt x="213" y="202"/>
                  <a:pt x="213" y="202"/>
                  <a:pt x="213" y="202"/>
                </a:cubicBezTo>
                <a:cubicBezTo>
                  <a:pt x="220" y="212"/>
                  <a:pt x="232" y="219"/>
                  <a:pt x="245" y="219"/>
                </a:cubicBezTo>
                <a:cubicBezTo>
                  <a:pt x="267" y="219"/>
                  <a:pt x="285" y="201"/>
                  <a:pt x="285" y="179"/>
                </a:cubicBezTo>
                <a:cubicBezTo>
                  <a:pt x="285" y="157"/>
                  <a:pt x="267" y="139"/>
                  <a:pt x="245" y="139"/>
                </a:cubicBezTo>
                <a:close/>
              </a:path>
            </a:pathLst>
          </a:custGeom>
          <a:solidFill>
            <a:srgbClr val="FFC000">
              <a:alpha val="30000"/>
            </a:srgb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/>
          </a:p>
        </p:txBody>
      </p:sp>
      <p:pic>
        <p:nvPicPr>
          <p:cNvPr id="5" name="Picture 2" descr="Valley Health and Ensemble Health Partners announce strategic revenue cycle  partnership - Royal Examiner">
            <a:extLst>
              <a:ext uri="{FF2B5EF4-FFF2-40B4-BE49-F238E27FC236}">
                <a16:creationId xmlns:a16="http://schemas.microsoft.com/office/drawing/2014/main" id="{D61D45E6-7B46-FE43-D70E-23CFB93A0337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4188" b="35043"/>
          <a:stretch/>
        </p:blipFill>
        <p:spPr bwMode="auto">
          <a:xfrm>
            <a:off x="8849746" y="3390284"/>
            <a:ext cx="2722107" cy="4711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345D17FA-EA57-6F9B-528F-04530530B6D2}"/>
              </a:ext>
            </a:extLst>
          </p:cNvPr>
          <p:cNvSpPr txBox="1">
            <a:spLocks/>
          </p:cNvSpPr>
          <p:nvPr/>
        </p:nvSpPr>
        <p:spPr>
          <a:xfrm>
            <a:off x="2867336" y="210370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000" u="none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sz="3600" b="1" dirty="0">
                <a:solidFill>
                  <a:srgbClr val="002060"/>
                </a:solidFill>
              </a:rPr>
              <a:t>Peak Ownership Overview</a:t>
            </a:r>
          </a:p>
        </p:txBody>
      </p:sp>
      <p:sp>
        <p:nvSpPr>
          <p:cNvPr id="13" name="Freeform 78">
            <a:extLst>
              <a:ext uri="{FF2B5EF4-FFF2-40B4-BE49-F238E27FC236}">
                <a16:creationId xmlns:a16="http://schemas.microsoft.com/office/drawing/2014/main" id="{6F6CBF82-1328-19E5-45C7-08BDD78982C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/>
          </p:cNvSpPr>
          <p:nvPr/>
        </p:nvSpPr>
        <p:spPr bwMode="auto">
          <a:xfrm>
            <a:off x="8611029" y="1676400"/>
            <a:ext cx="3504342" cy="3105686"/>
          </a:xfrm>
          <a:custGeom>
            <a:avLst/>
            <a:gdLst>
              <a:gd name="T0" fmla="*/ 246 w 286"/>
              <a:gd name="T1" fmla="*/ 139 h 285"/>
              <a:gd name="T2" fmla="*/ 213 w 286"/>
              <a:gd name="T3" fmla="*/ 156 h 285"/>
              <a:gd name="T4" fmla="*/ 213 w 286"/>
              <a:gd name="T5" fmla="*/ 133 h 285"/>
              <a:gd name="T6" fmla="*/ 213 w 286"/>
              <a:gd name="T7" fmla="*/ 72 h 285"/>
              <a:gd name="T8" fmla="*/ 213 w 286"/>
              <a:gd name="T9" fmla="*/ 72 h 285"/>
              <a:gd name="T10" fmla="*/ 130 w 286"/>
              <a:gd name="T11" fmla="*/ 72 h 285"/>
              <a:gd name="T12" fmla="*/ 147 w 286"/>
              <a:gd name="T13" fmla="*/ 40 h 285"/>
              <a:gd name="T14" fmla="*/ 107 w 286"/>
              <a:gd name="T15" fmla="*/ 0 h 285"/>
              <a:gd name="T16" fmla="*/ 67 w 286"/>
              <a:gd name="T17" fmla="*/ 40 h 285"/>
              <a:gd name="T18" fmla="*/ 84 w 286"/>
              <a:gd name="T19" fmla="*/ 72 h 285"/>
              <a:gd name="T20" fmla="*/ 0 w 286"/>
              <a:gd name="T21" fmla="*/ 72 h 285"/>
              <a:gd name="T22" fmla="*/ 0 w 286"/>
              <a:gd name="T23" fmla="*/ 133 h 285"/>
              <a:gd name="T24" fmla="*/ 20 w 286"/>
              <a:gd name="T25" fmla="*/ 129 h 285"/>
              <a:gd name="T26" fmla="*/ 71 w 286"/>
              <a:gd name="T27" fmla="*/ 179 h 285"/>
              <a:gd name="T28" fmla="*/ 20 w 286"/>
              <a:gd name="T29" fmla="*/ 229 h 285"/>
              <a:gd name="T30" fmla="*/ 0 w 286"/>
              <a:gd name="T31" fmla="*/ 225 h 285"/>
              <a:gd name="T32" fmla="*/ 0 w 286"/>
              <a:gd name="T33" fmla="*/ 285 h 285"/>
              <a:gd name="T34" fmla="*/ 153 w 286"/>
              <a:gd name="T35" fmla="*/ 285 h 285"/>
              <a:gd name="T36" fmla="*/ 213 w 286"/>
              <a:gd name="T37" fmla="*/ 285 h 285"/>
              <a:gd name="T38" fmla="*/ 213 w 286"/>
              <a:gd name="T39" fmla="*/ 202 h 285"/>
              <a:gd name="T40" fmla="*/ 246 w 286"/>
              <a:gd name="T41" fmla="*/ 219 h 285"/>
              <a:gd name="T42" fmla="*/ 286 w 286"/>
              <a:gd name="T43" fmla="*/ 179 h 285"/>
              <a:gd name="T44" fmla="*/ 246 w 286"/>
              <a:gd name="T45" fmla="*/ 139 h 28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</a:cxnLst>
            <a:rect l="0" t="0" r="r" b="b"/>
            <a:pathLst>
              <a:path w="286" h="285">
                <a:moveTo>
                  <a:pt x="246" y="139"/>
                </a:moveTo>
                <a:cubicBezTo>
                  <a:pt x="233" y="139"/>
                  <a:pt x="221" y="146"/>
                  <a:pt x="213" y="156"/>
                </a:cubicBezTo>
                <a:cubicBezTo>
                  <a:pt x="213" y="133"/>
                  <a:pt x="213" y="133"/>
                  <a:pt x="213" y="133"/>
                </a:cubicBezTo>
                <a:cubicBezTo>
                  <a:pt x="213" y="72"/>
                  <a:pt x="213" y="72"/>
                  <a:pt x="213" y="72"/>
                </a:cubicBezTo>
                <a:cubicBezTo>
                  <a:pt x="213" y="72"/>
                  <a:pt x="213" y="72"/>
                  <a:pt x="213" y="72"/>
                </a:cubicBezTo>
                <a:cubicBezTo>
                  <a:pt x="130" y="72"/>
                  <a:pt x="130" y="72"/>
                  <a:pt x="130" y="72"/>
                </a:cubicBezTo>
                <a:cubicBezTo>
                  <a:pt x="140" y="65"/>
                  <a:pt x="147" y="53"/>
                  <a:pt x="147" y="40"/>
                </a:cubicBezTo>
                <a:cubicBezTo>
                  <a:pt x="147" y="18"/>
                  <a:pt x="129" y="0"/>
                  <a:pt x="107" y="0"/>
                </a:cubicBezTo>
                <a:cubicBezTo>
                  <a:pt x="85" y="0"/>
                  <a:pt x="67" y="18"/>
                  <a:pt x="67" y="40"/>
                </a:cubicBezTo>
                <a:cubicBezTo>
                  <a:pt x="67" y="53"/>
                  <a:pt x="74" y="65"/>
                  <a:pt x="84" y="72"/>
                </a:cubicBezTo>
                <a:cubicBezTo>
                  <a:pt x="0" y="72"/>
                  <a:pt x="0" y="72"/>
                  <a:pt x="0" y="72"/>
                </a:cubicBezTo>
                <a:cubicBezTo>
                  <a:pt x="0" y="133"/>
                  <a:pt x="0" y="133"/>
                  <a:pt x="0" y="133"/>
                </a:cubicBezTo>
                <a:cubicBezTo>
                  <a:pt x="6" y="130"/>
                  <a:pt x="13" y="129"/>
                  <a:pt x="20" y="129"/>
                </a:cubicBezTo>
                <a:cubicBezTo>
                  <a:pt x="48" y="129"/>
                  <a:pt x="71" y="151"/>
                  <a:pt x="71" y="179"/>
                </a:cubicBezTo>
                <a:cubicBezTo>
                  <a:pt x="71" y="206"/>
                  <a:pt x="48" y="229"/>
                  <a:pt x="20" y="229"/>
                </a:cubicBezTo>
                <a:cubicBezTo>
                  <a:pt x="13" y="229"/>
                  <a:pt x="6" y="227"/>
                  <a:pt x="0" y="225"/>
                </a:cubicBezTo>
                <a:cubicBezTo>
                  <a:pt x="0" y="285"/>
                  <a:pt x="0" y="285"/>
                  <a:pt x="0" y="285"/>
                </a:cubicBezTo>
                <a:cubicBezTo>
                  <a:pt x="153" y="285"/>
                  <a:pt x="153" y="285"/>
                  <a:pt x="153" y="285"/>
                </a:cubicBezTo>
                <a:cubicBezTo>
                  <a:pt x="213" y="285"/>
                  <a:pt x="213" y="285"/>
                  <a:pt x="213" y="285"/>
                </a:cubicBezTo>
                <a:cubicBezTo>
                  <a:pt x="213" y="202"/>
                  <a:pt x="213" y="202"/>
                  <a:pt x="213" y="202"/>
                </a:cubicBezTo>
                <a:cubicBezTo>
                  <a:pt x="221" y="212"/>
                  <a:pt x="233" y="219"/>
                  <a:pt x="246" y="219"/>
                </a:cubicBezTo>
                <a:cubicBezTo>
                  <a:pt x="268" y="219"/>
                  <a:pt x="286" y="201"/>
                  <a:pt x="286" y="179"/>
                </a:cubicBezTo>
                <a:cubicBezTo>
                  <a:pt x="286" y="157"/>
                  <a:pt x="268" y="139"/>
                  <a:pt x="246" y="139"/>
                </a:cubicBezTo>
                <a:close/>
              </a:path>
            </a:pathLst>
          </a:custGeom>
          <a:solidFill>
            <a:srgbClr val="0070C0">
              <a:alpha val="30000"/>
            </a:srgb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/>
          </a:p>
        </p:txBody>
      </p:sp>
      <p:sp>
        <p:nvSpPr>
          <p:cNvPr id="14" name="Freeform 79">
            <a:extLst>
              <a:ext uri="{FF2B5EF4-FFF2-40B4-BE49-F238E27FC236}">
                <a16:creationId xmlns:a16="http://schemas.microsoft.com/office/drawing/2014/main" id="{CB78F702-C107-230C-9611-6D06CC7DEF8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/>
          </p:cNvSpPr>
          <p:nvPr/>
        </p:nvSpPr>
        <p:spPr bwMode="auto">
          <a:xfrm>
            <a:off x="4572000" y="2438400"/>
            <a:ext cx="3545544" cy="3105686"/>
          </a:xfrm>
          <a:custGeom>
            <a:avLst/>
            <a:gdLst>
              <a:gd name="T0" fmla="*/ 246 w 285"/>
              <a:gd name="T1" fmla="*/ 147 h 285"/>
              <a:gd name="T2" fmla="*/ 213 w 285"/>
              <a:gd name="T3" fmla="*/ 130 h 285"/>
              <a:gd name="T4" fmla="*/ 213 w 285"/>
              <a:gd name="T5" fmla="*/ 153 h 285"/>
              <a:gd name="T6" fmla="*/ 213 w 285"/>
              <a:gd name="T7" fmla="*/ 213 h 285"/>
              <a:gd name="T8" fmla="*/ 213 w 285"/>
              <a:gd name="T9" fmla="*/ 213 h 285"/>
              <a:gd name="T10" fmla="*/ 213 w 285"/>
              <a:gd name="T11" fmla="*/ 213 h 285"/>
              <a:gd name="T12" fmla="*/ 130 w 285"/>
              <a:gd name="T13" fmla="*/ 213 h 285"/>
              <a:gd name="T14" fmla="*/ 146 w 285"/>
              <a:gd name="T15" fmla="*/ 246 h 285"/>
              <a:gd name="T16" fmla="*/ 107 w 285"/>
              <a:gd name="T17" fmla="*/ 285 h 285"/>
              <a:gd name="T18" fmla="*/ 67 w 285"/>
              <a:gd name="T19" fmla="*/ 246 h 285"/>
              <a:gd name="T20" fmla="*/ 83 w 285"/>
              <a:gd name="T21" fmla="*/ 213 h 285"/>
              <a:gd name="T22" fmla="*/ 0 w 285"/>
              <a:gd name="T23" fmla="*/ 213 h 285"/>
              <a:gd name="T24" fmla="*/ 0 w 285"/>
              <a:gd name="T25" fmla="*/ 153 h 285"/>
              <a:gd name="T26" fmla="*/ 20 w 285"/>
              <a:gd name="T27" fmla="*/ 157 h 285"/>
              <a:gd name="T28" fmla="*/ 70 w 285"/>
              <a:gd name="T29" fmla="*/ 107 h 285"/>
              <a:gd name="T30" fmla="*/ 20 w 285"/>
              <a:gd name="T31" fmla="*/ 57 h 285"/>
              <a:gd name="T32" fmla="*/ 0 w 285"/>
              <a:gd name="T33" fmla="*/ 61 h 285"/>
              <a:gd name="T34" fmla="*/ 0 w 285"/>
              <a:gd name="T35" fmla="*/ 0 h 285"/>
              <a:gd name="T36" fmla="*/ 153 w 285"/>
              <a:gd name="T37" fmla="*/ 0 h 285"/>
              <a:gd name="T38" fmla="*/ 213 w 285"/>
              <a:gd name="T39" fmla="*/ 0 h 285"/>
              <a:gd name="T40" fmla="*/ 213 w 285"/>
              <a:gd name="T41" fmla="*/ 0 h 285"/>
              <a:gd name="T42" fmla="*/ 213 w 285"/>
              <a:gd name="T43" fmla="*/ 84 h 285"/>
              <a:gd name="T44" fmla="*/ 246 w 285"/>
              <a:gd name="T45" fmla="*/ 67 h 285"/>
              <a:gd name="T46" fmla="*/ 285 w 285"/>
              <a:gd name="T47" fmla="*/ 107 h 285"/>
              <a:gd name="T48" fmla="*/ 246 w 285"/>
              <a:gd name="T49" fmla="*/ 147 h 28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285" h="285">
                <a:moveTo>
                  <a:pt x="246" y="147"/>
                </a:moveTo>
                <a:cubicBezTo>
                  <a:pt x="232" y="147"/>
                  <a:pt x="220" y="140"/>
                  <a:pt x="213" y="130"/>
                </a:cubicBezTo>
                <a:cubicBezTo>
                  <a:pt x="213" y="153"/>
                  <a:pt x="213" y="153"/>
                  <a:pt x="213" y="153"/>
                </a:cubicBezTo>
                <a:cubicBezTo>
                  <a:pt x="213" y="213"/>
                  <a:pt x="213" y="213"/>
                  <a:pt x="213" y="213"/>
                </a:cubicBezTo>
                <a:cubicBezTo>
                  <a:pt x="213" y="213"/>
                  <a:pt x="213" y="213"/>
                  <a:pt x="213" y="213"/>
                </a:cubicBezTo>
                <a:cubicBezTo>
                  <a:pt x="213" y="213"/>
                  <a:pt x="213" y="213"/>
                  <a:pt x="213" y="213"/>
                </a:cubicBezTo>
                <a:cubicBezTo>
                  <a:pt x="130" y="213"/>
                  <a:pt x="130" y="213"/>
                  <a:pt x="130" y="213"/>
                </a:cubicBezTo>
                <a:cubicBezTo>
                  <a:pt x="140" y="221"/>
                  <a:pt x="146" y="232"/>
                  <a:pt x="146" y="246"/>
                </a:cubicBezTo>
                <a:cubicBezTo>
                  <a:pt x="146" y="268"/>
                  <a:pt x="129" y="285"/>
                  <a:pt x="107" y="285"/>
                </a:cubicBezTo>
                <a:cubicBezTo>
                  <a:pt x="85" y="285"/>
                  <a:pt x="67" y="268"/>
                  <a:pt x="67" y="246"/>
                </a:cubicBezTo>
                <a:cubicBezTo>
                  <a:pt x="67" y="232"/>
                  <a:pt x="73" y="221"/>
                  <a:pt x="83" y="213"/>
                </a:cubicBezTo>
                <a:cubicBezTo>
                  <a:pt x="0" y="213"/>
                  <a:pt x="0" y="213"/>
                  <a:pt x="0" y="213"/>
                </a:cubicBezTo>
                <a:cubicBezTo>
                  <a:pt x="0" y="153"/>
                  <a:pt x="0" y="153"/>
                  <a:pt x="0" y="153"/>
                </a:cubicBezTo>
                <a:cubicBezTo>
                  <a:pt x="6" y="155"/>
                  <a:pt x="13" y="157"/>
                  <a:pt x="20" y="157"/>
                </a:cubicBezTo>
                <a:cubicBezTo>
                  <a:pt x="48" y="157"/>
                  <a:pt x="70" y="134"/>
                  <a:pt x="70" y="107"/>
                </a:cubicBezTo>
                <a:cubicBezTo>
                  <a:pt x="70" y="79"/>
                  <a:pt x="48" y="57"/>
                  <a:pt x="20" y="57"/>
                </a:cubicBezTo>
                <a:cubicBezTo>
                  <a:pt x="13" y="57"/>
                  <a:pt x="6" y="58"/>
                  <a:pt x="0" y="61"/>
                </a:cubicBezTo>
                <a:cubicBezTo>
                  <a:pt x="0" y="0"/>
                  <a:pt x="0" y="0"/>
                  <a:pt x="0" y="0"/>
                </a:cubicBezTo>
                <a:cubicBezTo>
                  <a:pt x="153" y="0"/>
                  <a:pt x="153" y="0"/>
                  <a:pt x="153" y="0"/>
                </a:cubicBezTo>
                <a:cubicBezTo>
                  <a:pt x="213" y="0"/>
                  <a:pt x="213" y="0"/>
                  <a:pt x="213" y="0"/>
                </a:cubicBezTo>
                <a:cubicBezTo>
                  <a:pt x="213" y="0"/>
                  <a:pt x="213" y="0"/>
                  <a:pt x="213" y="0"/>
                </a:cubicBezTo>
                <a:cubicBezTo>
                  <a:pt x="213" y="84"/>
                  <a:pt x="213" y="84"/>
                  <a:pt x="213" y="84"/>
                </a:cubicBezTo>
                <a:cubicBezTo>
                  <a:pt x="220" y="74"/>
                  <a:pt x="232" y="67"/>
                  <a:pt x="246" y="67"/>
                </a:cubicBezTo>
                <a:cubicBezTo>
                  <a:pt x="268" y="67"/>
                  <a:pt x="285" y="85"/>
                  <a:pt x="285" y="107"/>
                </a:cubicBezTo>
                <a:cubicBezTo>
                  <a:pt x="285" y="129"/>
                  <a:pt x="268" y="147"/>
                  <a:pt x="246" y="147"/>
                </a:cubicBezTo>
                <a:close/>
              </a:path>
            </a:pathLst>
          </a:custGeom>
          <a:solidFill>
            <a:srgbClr val="00B050">
              <a:alpha val="30000"/>
            </a:srgb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/>
          </a:p>
        </p:txBody>
      </p:sp>
      <p:pic>
        <p:nvPicPr>
          <p:cNvPr id="17" name="Picture 16" descr="Marshall Health | Marshall Health">
            <a:extLst>
              <a:ext uri="{FF2B5EF4-FFF2-40B4-BE49-F238E27FC236}">
                <a16:creationId xmlns:a16="http://schemas.microsoft.com/office/drawing/2014/main" id="{090A0A9C-0E63-B00A-39C9-6F590D77FB2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96872" y="3200645"/>
            <a:ext cx="2285264" cy="7617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Slide Number Placeholder 3">
            <a:extLst>
              <a:ext uri="{FF2B5EF4-FFF2-40B4-BE49-F238E27FC236}">
                <a16:creationId xmlns:a16="http://schemas.microsoft.com/office/drawing/2014/main" id="{74CBFE50-86C3-1975-CCE2-0FED617B1F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562426" y="6495970"/>
            <a:ext cx="533400" cy="365125"/>
          </a:xfrm>
        </p:spPr>
        <p:txBody>
          <a:bodyPr/>
          <a:lstStyle/>
          <a:p>
            <a:pPr>
              <a:defRPr/>
            </a:pPr>
            <a:fld id="{4A3FBA54-5C1B-D348-9A99-18A91FDE7B7F}" type="slidenum">
              <a:rPr lang="en-US">
                <a:latin typeface="Arial"/>
              </a:rPr>
              <a:pPr>
                <a:defRPr/>
              </a:pPr>
              <a:t>19</a:t>
            </a:fld>
            <a:endParaRPr lang="en-US" dirty="0"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44465281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C8AF2A5-7195-66AF-4456-0E549831B3C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chemeClr val="tx2">
                    <a:lumMod val="75000"/>
                  </a:schemeClr>
                </a:solidFill>
              </a:rPr>
              <a:t>WVU Medicine at a Glanc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048BFF0-B62C-1C29-BAF8-583E59EDC80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25 hospital campuses in four states</a:t>
            </a:r>
          </a:p>
          <a:p>
            <a:r>
              <a:rPr lang="en-US" dirty="0"/>
              <a:t>2,800+ total beds</a:t>
            </a:r>
          </a:p>
          <a:p>
            <a:r>
              <a:rPr lang="en-US" dirty="0"/>
              <a:t>35,000+ team members</a:t>
            </a:r>
          </a:p>
          <a:p>
            <a:r>
              <a:rPr lang="en-US" dirty="0"/>
              <a:t>3,000+ medical staff members</a:t>
            </a:r>
          </a:p>
          <a:p>
            <a:r>
              <a:rPr lang="en-US" dirty="0"/>
              <a:t>~ $7 billion in annual revenue</a:t>
            </a:r>
          </a:p>
          <a:p>
            <a:r>
              <a:rPr lang="en-US" dirty="0"/>
              <a:t>~ 50,000 health plan lives covered</a:t>
            </a:r>
          </a:p>
          <a:p>
            <a:r>
              <a:rPr lang="en-US" dirty="0"/>
              <a:t>~ 300,000 total value-based lives </a:t>
            </a:r>
          </a:p>
          <a:p>
            <a:r>
              <a:rPr lang="en-US" dirty="0"/>
              <a:t>~ 2.6 million outpatient encounter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29AAD59-B684-20CD-E2C3-11E86F80E6D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3FBA54-5C1B-D348-9A99-18A91FDE7B7F}" type="slidenum">
              <a:rPr lang="en-US" smtClean="0"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67594585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D017889-9426-E468-00A5-BCE0CBAF67F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506200" y="6492875"/>
            <a:ext cx="533400" cy="365125"/>
          </a:xfrm>
        </p:spPr>
        <p:txBody>
          <a:bodyPr/>
          <a:lstStyle/>
          <a:p>
            <a:pPr>
              <a:defRPr/>
            </a:pPr>
            <a:fld id="{4A3FBA54-5C1B-D348-9A99-18A91FDE7B7F}" type="slidenum">
              <a:rPr lang="en-US">
                <a:latin typeface="Arial"/>
              </a:rPr>
              <a:pPr>
                <a:defRPr/>
              </a:pPr>
              <a:t>20</a:t>
            </a:fld>
            <a:endParaRPr lang="en-US" dirty="0">
              <a:latin typeface="Arial"/>
            </a:endParaRP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26013588-8574-D878-06EC-0C20F3F141F5}"/>
              </a:ext>
            </a:extLst>
          </p:cNvPr>
          <p:cNvSpPr txBox="1">
            <a:spLocks/>
          </p:cNvSpPr>
          <p:nvPr/>
        </p:nvSpPr>
        <p:spPr>
          <a:xfrm>
            <a:off x="1524000" y="0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000" u="none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sz="3600" b="1" dirty="0">
                <a:solidFill>
                  <a:srgbClr val="002060"/>
                </a:solidFill>
              </a:rPr>
              <a:t>Peak’s Total Covered Lives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B6F27C19-B340-75F1-69AA-E2BCF1E7C68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72125" y="946028"/>
            <a:ext cx="9067800" cy="5008033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CC480759-6CD1-17B4-2626-85EAE9420095}"/>
              </a:ext>
            </a:extLst>
          </p:cNvPr>
          <p:cNvSpPr txBox="1"/>
          <p:nvPr/>
        </p:nvSpPr>
        <p:spPr>
          <a:xfrm>
            <a:off x="6858000" y="2971800"/>
            <a:ext cx="1981200" cy="2308324"/>
          </a:xfrm>
          <a:prstGeom prst="rect">
            <a:avLst/>
          </a:prstGeom>
          <a:noFill/>
          <a:ln w="19050">
            <a:noFill/>
            <a:prstDash val="dashDot"/>
          </a:ln>
        </p:spPr>
        <p:txBody>
          <a:bodyPr wrap="square" rtlCol="0">
            <a:spAutoFit/>
          </a:bodyPr>
          <a:lstStyle/>
          <a:p>
            <a:r>
              <a:rPr lang="en-US" sz="1200" b="1" dirty="0"/>
              <a:t>2024-2025: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20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/>
              <a:t>15% growth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20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/>
              <a:t>2.8x growth in MA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20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/>
              <a:t>Non-owner customer acquisition in 2025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20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/>
              <a:t>Continued organic growth in WVUM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200" dirty="0"/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6AE8C6A5-274C-2497-D1A0-0D14B5817706}"/>
              </a:ext>
            </a:extLst>
          </p:cNvPr>
          <p:cNvSpPr txBox="1"/>
          <p:nvPr/>
        </p:nvSpPr>
        <p:spPr>
          <a:xfrm>
            <a:off x="3962400" y="3360182"/>
            <a:ext cx="1981200" cy="1938992"/>
          </a:xfrm>
          <a:prstGeom prst="rect">
            <a:avLst/>
          </a:prstGeom>
          <a:noFill/>
          <a:ln w="19050">
            <a:noFill/>
            <a:prstDash val="dashDot"/>
          </a:ln>
        </p:spPr>
        <p:txBody>
          <a:bodyPr wrap="square" rtlCol="0">
            <a:spAutoFit/>
          </a:bodyPr>
          <a:lstStyle/>
          <a:p>
            <a:r>
              <a:rPr lang="en-US" sz="1200" b="1" dirty="0"/>
              <a:t>2023-2024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20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/>
              <a:t>47% growth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20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/>
              <a:t>Go-Live Valley Health (15% TPA owner)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20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/>
              <a:t>Continued organic growth in WVUM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2640956703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0507EAC-FF90-6282-CB97-1106A1D694E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6B03F51-A24D-3ECB-23EF-44953F528DC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6298" y="-38354"/>
            <a:ext cx="8229600" cy="1143000"/>
          </a:xfrm>
        </p:spPr>
        <p:txBody>
          <a:bodyPr>
            <a:normAutofit/>
          </a:bodyPr>
          <a:lstStyle/>
          <a:p>
            <a:pPr algn="l"/>
            <a:r>
              <a:rPr lang="en-US" sz="3600" b="1" dirty="0">
                <a:solidFill>
                  <a:srgbClr val="002060"/>
                </a:solidFill>
              </a:rPr>
              <a:t>Peak’s Journey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4F79BA09-946D-6E8A-F70B-CFD8E260B85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441444"/>
            <a:ext cx="711200" cy="365125"/>
          </a:xfrm>
        </p:spPr>
        <p:txBody>
          <a:bodyPr/>
          <a:lstStyle/>
          <a:p>
            <a:fld id="{4A3FBA54-5C1B-D348-9A99-18A91FDE7B7F}" type="slidenum">
              <a:rPr lang="en-US" smtClean="0"/>
              <a:t>21</a:t>
            </a:fld>
            <a:endParaRPr lang="en-US" dirty="0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6A6BFA57-7037-AD88-91FC-A96E8B916378}"/>
              </a:ext>
            </a:extLst>
          </p:cNvPr>
          <p:cNvCxnSpPr>
            <a:cxnSpLocks/>
          </p:cNvCxnSpPr>
          <p:nvPr/>
        </p:nvCxnSpPr>
        <p:spPr>
          <a:xfrm>
            <a:off x="4648200" y="1483757"/>
            <a:ext cx="0" cy="4389120"/>
          </a:xfrm>
          <a:prstGeom prst="line">
            <a:avLst/>
          </a:prstGeom>
          <a:ln>
            <a:solidFill>
              <a:srgbClr val="002859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E0734C2-4F93-F247-32C6-89A274163E3E}"/>
              </a:ext>
            </a:extLst>
          </p:cNvPr>
          <p:cNvCxnSpPr>
            <a:cxnSpLocks/>
          </p:cNvCxnSpPr>
          <p:nvPr/>
        </p:nvCxnSpPr>
        <p:spPr>
          <a:xfrm>
            <a:off x="7696200" y="1483757"/>
            <a:ext cx="0" cy="4389120"/>
          </a:xfrm>
          <a:prstGeom prst="line">
            <a:avLst/>
          </a:prstGeom>
          <a:ln>
            <a:solidFill>
              <a:srgbClr val="002859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" name="TextBox 8">
            <a:extLst>
              <a:ext uri="{FF2B5EF4-FFF2-40B4-BE49-F238E27FC236}">
                <a16:creationId xmlns:a16="http://schemas.microsoft.com/office/drawing/2014/main" id="{0101CD22-BBAC-3755-8098-D6B6D8FF9202}"/>
              </a:ext>
            </a:extLst>
          </p:cNvPr>
          <p:cNvSpPr txBox="1"/>
          <p:nvPr/>
        </p:nvSpPr>
        <p:spPr>
          <a:xfrm>
            <a:off x="1524001" y="950657"/>
            <a:ext cx="312419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b="1" dirty="0">
                <a:solidFill>
                  <a:schemeClr val="accent4"/>
                </a:solidFill>
              </a:rPr>
              <a:t>2024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BEA668AF-6D16-66EF-FED2-F70F057BB0EB}"/>
              </a:ext>
            </a:extLst>
          </p:cNvPr>
          <p:cNvSpPr txBox="1"/>
          <p:nvPr/>
        </p:nvSpPr>
        <p:spPr>
          <a:xfrm>
            <a:off x="4648197" y="950657"/>
            <a:ext cx="304800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b="1" dirty="0">
                <a:solidFill>
                  <a:schemeClr val="accent4"/>
                </a:solidFill>
              </a:rPr>
              <a:t>2025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4835B1FB-0EED-5733-BD39-D2C4A6CD8EF5}"/>
              </a:ext>
            </a:extLst>
          </p:cNvPr>
          <p:cNvSpPr txBox="1"/>
          <p:nvPr/>
        </p:nvSpPr>
        <p:spPr>
          <a:xfrm>
            <a:off x="7696203" y="950657"/>
            <a:ext cx="297179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b="1" dirty="0">
                <a:solidFill>
                  <a:schemeClr val="accent4"/>
                </a:solidFill>
              </a:rPr>
              <a:t>2026 &amp; Beyond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BDD893E4-9728-CC9E-A9EB-194D23854BF3}"/>
              </a:ext>
            </a:extLst>
          </p:cNvPr>
          <p:cNvSpPr txBox="1"/>
          <p:nvPr/>
        </p:nvSpPr>
        <p:spPr>
          <a:xfrm>
            <a:off x="1600200" y="1752603"/>
            <a:ext cx="3009902" cy="32932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Successful go-live of Valley Health employee plans in ASO arrangemen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Successful launch of Medicare Advantage in 29 counties of WV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Deepening of WVUM Population Health Services integration and coordination for disease management and coding 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3C4401B4-37FE-1A6E-7ED7-A5EEC4FA3E39}"/>
              </a:ext>
            </a:extLst>
          </p:cNvPr>
          <p:cNvSpPr txBox="1"/>
          <p:nvPr/>
        </p:nvSpPr>
        <p:spPr>
          <a:xfrm>
            <a:off x="4724405" y="1752897"/>
            <a:ext cx="2743197" cy="30469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Successful launch of  WVUM on Peak PBM for Rx Managemen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Launched ASO arrangements with non-owner employer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Medicare Advantage (MA) enrollment grows to ~3,400 (7% market share</a:t>
            </a:r>
            <a:r>
              <a:rPr lang="en-US" sz="1600" baseline="30000" dirty="0"/>
              <a:t>1</a:t>
            </a:r>
            <a:r>
              <a:rPr lang="en-US" sz="1600" dirty="0"/>
              <a:t> in 29 counties )  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145A3015-8114-DB40-9841-8B1254CF6D3F}"/>
              </a:ext>
            </a:extLst>
          </p:cNvPr>
          <p:cNvSpPr txBox="1"/>
          <p:nvPr/>
        </p:nvSpPr>
        <p:spPr>
          <a:xfrm>
            <a:off x="7743827" y="1752900"/>
            <a:ext cx="2857501" cy="40318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‘26 total lives under management expected to grow over 70k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600" dirty="0"/>
          </a:p>
          <a:p>
            <a:pPr marL="742842" lvl="1" indent="-285750">
              <a:buFont typeface="Arial" panose="020B0604020202020204" pitchFamily="34" charset="0"/>
              <a:buChar char="•"/>
            </a:pPr>
            <a:r>
              <a:rPr lang="en-US" sz="1600" dirty="0"/>
              <a:t>~6k MA</a:t>
            </a:r>
          </a:p>
          <a:p>
            <a:pPr marL="742842" lvl="1" indent="-285750">
              <a:buFont typeface="Arial" panose="020B0604020202020204" pitchFamily="34" charset="0"/>
              <a:buChar char="•"/>
            </a:pPr>
            <a:r>
              <a:rPr lang="en-US" sz="1600" dirty="0"/>
              <a:t>~67k ASO</a:t>
            </a:r>
          </a:p>
          <a:p>
            <a:pPr marL="742842" lvl="1" indent="-285750">
              <a:buFont typeface="Arial" panose="020B0604020202020204" pitchFamily="34" charset="0"/>
              <a:buChar char="•"/>
            </a:pPr>
            <a:endParaRPr lang="en-US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‘26 planned MA service area expansion </a:t>
            </a:r>
            <a:r>
              <a:rPr lang="en-US" sz="1100" dirty="0"/>
              <a:t>(next slide)</a:t>
            </a:r>
            <a:endParaRPr lang="en-US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‘26 TPA co. targeting financial break eve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Continued evaluation of MA D-SNP and Medicaid business case and timing 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31F206BE-F52E-056D-1F14-55A65C02CB9D}"/>
              </a:ext>
            </a:extLst>
          </p:cNvPr>
          <p:cNvSpPr txBox="1"/>
          <p:nvPr/>
        </p:nvSpPr>
        <p:spPr>
          <a:xfrm>
            <a:off x="1524000" y="5936930"/>
            <a:ext cx="556260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dirty="0"/>
              <a:t>1. Market includes general enrollment  and excludes Special Needs and Group Plans</a:t>
            </a:r>
          </a:p>
        </p:txBody>
      </p:sp>
    </p:spTree>
    <p:extLst>
      <p:ext uri="{BB962C8B-B14F-4D97-AF65-F5344CB8AC3E}">
        <p14:creationId xmlns:p14="http://schemas.microsoft.com/office/powerpoint/2010/main" val="2754487829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98EDF08-A9CE-7A8F-C0A8-46EE56B62DA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19CE936-E8B2-E599-0067-8D094CD49C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620893" y="6519584"/>
            <a:ext cx="533400" cy="365125"/>
          </a:xfrm>
        </p:spPr>
        <p:txBody>
          <a:bodyPr/>
          <a:lstStyle/>
          <a:p>
            <a:pPr>
              <a:defRPr/>
            </a:pPr>
            <a:fld id="{4A3FBA54-5C1B-D348-9A99-18A91FDE7B7F}" type="slidenum">
              <a:rPr lang="en-US">
                <a:latin typeface="Arial"/>
              </a:rPr>
              <a:pPr>
                <a:defRPr/>
              </a:pPr>
              <a:t>22</a:t>
            </a:fld>
            <a:endParaRPr lang="en-US" dirty="0">
              <a:latin typeface="Arial"/>
            </a:endParaRPr>
          </a:p>
        </p:txBody>
      </p:sp>
      <p:sp>
        <p:nvSpPr>
          <p:cNvPr id="127" name="Freeform 5">
            <a:extLst>
              <a:ext uri="{FF2B5EF4-FFF2-40B4-BE49-F238E27FC236}">
                <a16:creationId xmlns:a16="http://schemas.microsoft.com/office/drawing/2014/main" id="{A3FFE90D-FD04-1DBE-73E5-9A2362D1B5C2}"/>
              </a:ext>
            </a:extLst>
          </p:cNvPr>
          <p:cNvSpPr>
            <a:spLocks/>
          </p:cNvSpPr>
          <p:nvPr/>
        </p:nvSpPr>
        <p:spPr bwMode="auto">
          <a:xfrm>
            <a:off x="5415280" y="2733040"/>
            <a:ext cx="5080" cy="7620"/>
          </a:xfrm>
          <a:custGeom>
            <a:avLst/>
            <a:gdLst>
              <a:gd name="T0" fmla="*/ 0 w 4"/>
              <a:gd name="T1" fmla="*/ 2147483646 h 6"/>
              <a:gd name="T2" fmla="*/ 2147483646 w 4"/>
              <a:gd name="T3" fmla="*/ 2147483646 h 6"/>
              <a:gd name="T4" fmla="*/ 2147483646 w 4"/>
              <a:gd name="T5" fmla="*/ 0 h 6"/>
              <a:gd name="T6" fmla="*/ 0 w 4"/>
              <a:gd name="T7" fmla="*/ 2147483646 h 6"/>
              <a:gd name="T8" fmla="*/ 0 w 4"/>
              <a:gd name="T9" fmla="*/ 2147483646 h 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4"/>
              <a:gd name="T16" fmla="*/ 0 h 6"/>
              <a:gd name="T17" fmla="*/ 4 w 4"/>
              <a:gd name="T18" fmla="*/ 6 h 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4" h="6">
                <a:moveTo>
                  <a:pt x="0" y="6"/>
                </a:moveTo>
                <a:lnTo>
                  <a:pt x="4" y="2"/>
                </a:lnTo>
                <a:lnTo>
                  <a:pt x="4" y="0"/>
                </a:lnTo>
                <a:lnTo>
                  <a:pt x="0" y="2"/>
                </a:lnTo>
                <a:lnTo>
                  <a:pt x="0" y="6"/>
                </a:lnTo>
                <a:close/>
              </a:path>
            </a:pathLst>
          </a:custGeom>
          <a:solidFill>
            <a:srgbClr val="FFF537"/>
          </a:solidFill>
          <a:ln w="6350">
            <a:solidFill>
              <a:srgbClr val="00B0F0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457200">
              <a:defRPr/>
            </a:pPr>
            <a:endParaRPr lang="en-US" kern="0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28" name="Freeform 6">
            <a:extLst>
              <a:ext uri="{FF2B5EF4-FFF2-40B4-BE49-F238E27FC236}">
                <a16:creationId xmlns:a16="http://schemas.microsoft.com/office/drawing/2014/main" id="{296B1D8B-1D33-E6D4-47B2-E46026AAA874}"/>
              </a:ext>
            </a:extLst>
          </p:cNvPr>
          <p:cNvSpPr>
            <a:spLocks/>
          </p:cNvSpPr>
          <p:nvPr/>
        </p:nvSpPr>
        <p:spPr bwMode="auto">
          <a:xfrm>
            <a:off x="6865620" y="2313940"/>
            <a:ext cx="15240" cy="5080"/>
          </a:xfrm>
          <a:custGeom>
            <a:avLst/>
            <a:gdLst>
              <a:gd name="T0" fmla="*/ 2147483646 w 12"/>
              <a:gd name="T1" fmla="*/ 2147483646 h 4"/>
              <a:gd name="T2" fmla="*/ 0 w 12"/>
              <a:gd name="T3" fmla="*/ 0 h 4"/>
              <a:gd name="T4" fmla="*/ 2147483646 w 12"/>
              <a:gd name="T5" fmla="*/ 2147483646 h 4"/>
              <a:gd name="T6" fmla="*/ 2147483646 w 12"/>
              <a:gd name="T7" fmla="*/ 2147483646 h 4"/>
              <a:gd name="T8" fmla="*/ 0 60000 65536"/>
              <a:gd name="T9" fmla="*/ 0 60000 65536"/>
              <a:gd name="T10" fmla="*/ 0 60000 65536"/>
              <a:gd name="T11" fmla="*/ 0 60000 65536"/>
              <a:gd name="T12" fmla="*/ 0 w 12"/>
              <a:gd name="T13" fmla="*/ 0 h 4"/>
              <a:gd name="T14" fmla="*/ 12 w 12"/>
              <a:gd name="T15" fmla="*/ 4 h 4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12" h="4">
                <a:moveTo>
                  <a:pt x="12" y="4"/>
                </a:moveTo>
                <a:lnTo>
                  <a:pt x="0" y="0"/>
                </a:lnTo>
                <a:lnTo>
                  <a:pt x="10" y="4"/>
                </a:lnTo>
                <a:lnTo>
                  <a:pt x="12" y="4"/>
                </a:lnTo>
                <a:close/>
              </a:path>
            </a:pathLst>
          </a:custGeom>
          <a:solidFill>
            <a:srgbClr val="FFF537"/>
          </a:solidFill>
          <a:ln w="6350">
            <a:solidFill>
              <a:srgbClr val="00B0F0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457200">
              <a:defRPr/>
            </a:pPr>
            <a:endParaRPr lang="en-US" kern="0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29" name="Freeform 7">
            <a:extLst>
              <a:ext uri="{FF2B5EF4-FFF2-40B4-BE49-F238E27FC236}">
                <a16:creationId xmlns:a16="http://schemas.microsoft.com/office/drawing/2014/main" id="{AC1AFB7D-FC89-3D27-5933-08B1E9A4F823}"/>
              </a:ext>
            </a:extLst>
          </p:cNvPr>
          <p:cNvSpPr>
            <a:spLocks/>
          </p:cNvSpPr>
          <p:nvPr/>
        </p:nvSpPr>
        <p:spPr bwMode="auto">
          <a:xfrm>
            <a:off x="4277360" y="1963420"/>
            <a:ext cx="2540" cy="38100"/>
          </a:xfrm>
          <a:custGeom>
            <a:avLst/>
            <a:gdLst>
              <a:gd name="T0" fmla="*/ 2147483646 w 2"/>
              <a:gd name="T1" fmla="*/ 2147483646 h 30"/>
              <a:gd name="T2" fmla="*/ 2147483646 w 2"/>
              <a:gd name="T3" fmla="*/ 2147483646 h 30"/>
              <a:gd name="T4" fmla="*/ 0 w 2"/>
              <a:gd name="T5" fmla="*/ 0 h 30"/>
              <a:gd name="T6" fmla="*/ 0 w 2"/>
              <a:gd name="T7" fmla="*/ 2147483646 h 30"/>
              <a:gd name="T8" fmla="*/ 2147483646 w 2"/>
              <a:gd name="T9" fmla="*/ 2147483646 h 30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2"/>
              <a:gd name="T16" fmla="*/ 0 h 30"/>
              <a:gd name="T17" fmla="*/ 2 w 2"/>
              <a:gd name="T18" fmla="*/ 30 h 30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2" h="30">
                <a:moveTo>
                  <a:pt x="2" y="30"/>
                </a:moveTo>
                <a:lnTo>
                  <a:pt x="2" y="4"/>
                </a:lnTo>
                <a:lnTo>
                  <a:pt x="0" y="0"/>
                </a:lnTo>
                <a:lnTo>
                  <a:pt x="0" y="4"/>
                </a:lnTo>
                <a:lnTo>
                  <a:pt x="2" y="30"/>
                </a:lnTo>
                <a:close/>
              </a:path>
            </a:pathLst>
          </a:custGeom>
          <a:solidFill>
            <a:srgbClr val="FFF537"/>
          </a:solidFill>
          <a:ln w="6350">
            <a:solidFill>
              <a:srgbClr val="00B0F0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457200">
              <a:defRPr/>
            </a:pPr>
            <a:endParaRPr lang="en-US" kern="0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30" name="Freeform 8">
            <a:extLst>
              <a:ext uri="{FF2B5EF4-FFF2-40B4-BE49-F238E27FC236}">
                <a16:creationId xmlns:a16="http://schemas.microsoft.com/office/drawing/2014/main" id="{EC83F590-8AE8-933E-9412-8E20C445A7D3}"/>
              </a:ext>
            </a:extLst>
          </p:cNvPr>
          <p:cNvSpPr>
            <a:spLocks/>
          </p:cNvSpPr>
          <p:nvPr/>
        </p:nvSpPr>
        <p:spPr bwMode="auto">
          <a:xfrm>
            <a:off x="3314700" y="4401820"/>
            <a:ext cx="706120" cy="637540"/>
          </a:xfrm>
          <a:custGeom>
            <a:avLst/>
            <a:gdLst>
              <a:gd name="T0" fmla="*/ 2147483646 w 556"/>
              <a:gd name="T1" fmla="*/ 2147483646 h 502"/>
              <a:gd name="T2" fmla="*/ 2147483646 w 556"/>
              <a:gd name="T3" fmla="*/ 2147483646 h 502"/>
              <a:gd name="T4" fmla="*/ 2147483646 w 556"/>
              <a:gd name="T5" fmla="*/ 2147483646 h 502"/>
              <a:gd name="T6" fmla="*/ 2147483646 w 556"/>
              <a:gd name="T7" fmla="*/ 2147483646 h 502"/>
              <a:gd name="T8" fmla="*/ 2147483646 w 556"/>
              <a:gd name="T9" fmla="*/ 2147483646 h 502"/>
              <a:gd name="T10" fmla="*/ 2147483646 w 556"/>
              <a:gd name="T11" fmla="*/ 2147483646 h 502"/>
              <a:gd name="T12" fmla="*/ 2147483646 w 556"/>
              <a:gd name="T13" fmla="*/ 2147483646 h 502"/>
              <a:gd name="T14" fmla="*/ 2147483646 w 556"/>
              <a:gd name="T15" fmla="*/ 2147483646 h 502"/>
              <a:gd name="T16" fmla="*/ 2147483646 w 556"/>
              <a:gd name="T17" fmla="*/ 2147483646 h 502"/>
              <a:gd name="T18" fmla="*/ 2147483646 w 556"/>
              <a:gd name="T19" fmla="*/ 2147483646 h 502"/>
              <a:gd name="T20" fmla="*/ 2147483646 w 556"/>
              <a:gd name="T21" fmla="*/ 2147483646 h 502"/>
              <a:gd name="T22" fmla="*/ 2147483646 w 556"/>
              <a:gd name="T23" fmla="*/ 2147483646 h 502"/>
              <a:gd name="T24" fmla="*/ 2147483646 w 556"/>
              <a:gd name="T25" fmla="*/ 2147483646 h 502"/>
              <a:gd name="T26" fmla="*/ 2147483646 w 556"/>
              <a:gd name="T27" fmla="*/ 2147483646 h 502"/>
              <a:gd name="T28" fmla="*/ 2147483646 w 556"/>
              <a:gd name="T29" fmla="*/ 2147483646 h 502"/>
              <a:gd name="T30" fmla="*/ 2147483646 w 556"/>
              <a:gd name="T31" fmla="*/ 2147483646 h 502"/>
              <a:gd name="T32" fmla="*/ 2147483646 w 556"/>
              <a:gd name="T33" fmla="*/ 2147483646 h 502"/>
              <a:gd name="T34" fmla="*/ 2147483646 w 556"/>
              <a:gd name="T35" fmla="*/ 2147483646 h 502"/>
              <a:gd name="T36" fmla="*/ 2147483646 w 556"/>
              <a:gd name="T37" fmla="*/ 2147483646 h 502"/>
              <a:gd name="T38" fmla="*/ 2147483646 w 556"/>
              <a:gd name="T39" fmla="*/ 2147483646 h 502"/>
              <a:gd name="T40" fmla="*/ 2147483646 w 556"/>
              <a:gd name="T41" fmla="*/ 2147483646 h 502"/>
              <a:gd name="T42" fmla="*/ 2147483646 w 556"/>
              <a:gd name="T43" fmla="*/ 2147483646 h 502"/>
              <a:gd name="T44" fmla="*/ 2147483646 w 556"/>
              <a:gd name="T45" fmla="*/ 2147483646 h 502"/>
              <a:gd name="T46" fmla="*/ 2147483646 w 556"/>
              <a:gd name="T47" fmla="*/ 2147483646 h 502"/>
              <a:gd name="T48" fmla="*/ 2147483646 w 556"/>
              <a:gd name="T49" fmla="*/ 2147483646 h 502"/>
              <a:gd name="T50" fmla="*/ 2147483646 w 556"/>
              <a:gd name="T51" fmla="*/ 2147483646 h 502"/>
              <a:gd name="T52" fmla="*/ 2147483646 w 556"/>
              <a:gd name="T53" fmla="*/ 2147483646 h 502"/>
              <a:gd name="T54" fmla="*/ 2147483646 w 556"/>
              <a:gd name="T55" fmla="*/ 2147483646 h 502"/>
              <a:gd name="T56" fmla="*/ 2147483646 w 556"/>
              <a:gd name="T57" fmla="*/ 0 h 502"/>
              <a:gd name="T58" fmla="*/ 2147483646 w 556"/>
              <a:gd name="T59" fmla="*/ 2147483646 h 502"/>
              <a:gd name="T60" fmla="*/ 2147483646 w 556"/>
              <a:gd name="T61" fmla="*/ 2147483646 h 502"/>
              <a:gd name="T62" fmla="*/ 2147483646 w 556"/>
              <a:gd name="T63" fmla="*/ 2147483646 h 502"/>
              <a:gd name="T64" fmla="*/ 2147483646 w 556"/>
              <a:gd name="T65" fmla="*/ 2147483646 h 502"/>
              <a:gd name="T66" fmla="*/ 2147483646 w 556"/>
              <a:gd name="T67" fmla="*/ 2147483646 h 502"/>
              <a:gd name="T68" fmla="*/ 2147483646 w 556"/>
              <a:gd name="T69" fmla="*/ 2147483646 h 502"/>
              <a:gd name="T70" fmla="*/ 2147483646 w 556"/>
              <a:gd name="T71" fmla="*/ 2147483646 h 502"/>
              <a:gd name="T72" fmla="*/ 2147483646 w 556"/>
              <a:gd name="T73" fmla="*/ 2147483646 h 502"/>
              <a:gd name="T74" fmla="*/ 2147483646 w 556"/>
              <a:gd name="T75" fmla="*/ 2147483646 h 502"/>
              <a:gd name="T76" fmla="*/ 2147483646 w 556"/>
              <a:gd name="T77" fmla="*/ 2147483646 h 502"/>
              <a:gd name="T78" fmla="*/ 2147483646 w 556"/>
              <a:gd name="T79" fmla="*/ 2147483646 h 502"/>
              <a:gd name="T80" fmla="*/ 2147483646 w 556"/>
              <a:gd name="T81" fmla="*/ 2147483646 h 502"/>
              <a:gd name="T82" fmla="*/ 2147483646 w 556"/>
              <a:gd name="T83" fmla="*/ 2147483646 h 502"/>
              <a:gd name="T84" fmla="*/ 2147483646 w 556"/>
              <a:gd name="T85" fmla="*/ 2147483646 h 502"/>
              <a:gd name="T86" fmla="*/ 2147483646 w 556"/>
              <a:gd name="T87" fmla="*/ 2147483646 h 502"/>
              <a:gd name="T88" fmla="*/ 2147483646 w 556"/>
              <a:gd name="T89" fmla="*/ 2147483646 h 502"/>
              <a:gd name="T90" fmla="*/ 2147483646 w 556"/>
              <a:gd name="T91" fmla="*/ 2147483646 h 502"/>
              <a:gd name="T92" fmla="*/ 2147483646 w 556"/>
              <a:gd name="T93" fmla="*/ 2147483646 h 502"/>
              <a:gd name="T94" fmla="*/ 2147483646 w 556"/>
              <a:gd name="T95" fmla="*/ 2147483646 h 502"/>
              <a:gd name="T96" fmla="*/ 2147483646 w 556"/>
              <a:gd name="T97" fmla="*/ 2147483646 h 502"/>
              <a:gd name="T98" fmla="*/ 2147483646 w 556"/>
              <a:gd name="T99" fmla="*/ 2147483646 h 502"/>
              <a:gd name="T100" fmla="*/ 2147483646 w 556"/>
              <a:gd name="T101" fmla="*/ 2147483646 h 502"/>
              <a:gd name="T102" fmla="*/ 2147483646 w 556"/>
              <a:gd name="T103" fmla="*/ 2147483646 h 502"/>
              <a:gd name="T104" fmla="*/ 2147483646 w 556"/>
              <a:gd name="T105" fmla="*/ 2147483646 h 502"/>
              <a:gd name="T106" fmla="*/ 2147483646 w 556"/>
              <a:gd name="T107" fmla="*/ 2147483646 h 502"/>
              <a:gd name="T108" fmla="*/ 2147483646 w 556"/>
              <a:gd name="T109" fmla="*/ 2147483646 h 502"/>
              <a:gd name="T110" fmla="*/ 2147483646 w 556"/>
              <a:gd name="T111" fmla="*/ 2147483646 h 502"/>
              <a:gd name="T112" fmla="*/ 2147483646 w 556"/>
              <a:gd name="T113" fmla="*/ 2147483646 h 502"/>
              <a:gd name="T114" fmla="*/ 2147483646 w 556"/>
              <a:gd name="T115" fmla="*/ 2147483646 h 502"/>
              <a:gd name="T116" fmla="*/ 2147483646 w 556"/>
              <a:gd name="T117" fmla="*/ 2147483646 h 502"/>
              <a:gd name="T118" fmla="*/ 2147483646 w 556"/>
              <a:gd name="T119" fmla="*/ 2147483646 h 502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w 556"/>
              <a:gd name="T181" fmla="*/ 0 h 502"/>
              <a:gd name="T182" fmla="*/ 556 w 556"/>
              <a:gd name="T183" fmla="*/ 502 h 502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T180" t="T181" r="T182" b="T183"/>
            <a:pathLst>
              <a:path w="556" h="502">
                <a:moveTo>
                  <a:pt x="438" y="174"/>
                </a:moveTo>
                <a:lnTo>
                  <a:pt x="436" y="166"/>
                </a:lnTo>
                <a:lnTo>
                  <a:pt x="436" y="158"/>
                </a:lnTo>
                <a:lnTo>
                  <a:pt x="438" y="150"/>
                </a:lnTo>
                <a:lnTo>
                  <a:pt x="436" y="148"/>
                </a:lnTo>
                <a:lnTo>
                  <a:pt x="434" y="146"/>
                </a:lnTo>
                <a:lnTo>
                  <a:pt x="432" y="146"/>
                </a:lnTo>
                <a:lnTo>
                  <a:pt x="430" y="150"/>
                </a:lnTo>
                <a:lnTo>
                  <a:pt x="428" y="156"/>
                </a:lnTo>
                <a:lnTo>
                  <a:pt x="426" y="158"/>
                </a:lnTo>
                <a:lnTo>
                  <a:pt x="422" y="160"/>
                </a:lnTo>
                <a:lnTo>
                  <a:pt x="418" y="156"/>
                </a:lnTo>
                <a:lnTo>
                  <a:pt x="414" y="150"/>
                </a:lnTo>
                <a:lnTo>
                  <a:pt x="416" y="144"/>
                </a:lnTo>
                <a:lnTo>
                  <a:pt x="416" y="140"/>
                </a:lnTo>
                <a:lnTo>
                  <a:pt x="414" y="140"/>
                </a:lnTo>
                <a:lnTo>
                  <a:pt x="410" y="140"/>
                </a:lnTo>
                <a:lnTo>
                  <a:pt x="408" y="140"/>
                </a:lnTo>
                <a:lnTo>
                  <a:pt x="402" y="134"/>
                </a:lnTo>
                <a:lnTo>
                  <a:pt x="400" y="130"/>
                </a:lnTo>
                <a:lnTo>
                  <a:pt x="398" y="130"/>
                </a:lnTo>
                <a:lnTo>
                  <a:pt x="398" y="128"/>
                </a:lnTo>
                <a:lnTo>
                  <a:pt x="390" y="126"/>
                </a:lnTo>
                <a:lnTo>
                  <a:pt x="384" y="114"/>
                </a:lnTo>
                <a:lnTo>
                  <a:pt x="380" y="110"/>
                </a:lnTo>
                <a:lnTo>
                  <a:pt x="380" y="108"/>
                </a:lnTo>
                <a:lnTo>
                  <a:pt x="380" y="106"/>
                </a:lnTo>
                <a:lnTo>
                  <a:pt x="380" y="102"/>
                </a:lnTo>
                <a:lnTo>
                  <a:pt x="380" y="98"/>
                </a:lnTo>
                <a:lnTo>
                  <a:pt x="382" y="96"/>
                </a:lnTo>
                <a:lnTo>
                  <a:pt x="384" y="94"/>
                </a:lnTo>
                <a:lnTo>
                  <a:pt x="382" y="92"/>
                </a:lnTo>
                <a:lnTo>
                  <a:pt x="380" y="90"/>
                </a:lnTo>
                <a:lnTo>
                  <a:pt x="380" y="86"/>
                </a:lnTo>
                <a:lnTo>
                  <a:pt x="382" y="80"/>
                </a:lnTo>
                <a:lnTo>
                  <a:pt x="376" y="72"/>
                </a:lnTo>
                <a:lnTo>
                  <a:pt x="370" y="72"/>
                </a:lnTo>
                <a:lnTo>
                  <a:pt x="366" y="72"/>
                </a:lnTo>
                <a:lnTo>
                  <a:pt x="364" y="70"/>
                </a:lnTo>
                <a:lnTo>
                  <a:pt x="364" y="58"/>
                </a:lnTo>
                <a:lnTo>
                  <a:pt x="358" y="54"/>
                </a:lnTo>
                <a:lnTo>
                  <a:pt x="348" y="50"/>
                </a:lnTo>
                <a:lnTo>
                  <a:pt x="340" y="50"/>
                </a:lnTo>
                <a:lnTo>
                  <a:pt x="330" y="50"/>
                </a:lnTo>
                <a:lnTo>
                  <a:pt x="328" y="54"/>
                </a:lnTo>
                <a:lnTo>
                  <a:pt x="326" y="58"/>
                </a:lnTo>
                <a:lnTo>
                  <a:pt x="328" y="62"/>
                </a:lnTo>
                <a:lnTo>
                  <a:pt x="328" y="68"/>
                </a:lnTo>
                <a:lnTo>
                  <a:pt x="326" y="70"/>
                </a:lnTo>
                <a:lnTo>
                  <a:pt x="322" y="70"/>
                </a:lnTo>
                <a:lnTo>
                  <a:pt x="318" y="68"/>
                </a:lnTo>
                <a:lnTo>
                  <a:pt x="316" y="58"/>
                </a:lnTo>
                <a:lnTo>
                  <a:pt x="310" y="52"/>
                </a:lnTo>
                <a:lnTo>
                  <a:pt x="306" y="50"/>
                </a:lnTo>
                <a:lnTo>
                  <a:pt x="306" y="42"/>
                </a:lnTo>
                <a:lnTo>
                  <a:pt x="308" y="38"/>
                </a:lnTo>
                <a:lnTo>
                  <a:pt x="310" y="34"/>
                </a:lnTo>
                <a:lnTo>
                  <a:pt x="308" y="30"/>
                </a:lnTo>
                <a:lnTo>
                  <a:pt x="308" y="26"/>
                </a:lnTo>
                <a:lnTo>
                  <a:pt x="304" y="30"/>
                </a:lnTo>
                <a:lnTo>
                  <a:pt x="304" y="32"/>
                </a:lnTo>
                <a:lnTo>
                  <a:pt x="300" y="34"/>
                </a:lnTo>
                <a:lnTo>
                  <a:pt x="298" y="40"/>
                </a:lnTo>
                <a:lnTo>
                  <a:pt x="296" y="42"/>
                </a:lnTo>
                <a:lnTo>
                  <a:pt x="296" y="44"/>
                </a:lnTo>
                <a:lnTo>
                  <a:pt x="294" y="44"/>
                </a:lnTo>
                <a:lnTo>
                  <a:pt x="290" y="44"/>
                </a:lnTo>
                <a:lnTo>
                  <a:pt x="286" y="42"/>
                </a:lnTo>
                <a:lnTo>
                  <a:pt x="282" y="48"/>
                </a:lnTo>
                <a:lnTo>
                  <a:pt x="282" y="50"/>
                </a:lnTo>
                <a:lnTo>
                  <a:pt x="288" y="54"/>
                </a:lnTo>
                <a:lnTo>
                  <a:pt x="290" y="54"/>
                </a:lnTo>
                <a:lnTo>
                  <a:pt x="290" y="56"/>
                </a:lnTo>
                <a:lnTo>
                  <a:pt x="290" y="58"/>
                </a:lnTo>
                <a:lnTo>
                  <a:pt x="286" y="58"/>
                </a:lnTo>
                <a:lnTo>
                  <a:pt x="282" y="58"/>
                </a:lnTo>
                <a:lnTo>
                  <a:pt x="280" y="56"/>
                </a:lnTo>
                <a:lnTo>
                  <a:pt x="278" y="56"/>
                </a:lnTo>
                <a:lnTo>
                  <a:pt x="274" y="58"/>
                </a:lnTo>
                <a:lnTo>
                  <a:pt x="274" y="66"/>
                </a:lnTo>
                <a:lnTo>
                  <a:pt x="276" y="70"/>
                </a:lnTo>
                <a:lnTo>
                  <a:pt x="276" y="76"/>
                </a:lnTo>
                <a:lnTo>
                  <a:pt x="274" y="76"/>
                </a:lnTo>
                <a:lnTo>
                  <a:pt x="264" y="72"/>
                </a:lnTo>
                <a:lnTo>
                  <a:pt x="262" y="66"/>
                </a:lnTo>
                <a:lnTo>
                  <a:pt x="252" y="62"/>
                </a:lnTo>
                <a:lnTo>
                  <a:pt x="246" y="56"/>
                </a:lnTo>
                <a:lnTo>
                  <a:pt x="244" y="56"/>
                </a:lnTo>
                <a:lnTo>
                  <a:pt x="240" y="56"/>
                </a:lnTo>
                <a:lnTo>
                  <a:pt x="236" y="50"/>
                </a:lnTo>
                <a:lnTo>
                  <a:pt x="224" y="36"/>
                </a:lnTo>
                <a:lnTo>
                  <a:pt x="218" y="32"/>
                </a:lnTo>
                <a:lnTo>
                  <a:pt x="212" y="32"/>
                </a:lnTo>
                <a:lnTo>
                  <a:pt x="208" y="34"/>
                </a:lnTo>
                <a:lnTo>
                  <a:pt x="204" y="40"/>
                </a:lnTo>
                <a:lnTo>
                  <a:pt x="200" y="42"/>
                </a:lnTo>
                <a:lnTo>
                  <a:pt x="192" y="40"/>
                </a:lnTo>
                <a:lnTo>
                  <a:pt x="186" y="36"/>
                </a:lnTo>
                <a:lnTo>
                  <a:pt x="178" y="36"/>
                </a:lnTo>
                <a:lnTo>
                  <a:pt x="174" y="36"/>
                </a:lnTo>
                <a:lnTo>
                  <a:pt x="170" y="36"/>
                </a:lnTo>
                <a:lnTo>
                  <a:pt x="170" y="34"/>
                </a:lnTo>
                <a:lnTo>
                  <a:pt x="172" y="30"/>
                </a:lnTo>
                <a:lnTo>
                  <a:pt x="172" y="26"/>
                </a:lnTo>
                <a:lnTo>
                  <a:pt x="170" y="24"/>
                </a:lnTo>
                <a:lnTo>
                  <a:pt x="168" y="22"/>
                </a:lnTo>
                <a:lnTo>
                  <a:pt x="166" y="20"/>
                </a:lnTo>
                <a:lnTo>
                  <a:pt x="166" y="16"/>
                </a:lnTo>
                <a:lnTo>
                  <a:pt x="160" y="16"/>
                </a:lnTo>
                <a:lnTo>
                  <a:pt x="156" y="16"/>
                </a:lnTo>
                <a:lnTo>
                  <a:pt x="152" y="14"/>
                </a:lnTo>
                <a:lnTo>
                  <a:pt x="150" y="12"/>
                </a:lnTo>
                <a:lnTo>
                  <a:pt x="144" y="8"/>
                </a:lnTo>
                <a:lnTo>
                  <a:pt x="140" y="6"/>
                </a:lnTo>
                <a:lnTo>
                  <a:pt x="140" y="0"/>
                </a:lnTo>
                <a:lnTo>
                  <a:pt x="132" y="0"/>
                </a:lnTo>
                <a:lnTo>
                  <a:pt x="124" y="8"/>
                </a:lnTo>
                <a:lnTo>
                  <a:pt x="112" y="24"/>
                </a:lnTo>
                <a:lnTo>
                  <a:pt x="86" y="58"/>
                </a:lnTo>
                <a:lnTo>
                  <a:pt x="62" y="88"/>
                </a:lnTo>
                <a:lnTo>
                  <a:pt x="60" y="88"/>
                </a:lnTo>
                <a:lnTo>
                  <a:pt x="54" y="88"/>
                </a:lnTo>
                <a:lnTo>
                  <a:pt x="48" y="88"/>
                </a:lnTo>
                <a:lnTo>
                  <a:pt x="48" y="92"/>
                </a:lnTo>
                <a:lnTo>
                  <a:pt x="18" y="234"/>
                </a:lnTo>
                <a:lnTo>
                  <a:pt x="8" y="304"/>
                </a:lnTo>
                <a:lnTo>
                  <a:pt x="0" y="336"/>
                </a:lnTo>
                <a:lnTo>
                  <a:pt x="8" y="332"/>
                </a:lnTo>
                <a:lnTo>
                  <a:pt x="16" y="332"/>
                </a:lnTo>
                <a:lnTo>
                  <a:pt x="20" y="332"/>
                </a:lnTo>
                <a:lnTo>
                  <a:pt x="22" y="328"/>
                </a:lnTo>
                <a:lnTo>
                  <a:pt x="28" y="326"/>
                </a:lnTo>
                <a:lnTo>
                  <a:pt x="30" y="328"/>
                </a:lnTo>
                <a:lnTo>
                  <a:pt x="34" y="332"/>
                </a:lnTo>
                <a:lnTo>
                  <a:pt x="40" y="336"/>
                </a:lnTo>
                <a:lnTo>
                  <a:pt x="46" y="338"/>
                </a:lnTo>
                <a:lnTo>
                  <a:pt x="46" y="342"/>
                </a:lnTo>
                <a:lnTo>
                  <a:pt x="48" y="346"/>
                </a:lnTo>
                <a:lnTo>
                  <a:pt x="46" y="350"/>
                </a:lnTo>
                <a:lnTo>
                  <a:pt x="50" y="354"/>
                </a:lnTo>
                <a:lnTo>
                  <a:pt x="54" y="356"/>
                </a:lnTo>
                <a:lnTo>
                  <a:pt x="60" y="356"/>
                </a:lnTo>
                <a:lnTo>
                  <a:pt x="68" y="360"/>
                </a:lnTo>
                <a:lnTo>
                  <a:pt x="72" y="364"/>
                </a:lnTo>
                <a:lnTo>
                  <a:pt x="72" y="366"/>
                </a:lnTo>
                <a:lnTo>
                  <a:pt x="68" y="376"/>
                </a:lnTo>
                <a:lnTo>
                  <a:pt x="72" y="386"/>
                </a:lnTo>
                <a:lnTo>
                  <a:pt x="72" y="396"/>
                </a:lnTo>
                <a:lnTo>
                  <a:pt x="72" y="402"/>
                </a:lnTo>
                <a:lnTo>
                  <a:pt x="74" y="404"/>
                </a:lnTo>
                <a:lnTo>
                  <a:pt x="74" y="410"/>
                </a:lnTo>
                <a:lnTo>
                  <a:pt x="72" y="414"/>
                </a:lnTo>
                <a:lnTo>
                  <a:pt x="70" y="416"/>
                </a:lnTo>
                <a:lnTo>
                  <a:pt x="70" y="422"/>
                </a:lnTo>
                <a:lnTo>
                  <a:pt x="72" y="422"/>
                </a:lnTo>
                <a:lnTo>
                  <a:pt x="78" y="422"/>
                </a:lnTo>
                <a:lnTo>
                  <a:pt x="90" y="426"/>
                </a:lnTo>
                <a:lnTo>
                  <a:pt x="112" y="430"/>
                </a:lnTo>
                <a:lnTo>
                  <a:pt x="158" y="432"/>
                </a:lnTo>
                <a:lnTo>
                  <a:pt x="178" y="432"/>
                </a:lnTo>
                <a:lnTo>
                  <a:pt x="230" y="438"/>
                </a:lnTo>
                <a:lnTo>
                  <a:pt x="246" y="438"/>
                </a:lnTo>
                <a:lnTo>
                  <a:pt x="258" y="438"/>
                </a:lnTo>
                <a:lnTo>
                  <a:pt x="274" y="440"/>
                </a:lnTo>
                <a:lnTo>
                  <a:pt x="274" y="450"/>
                </a:lnTo>
                <a:lnTo>
                  <a:pt x="274" y="452"/>
                </a:lnTo>
                <a:lnTo>
                  <a:pt x="270" y="456"/>
                </a:lnTo>
                <a:lnTo>
                  <a:pt x="266" y="456"/>
                </a:lnTo>
                <a:lnTo>
                  <a:pt x="256" y="456"/>
                </a:lnTo>
                <a:lnTo>
                  <a:pt x="248" y="456"/>
                </a:lnTo>
                <a:lnTo>
                  <a:pt x="246" y="458"/>
                </a:lnTo>
                <a:lnTo>
                  <a:pt x="248" y="464"/>
                </a:lnTo>
                <a:lnTo>
                  <a:pt x="254" y="466"/>
                </a:lnTo>
                <a:lnTo>
                  <a:pt x="258" y="468"/>
                </a:lnTo>
                <a:lnTo>
                  <a:pt x="278" y="464"/>
                </a:lnTo>
                <a:lnTo>
                  <a:pt x="286" y="462"/>
                </a:lnTo>
                <a:lnTo>
                  <a:pt x="294" y="464"/>
                </a:lnTo>
                <a:lnTo>
                  <a:pt x="292" y="468"/>
                </a:lnTo>
                <a:lnTo>
                  <a:pt x="288" y="472"/>
                </a:lnTo>
                <a:lnTo>
                  <a:pt x="282" y="476"/>
                </a:lnTo>
                <a:lnTo>
                  <a:pt x="280" y="484"/>
                </a:lnTo>
                <a:lnTo>
                  <a:pt x="288" y="486"/>
                </a:lnTo>
                <a:lnTo>
                  <a:pt x="304" y="488"/>
                </a:lnTo>
                <a:lnTo>
                  <a:pt x="310" y="490"/>
                </a:lnTo>
                <a:lnTo>
                  <a:pt x="364" y="486"/>
                </a:lnTo>
                <a:lnTo>
                  <a:pt x="370" y="492"/>
                </a:lnTo>
                <a:lnTo>
                  <a:pt x="380" y="500"/>
                </a:lnTo>
                <a:lnTo>
                  <a:pt x="386" y="502"/>
                </a:lnTo>
                <a:lnTo>
                  <a:pt x="398" y="498"/>
                </a:lnTo>
                <a:lnTo>
                  <a:pt x="410" y="492"/>
                </a:lnTo>
                <a:lnTo>
                  <a:pt x="418" y="488"/>
                </a:lnTo>
                <a:lnTo>
                  <a:pt x="436" y="482"/>
                </a:lnTo>
                <a:lnTo>
                  <a:pt x="452" y="472"/>
                </a:lnTo>
                <a:lnTo>
                  <a:pt x="466" y="468"/>
                </a:lnTo>
                <a:lnTo>
                  <a:pt x="506" y="450"/>
                </a:lnTo>
                <a:lnTo>
                  <a:pt x="516" y="452"/>
                </a:lnTo>
                <a:lnTo>
                  <a:pt x="556" y="454"/>
                </a:lnTo>
                <a:lnTo>
                  <a:pt x="504" y="362"/>
                </a:lnTo>
                <a:lnTo>
                  <a:pt x="538" y="320"/>
                </a:lnTo>
                <a:lnTo>
                  <a:pt x="524" y="312"/>
                </a:lnTo>
                <a:lnTo>
                  <a:pt x="524" y="308"/>
                </a:lnTo>
                <a:lnTo>
                  <a:pt x="526" y="302"/>
                </a:lnTo>
                <a:lnTo>
                  <a:pt x="526" y="290"/>
                </a:lnTo>
                <a:lnTo>
                  <a:pt x="522" y="286"/>
                </a:lnTo>
                <a:lnTo>
                  <a:pt x="516" y="284"/>
                </a:lnTo>
                <a:lnTo>
                  <a:pt x="516" y="274"/>
                </a:lnTo>
                <a:lnTo>
                  <a:pt x="512" y="270"/>
                </a:lnTo>
                <a:lnTo>
                  <a:pt x="500" y="268"/>
                </a:lnTo>
                <a:lnTo>
                  <a:pt x="490" y="268"/>
                </a:lnTo>
                <a:lnTo>
                  <a:pt x="486" y="260"/>
                </a:lnTo>
                <a:lnTo>
                  <a:pt x="486" y="252"/>
                </a:lnTo>
                <a:lnTo>
                  <a:pt x="494" y="250"/>
                </a:lnTo>
                <a:lnTo>
                  <a:pt x="496" y="250"/>
                </a:lnTo>
                <a:lnTo>
                  <a:pt x="500" y="248"/>
                </a:lnTo>
                <a:lnTo>
                  <a:pt x="500" y="242"/>
                </a:lnTo>
                <a:lnTo>
                  <a:pt x="500" y="238"/>
                </a:lnTo>
                <a:lnTo>
                  <a:pt x="500" y="236"/>
                </a:lnTo>
                <a:lnTo>
                  <a:pt x="506" y="234"/>
                </a:lnTo>
                <a:lnTo>
                  <a:pt x="508" y="232"/>
                </a:lnTo>
                <a:lnTo>
                  <a:pt x="512" y="230"/>
                </a:lnTo>
                <a:lnTo>
                  <a:pt x="512" y="228"/>
                </a:lnTo>
                <a:lnTo>
                  <a:pt x="504" y="228"/>
                </a:lnTo>
                <a:lnTo>
                  <a:pt x="496" y="228"/>
                </a:lnTo>
                <a:lnTo>
                  <a:pt x="490" y="228"/>
                </a:lnTo>
                <a:lnTo>
                  <a:pt x="486" y="228"/>
                </a:lnTo>
                <a:lnTo>
                  <a:pt x="484" y="238"/>
                </a:lnTo>
                <a:lnTo>
                  <a:pt x="478" y="240"/>
                </a:lnTo>
                <a:lnTo>
                  <a:pt x="466" y="236"/>
                </a:lnTo>
                <a:lnTo>
                  <a:pt x="456" y="236"/>
                </a:lnTo>
                <a:lnTo>
                  <a:pt x="452" y="234"/>
                </a:lnTo>
                <a:lnTo>
                  <a:pt x="444" y="224"/>
                </a:lnTo>
                <a:lnTo>
                  <a:pt x="438" y="216"/>
                </a:lnTo>
                <a:lnTo>
                  <a:pt x="434" y="214"/>
                </a:lnTo>
                <a:lnTo>
                  <a:pt x="430" y="212"/>
                </a:lnTo>
                <a:lnTo>
                  <a:pt x="432" y="210"/>
                </a:lnTo>
                <a:lnTo>
                  <a:pt x="434" y="206"/>
                </a:lnTo>
                <a:lnTo>
                  <a:pt x="438" y="204"/>
                </a:lnTo>
                <a:lnTo>
                  <a:pt x="438" y="200"/>
                </a:lnTo>
                <a:lnTo>
                  <a:pt x="438" y="196"/>
                </a:lnTo>
                <a:lnTo>
                  <a:pt x="442" y="184"/>
                </a:lnTo>
                <a:lnTo>
                  <a:pt x="442" y="182"/>
                </a:lnTo>
                <a:lnTo>
                  <a:pt x="444" y="176"/>
                </a:lnTo>
                <a:lnTo>
                  <a:pt x="438" y="174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 w="6350">
            <a:solidFill>
              <a:schemeClr val="tx2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457200"/>
            <a:endParaRPr lang="en-US" kern="0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31" name="Freeform 9">
            <a:extLst>
              <a:ext uri="{FF2B5EF4-FFF2-40B4-BE49-F238E27FC236}">
                <a16:creationId xmlns:a16="http://schemas.microsoft.com/office/drawing/2014/main" id="{82BFB851-0AE5-B2E1-784B-355D6A8A6C2C}"/>
              </a:ext>
            </a:extLst>
          </p:cNvPr>
          <p:cNvSpPr>
            <a:spLocks/>
          </p:cNvSpPr>
          <p:nvPr/>
        </p:nvSpPr>
        <p:spPr bwMode="auto">
          <a:xfrm>
            <a:off x="3106420" y="3078480"/>
            <a:ext cx="462280" cy="414020"/>
          </a:xfrm>
          <a:custGeom>
            <a:avLst/>
            <a:gdLst>
              <a:gd name="T0" fmla="*/ 2147483646 w 364"/>
              <a:gd name="T1" fmla="*/ 2147483646 h 326"/>
              <a:gd name="T2" fmla="*/ 2147483646 w 364"/>
              <a:gd name="T3" fmla="*/ 2147483646 h 326"/>
              <a:gd name="T4" fmla="*/ 2147483646 w 364"/>
              <a:gd name="T5" fmla="*/ 2147483646 h 326"/>
              <a:gd name="T6" fmla="*/ 2147483646 w 364"/>
              <a:gd name="T7" fmla="*/ 2147483646 h 326"/>
              <a:gd name="T8" fmla="*/ 2147483646 w 364"/>
              <a:gd name="T9" fmla="*/ 2147483646 h 326"/>
              <a:gd name="T10" fmla="*/ 2147483646 w 364"/>
              <a:gd name="T11" fmla="*/ 2147483646 h 326"/>
              <a:gd name="T12" fmla="*/ 2147483646 w 364"/>
              <a:gd name="T13" fmla="*/ 2147483646 h 326"/>
              <a:gd name="T14" fmla="*/ 2147483646 w 364"/>
              <a:gd name="T15" fmla="*/ 2147483646 h 326"/>
              <a:gd name="T16" fmla="*/ 2147483646 w 364"/>
              <a:gd name="T17" fmla="*/ 2147483646 h 326"/>
              <a:gd name="T18" fmla="*/ 2147483646 w 364"/>
              <a:gd name="T19" fmla="*/ 2147483646 h 326"/>
              <a:gd name="T20" fmla="*/ 2147483646 w 364"/>
              <a:gd name="T21" fmla="*/ 2147483646 h 326"/>
              <a:gd name="T22" fmla="*/ 2147483646 w 364"/>
              <a:gd name="T23" fmla="*/ 2147483646 h 326"/>
              <a:gd name="T24" fmla="*/ 2147483646 w 364"/>
              <a:gd name="T25" fmla="*/ 2147483646 h 326"/>
              <a:gd name="T26" fmla="*/ 2147483646 w 364"/>
              <a:gd name="T27" fmla="*/ 2147483646 h 326"/>
              <a:gd name="T28" fmla="*/ 2147483646 w 364"/>
              <a:gd name="T29" fmla="*/ 2147483646 h 326"/>
              <a:gd name="T30" fmla="*/ 2147483646 w 364"/>
              <a:gd name="T31" fmla="*/ 2147483646 h 326"/>
              <a:gd name="T32" fmla="*/ 2147483646 w 364"/>
              <a:gd name="T33" fmla="*/ 2147483646 h 326"/>
              <a:gd name="T34" fmla="*/ 2147483646 w 364"/>
              <a:gd name="T35" fmla="*/ 2147483646 h 326"/>
              <a:gd name="T36" fmla="*/ 2147483646 w 364"/>
              <a:gd name="T37" fmla="*/ 2147483646 h 326"/>
              <a:gd name="T38" fmla="*/ 2147483646 w 364"/>
              <a:gd name="T39" fmla="*/ 2147483646 h 326"/>
              <a:gd name="T40" fmla="*/ 2147483646 w 364"/>
              <a:gd name="T41" fmla="*/ 2147483646 h 326"/>
              <a:gd name="T42" fmla="*/ 2147483646 w 364"/>
              <a:gd name="T43" fmla="*/ 2147483646 h 326"/>
              <a:gd name="T44" fmla="*/ 2147483646 w 364"/>
              <a:gd name="T45" fmla="*/ 2147483646 h 326"/>
              <a:gd name="T46" fmla="*/ 2147483646 w 364"/>
              <a:gd name="T47" fmla="*/ 2147483646 h 326"/>
              <a:gd name="T48" fmla="*/ 2147483646 w 364"/>
              <a:gd name="T49" fmla="*/ 2147483646 h 326"/>
              <a:gd name="T50" fmla="*/ 2147483646 w 364"/>
              <a:gd name="T51" fmla="*/ 2147483646 h 326"/>
              <a:gd name="T52" fmla="*/ 2147483646 w 364"/>
              <a:gd name="T53" fmla="*/ 2147483646 h 326"/>
              <a:gd name="T54" fmla="*/ 2147483646 w 364"/>
              <a:gd name="T55" fmla="*/ 2147483646 h 326"/>
              <a:gd name="T56" fmla="*/ 2147483646 w 364"/>
              <a:gd name="T57" fmla="*/ 2147483646 h 326"/>
              <a:gd name="T58" fmla="*/ 2147483646 w 364"/>
              <a:gd name="T59" fmla="*/ 2147483646 h 326"/>
              <a:gd name="T60" fmla="*/ 2147483646 w 364"/>
              <a:gd name="T61" fmla="*/ 2147483646 h 326"/>
              <a:gd name="T62" fmla="*/ 2147483646 w 364"/>
              <a:gd name="T63" fmla="*/ 2147483646 h 326"/>
              <a:gd name="T64" fmla="*/ 2147483646 w 364"/>
              <a:gd name="T65" fmla="*/ 2147483646 h 326"/>
              <a:gd name="T66" fmla="*/ 2147483646 w 364"/>
              <a:gd name="T67" fmla="*/ 2147483646 h 326"/>
              <a:gd name="T68" fmla="*/ 2147483646 w 364"/>
              <a:gd name="T69" fmla="*/ 2147483646 h 326"/>
              <a:gd name="T70" fmla="*/ 2147483646 w 364"/>
              <a:gd name="T71" fmla="*/ 2147483646 h 326"/>
              <a:gd name="T72" fmla="*/ 2147483646 w 364"/>
              <a:gd name="T73" fmla="*/ 2147483646 h 326"/>
              <a:gd name="T74" fmla="*/ 2147483646 w 364"/>
              <a:gd name="T75" fmla="*/ 2147483646 h 326"/>
              <a:gd name="T76" fmla="*/ 2147483646 w 364"/>
              <a:gd name="T77" fmla="*/ 2147483646 h 326"/>
              <a:gd name="T78" fmla="*/ 2147483646 w 364"/>
              <a:gd name="T79" fmla="*/ 2147483646 h 326"/>
              <a:gd name="T80" fmla="*/ 2147483646 w 364"/>
              <a:gd name="T81" fmla="*/ 2147483646 h 326"/>
              <a:gd name="T82" fmla="*/ 2147483646 w 364"/>
              <a:gd name="T83" fmla="*/ 2147483646 h 326"/>
              <a:gd name="T84" fmla="*/ 2147483646 w 364"/>
              <a:gd name="T85" fmla="*/ 2147483646 h 326"/>
              <a:gd name="T86" fmla="*/ 2147483646 w 364"/>
              <a:gd name="T87" fmla="*/ 2147483646 h 326"/>
              <a:gd name="T88" fmla="*/ 2147483646 w 364"/>
              <a:gd name="T89" fmla="*/ 2147483646 h 32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w 364"/>
              <a:gd name="T136" fmla="*/ 0 h 326"/>
              <a:gd name="T137" fmla="*/ 364 w 364"/>
              <a:gd name="T138" fmla="*/ 326 h 326"/>
            </a:gdLst>
            <a:ahLst/>
            <a:cxnLst>
              <a:cxn ang="T90">
                <a:pos x="T0" y="T1"/>
              </a:cxn>
              <a:cxn ang="T91">
                <a:pos x="T2" y="T3"/>
              </a:cxn>
              <a:cxn ang="T92">
                <a:pos x="T4" y="T5"/>
              </a:cxn>
              <a:cxn ang="T93">
                <a:pos x="T6" y="T7"/>
              </a:cxn>
              <a:cxn ang="T94">
                <a:pos x="T8" y="T9"/>
              </a:cxn>
              <a:cxn ang="T95">
                <a:pos x="T10" y="T11"/>
              </a:cxn>
              <a:cxn ang="T96">
                <a:pos x="T12" y="T13"/>
              </a:cxn>
              <a:cxn ang="T97">
                <a:pos x="T14" y="T15"/>
              </a:cxn>
              <a:cxn ang="T98">
                <a:pos x="T16" y="T17"/>
              </a:cxn>
              <a:cxn ang="T99">
                <a:pos x="T18" y="T19"/>
              </a:cxn>
              <a:cxn ang="T100">
                <a:pos x="T20" y="T21"/>
              </a:cxn>
              <a:cxn ang="T101">
                <a:pos x="T22" y="T23"/>
              </a:cxn>
              <a:cxn ang="T102">
                <a:pos x="T24" y="T25"/>
              </a:cxn>
              <a:cxn ang="T103">
                <a:pos x="T26" y="T27"/>
              </a:cxn>
              <a:cxn ang="T104">
                <a:pos x="T28" y="T29"/>
              </a:cxn>
              <a:cxn ang="T105">
                <a:pos x="T30" y="T31"/>
              </a:cxn>
              <a:cxn ang="T106">
                <a:pos x="T32" y="T33"/>
              </a:cxn>
              <a:cxn ang="T107">
                <a:pos x="T34" y="T35"/>
              </a:cxn>
              <a:cxn ang="T108">
                <a:pos x="T36" y="T37"/>
              </a:cxn>
              <a:cxn ang="T109">
                <a:pos x="T38" y="T39"/>
              </a:cxn>
              <a:cxn ang="T110">
                <a:pos x="T40" y="T41"/>
              </a:cxn>
              <a:cxn ang="T111">
                <a:pos x="T42" y="T43"/>
              </a:cxn>
              <a:cxn ang="T112">
                <a:pos x="T44" y="T45"/>
              </a:cxn>
              <a:cxn ang="T113">
                <a:pos x="T46" y="T47"/>
              </a:cxn>
              <a:cxn ang="T114">
                <a:pos x="T48" y="T49"/>
              </a:cxn>
              <a:cxn ang="T115">
                <a:pos x="T50" y="T51"/>
              </a:cxn>
              <a:cxn ang="T116">
                <a:pos x="T52" y="T53"/>
              </a:cxn>
              <a:cxn ang="T117">
                <a:pos x="T54" y="T55"/>
              </a:cxn>
              <a:cxn ang="T118">
                <a:pos x="T56" y="T57"/>
              </a:cxn>
              <a:cxn ang="T119">
                <a:pos x="T58" y="T59"/>
              </a:cxn>
              <a:cxn ang="T120">
                <a:pos x="T60" y="T61"/>
              </a:cxn>
              <a:cxn ang="T121">
                <a:pos x="T62" y="T63"/>
              </a:cxn>
              <a:cxn ang="T122">
                <a:pos x="T64" y="T65"/>
              </a:cxn>
              <a:cxn ang="T123">
                <a:pos x="T66" y="T67"/>
              </a:cxn>
              <a:cxn ang="T124">
                <a:pos x="T68" y="T69"/>
              </a:cxn>
              <a:cxn ang="T125">
                <a:pos x="T70" y="T71"/>
              </a:cxn>
              <a:cxn ang="T126">
                <a:pos x="T72" y="T73"/>
              </a:cxn>
              <a:cxn ang="T127">
                <a:pos x="T74" y="T75"/>
              </a:cxn>
              <a:cxn ang="T128">
                <a:pos x="T76" y="T77"/>
              </a:cxn>
              <a:cxn ang="T129">
                <a:pos x="T78" y="T79"/>
              </a:cxn>
              <a:cxn ang="T130">
                <a:pos x="T80" y="T81"/>
              </a:cxn>
              <a:cxn ang="T131">
                <a:pos x="T82" y="T83"/>
              </a:cxn>
              <a:cxn ang="T132">
                <a:pos x="T84" y="T85"/>
              </a:cxn>
              <a:cxn ang="T133">
                <a:pos x="T86" y="T87"/>
              </a:cxn>
              <a:cxn ang="T134">
                <a:pos x="T88" y="T89"/>
              </a:cxn>
            </a:cxnLst>
            <a:rect l="T135" t="T136" r="T137" b="T138"/>
            <a:pathLst>
              <a:path w="364" h="326">
                <a:moveTo>
                  <a:pt x="74" y="290"/>
                </a:moveTo>
                <a:lnTo>
                  <a:pt x="80" y="290"/>
                </a:lnTo>
                <a:lnTo>
                  <a:pt x="82" y="292"/>
                </a:lnTo>
                <a:lnTo>
                  <a:pt x="94" y="290"/>
                </a:lnTo>
                <a:lnTo>
                  <a:pt x="96" y="288"/>
                </a:lnTo>
                <a:lnTo>
                  <a:pt x="98" y="284"/>
                </a:lnTo>
                <a:lnTo>
                  <a:pt x="106" y="282"/>
                </a:lnTo>
                <a:lnTo>
                  <a:pt x="108" y="278"/>
                </a:lnTo>
                <a:lnTo>
                  <a:pt x="110" y="274"/>
                </a:lnTo>
                <a:lnTo>
                  <a:pt x="116" y="280"/>
                </a:lnTo>
                <a:lnTo>
                  <a:pt x="144" y="298"/>
                </a:lnTo>
                <a:lnTo>
                  <a:pt x="194" y="322"/>
                </a:lnTo>
                <a:lnTo>
                  <a:pt x="202" y="326"/>
                </a:lnTo>
                <a:lnTo>
                  <a:pt x="218" y="318"/>
                </a:lnTo>
                <a:lnTo>
                  <a:pt x="234" y="310"/>
                </a:lnTo>
                <a:lnTo>
                  <a:pt x="260" y="306"/>
                </a:lnTo>
                <a:lnTo>
                  <a:pt x="262" y="304"/>
                </a:lnTo>
                <a:lnTo>
                  <a:pt x="262" y="302"/>
                </a:lnTo>
                <a:lnTo>
                  <a:pt x="262" y="300"/>
                </a:lnTo>
                <a:lnTo>
                  <a:pt x="262" y="298"/>
                </a:lnTo>
                <a:lnTo>
                  <a:pt x="262" y="296"/>
                </a:lnTo>
                <a:lnTo>
                  <a:pt x="264" y="292"/>
                </a:lnTo>
                <a:lnTo>
                  <a:pt x="266" y="292"/>
                </a:lnTo>
                <a:lnTo>
                  <a:pt x="268" y="292"/>
                </a:lnTo>
                <a:lnTo>
                  <a:pt x="270" y="288"/>
                </a:lnTo>
                <a:lnTo>
                  <a:pt x="268" y="284"/>
                </a:lnTo>
                <a:lnTo>
                  <a:pt x="266" y="282"/>
                </a:lnTo>
                <a:lnTo>
                  <a:pt x="266" y="280"/>
                </a:lnTo>
                <a:lnTo>
                  <a:pt x="308" y="234"/>
                </a:lnTo>
                <a:lnTo>
                  <a:pt x="364" y="176"/>
                </a:lnTo>
                <a:lnTo>
                  <a:pt x="360" y="176"/>
                </a:lnTo>
                <a:lnTo>
                  <a:pt x="358" y="174"/>
                </a:lnTo>
                <a:lnTo>
                  <a:pt x="352" y="170"/>
                </a:lnTo>
                <a:lnTo>
                  <a:pt x="350" y="164"/>
                </a:lnTo>
                <a:lnTo>
                  <a:pt x="346" y="164"/>
                </a:lnTo>
                <a:lnTo>
                  <a:pt x="340" y="166"/>
                </a:lnTo>
                <a:lnTo>
                  <a:pt x="334" y="166"/>
                </a:lnTo>
                <a:lnTo>
                  <a:pt x="330" y="166"/>
                </a:lnTo>
                <a:lnTo>
                  <a:pt x="324" y="162"/>
                </a:lnTo>
                <a:lnTo>
                  <a:pt x="318" y="160"/>
                </a:lnTo>
                <a:lnTo>
                  <a:pt x="312" y="162"/>
                </a:lnTo>
                <a:lnTo>
                  <a:pt x="308" y="166"/>
                </a:lnTo>
                <a:lnTo>
                  <a:pt x="306" y="174"/>
                </a:lnTo>
                <a:lnTo>
                  <a:pt x="304" y="174"/>
                </a:lnTo>
                <a:lnTo>
                  <a:pt x="300" y="172"/>
                </a:lnTo>
                <a:lnTo>
                  <a:pt x="296" y="166"/>
                </a:lnTo>
                <a:lnTo>
                  <a:pt x="294" y="166"/>
                </a:lnTo>
                <a:lnTo>
                  <a:pt x="288" y="170"/>
                </a:lnTo>
                <a:lnTo>
                  <a:pt x="286" y="170"/>
                </a:lnTo>
                <a:lnTo>
                  <a:pt x="286" y="164"/>
                </a:lnTo>
                <a:lnTo>
                  <a:pt x="286" y="160"/>
                </a:lnTo>
                <a:lnTo>
                  <a:pt x="288" y="156"/>
                </a:lnTo>
                <a:lnTo>
                  <a:pt x="286" y="146"/>
                </a:lnTo>
                <a:lnTo>
                  <a:pt x="284" y="146"/>
                </a:lnTo>
                <a:lnTo>
                  <a:pt x="280" y="146"/>
                </a:lnTo>
                <a:lnTo>
                  <a:pt x="276" y="144"/>
                </a:lnTo>
                <a:lnTo>
                  <a:pt x="270" y="144"/>
                </a:lnTo>
                <a:lnTo>
                  <a:pt x="268" y="142"/>
                </a:lnTo>
                <a:lnTo>
                  <a:pt x="268" y="140"/>
                </a:lnTo>
                <a:lnTo>
                  <a:pt x="270" y="138"/>
                </a:lnTo>
                <a:lnTo>
                  <a:pt x="280" y="134"/>
                </a:lnTo>
                <a:lnTo>
                  <a:pt x="280" y="126"/>
                </a:lnTo>
                <a:lnTo>
                  <a:pt x="278" y="112"/>
                </a:lnTo>
                <a:lnTo>
                  <a:pt x="280" y="104"/>
                </a:lnTo>
                <a:lnTo>
                  <a:pt x="276" y="100"/>
                </a:lnTo>
                <a:lnTo>
                  <a:pt x="278" y="92"/>
                </a:lnTo>
                <a:lnTo>
                  <a:pt x="278" y="88"/>
                </a:lnTo>
                <a:lnTo>
                  <a:pt x="270" y="88"/>
                </a:lnTo>
                <a:lnTo>
                  <a:pt x="264" y="88"/>
                </a:lnTo>
                <a:lnTo>
                  <a:pt x="266" y="76"/>
                </a:lnTo>
                <a:lnTo>
                  <a:pt x="262" y="72"/>
                </a:lnTo>
                <a:lnTo>
                  <a:pt x="256" y="68"/>
                </a:lnTo>
                <a:lnTo>
                  <a:pt x="254" y="58"/>
                </a:lnTo>
                <a:lnTo>
                  <a:pt x="252" y="58"/>
                </a:lnTo>
                <a:lnTo>
                  <a:pt x="246" y="62"/>
                </a:lnTo>
                <a:lnTo>
                  <a:pt x="244" y="62"/>
                </a:lnTo>
                <a:lnTo>
                  <a:pt x="216" y="46"/>
                </a:lnTo>
                <a:lnTo>
                  <a:pt x="216" y="44"/>
                </a:lnTo>
                <a:lnTo>
                  <a:pt x="218" y="40"/>
                </a:lnTo>
                <a:lnTo>
                  <a:pt x="220" y="38"/>
                </a:lnTo>
                <a:lnTo>
                  <a:pt x="220" y="36"/>
                </a:lnTo>
                <a:lnTo>
                  <a:pt x="226" y="34"/>
                </a:lnTo>
                <a:lnTo>
                  <a:pt x="228" y="34"/>
                </a:lnTo>
                <a:lnTo>
                  <a:pt x="230" y="32"/>
                </a:lnTo>
                <a:lnTo>
                  <a:pt x="230" y="30"/>
                </a:lnTo>
                <a:lnTo>
                  <a:pt x="232" y="30"/>
                </a:lnTo>
                <a:lnTo>
                  <a:pt x="234" y="28"/>
                </a:lnTo>
                <a:lnTo>
                  <a:pt x="232" y="28"/>
                </a:lnTo>
                <a:lnTo>
                  <a:pt x="230" y="26"/>
                </a:lnTo>
                <a:lnTo>
                  <a:pt x="230" y="22"/>
                </a:lnTo>
                <a:lnTo>
                  <a:pt x="230" y="20"/>
                </a:lnTo>
                <a:lnTo>
                  <a:pt x="230" y="18"/>
                </a:lnTo>
                <a:lnTo>
                  <a:pt x="232" y="18"/>
                </a:lnTo>
                <a:lnTo>
                  <a:pt x="236" y="16"/>
                </a:lnTo>
                <a:lnTo>
                  <a:pt x="242" y="12"/>
                </a:lnTo>
                <a:lnTo>
                  <a:pt x="244" y="8"/>
                </a:lnTo>
                <a:lnTo>
                  <a:pt x="246" y="4"/>
                </a:lnTo>
                <a:lnTo>
                  <a:pt x="246" y="2"/>
                </a:lnTo>
                <a:lnTo>
                  <a:pt x="248" y="2"/>
                </a:lnTo>
                <a:lnTo>
                  <a:pt x="246" y="0"/>
                </a:lnTo>
                <a:lnTo>
                  <a:pt x="160" y="52"/>
                </a:lnTo>
                <a:lnTo>
                  <a:pt x="156" y="54"/>
                </a:lnTo>
                <a:lnTo>
                  <a:pt x="150" y="54"/>
                </a:lnTo>
                <a:lnTo>
                  <a:pt x="144" y="52"/>
                </a:lnTo>
                <a:lnTo>
                  <a:pt x="138" y="52"/>
                </a:lnTo>
                <a:lnTo>
                  <a:pt x="132" y="56"/>
                </a:lnTo>
                <a:lnTo>
                  <a:pt x="116" y="70"/>
                </a:lnTo>
                <a:lnTo>
                  <a:pt x="106" y="82"/>
                </a:lnTo>
                <a:lnTo>
                  <a:pt x="20" y="156"/>
                </a:lnTo>
                <a:lnTo>
                  <a:pt x="0" y="178"/>
                </a:lnTo>
                <a:lnTo>
                  <a:pt x="44" y="202"/>
                </a:lnTo>
                <a:lnTo>
                  <a:pt x="40" y="208"/>
                </a:lnTo>
                <a:lnTo>
                  <a:pt x="42" y="212"/>
                </a:lnTo>
                <a:lnTo>
                  <a:pt x="38" y="218"/>
                </a:lnTo>
                <a:lnTo>
                  <a:pt x="40" y="220"/>
                </a:lnTo>
                <a:lnTo>
                  <a:pt x="40" y="226"/>
                </a:lnTo>
                <a:lnTo>
                  <a:pt x="44" y="228"/>
                </a:lnTo>
                <a:lnTo>
                  <a:pt x="44" y="232"/>
                </a:lnTo>
                <a:lnTo>
                  <a:pt x="40" y="234"/>
                </a:lnTo>
                <a:lnTo>
                  <a:pt x="38" y="236"/>
                </a:lnTo>
                <a:lnTo>
                  <a:pt x="30" y="242"/>
                </a:lnTo>
                <a:lnTo>
                  <a:pt x="26" y="244"/>
                </a:lnTo>
                <a:lnTo>
                  <a:pt x="24" y="248"/>
                </a:lnTo>
                <a:lnTo>
                  <a:pt x="26" y="252"/>
                </a:lnTo>
                <a:lnTo>
                  <a:pt x="30" y="256"/>
                </a:lnTo>
                <a:lnTo>
                  <a:pt x="34" y="262"/>
                </a:lnTo>
                <a:lnTo>
                  <a:pt x="36" y="266"/>
                </a:lnTo>
                <a:lnTo>
                  <a:pt x="38" y="268"/>
                </a:lnTo>
                <a:lnTo>
                  <a:pt x="44" y="270"/>
                </a:lnTo>
                <a:lnTo>
                  <a:pt x="48" y="280"/>
                </a:lnTo>
                <a:lnTo>
                  <a:pt x="54" y="284"/>
                </a:lnTo>
                <a:lnTo>
                  <a:pt x="48" y="292"/>
                </a:lnTo>
                <a:lnTo>
                  <a:pt x="58" y="292"/>
                </a:lnTo>
                <a:lnTo>
                  <a:pt x="64" y="302"/>
                </a:lnTo>
                <a:lnTo>
                  <a:pt x="72" y="292"/>
                </a:lnTo>
                <a:lnTo>
                  <a:pt x="74" y="290"/>
                </a:lnTo>
                <a:close/>
              </a:path>
            </a:pathLst>
          </a:custGeom>
          <a:solidFill>
            <a:srgbClr val="F1B728"/>
          </a:solidFill>
          <a:ln w="6350">
            <a:solidFill>
              <a:schemeClr val="tx1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457200"/>
            <a:endParaRPr lang="en-US" kern="0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32" name="Freeform 10">
            <a:extLst>
              <a:ext uri="{FF2B5EF4-FFF2-40B4-BE49-F238E27FC236}">
                <a16:creationId xmlns:a16="http://schemas.microsoft.com/office/drawing/2014/main" id="{7C62358F-110A-F987-3EE3-9310B8E6EC23}"/>
              </a:ext>
            </a:extLst>
          </p:cNvPr>
          <p:cNvSpPr>
            <a:spLocks/>
          </p:cNvSpPr>
          <p:nvPr/>
        </p:nvSpPr>
        <p:spPr bwMode="auto">
          <a:xfrm>
            <a:off x="4625340" y="2692400"/>
            <a:ext cx="340360" cy="314960"/>
          </a:xfrm>
          <a:custGeom>
            <a:avLst/>
            <a:gdLst>
              <a:gd name="T0" fmla="*/ 2147483646 w 268"/>
              <a:gd name="T1" fmla="*/ 2147483646 h 248"/>
              <a:gd name="T2" fmla="*/ 2147483646 w 268"/>
              <a:gd name="T3" fmla="*/ 2147483646 h 248"/>
              <a:gd name="T4" fmla="*/ 2147483646 w 268"/>
              <a:gd name="T5" fmla="*/ 2147483646 h 248"/>
              <a:gd name="T6" fmla="*/ 2147483646 w 268"/>
              <a:gd name="T7" fmla="*/ 2147483646 h 248"/>
              <a:gd name="T8" fmla="*/ 2147483646 w 268"/>
              <a:gd name="T9" fmla="*/ 2147483646 h 248"/>
              <a:gd name="T10" fmla="*/ 2147483646 w 268"/>
              <a:gd name="T11" fmla="*/ 2147483646 h 248"/>
              <a:gd name="T12" fmla="*/ 2147483646 w 268"/>
              <a:gd name="T13" fmla="*/ 2147483646 h 248"/>
              <a:gd name="T14" fmla="*/ 2147483646 w 268"/>
              <a:gd name="T15" fmla="*/ 2147483646 h 248"/>
              <a:gd name="T16" fmla="*/ 0 w 268"/>
              <a:gd name="T17" fmla="*/ 2147483646 h 248"/>
              <a:gd name="T18" fmla="*/ 2147483646 w 268"/>
              <a:gd name="T19" fmla="*/ 2147483646 h 248"/>
              <a:gd name="T20" fmla="*/ 2147483646 w 268"/>
              <a:gd name="T21" fmla="*/ 2147483646 h 248"/>
              <a:gd name="T22" fmla="*/ 2147483646 w 268"/>
              <a:gd name="T23" fmla="*/ 2147483646 h 248"/>
              <a:gd name="T24" fmla="*/ 2147483646 w 268"/>
              <a:gd name="T25" fmla="*/ 2147483646 h 248"/>
              <a:gd name="T26" fmla="*/ 2147483646 w 268"/>
              <a:gd name="T27" fmla="*/ 2147483646 h 248"/>
              <a:gd name="T28" fmla="*/ 2147483646 w 268"/>
              <a:gd name="T29" fmla="*/ 2147483646 h 248"/>
              <a:gd name="T30" fmla="*/ 2147483646 w 268"/>
              <a:gd name="T31" fmla="*/ 2147483646 h 248"/>
              <a:gd name="T32" fmla="*/ 2147483646 w 268"/>
              <a:gd name="T33" fmla="*/ 2147483646 h 248"/>
              <a:gd name="T34" fmla="*/ 2147483646 w 268"/>
              <a:gd name="T35" fmla="*/ 2147483646 h 248"/>
              <a:gd name="T36" fmla="*/ 2147483646 w 268"/>
              <a:gd name="T37" fmla="*/ 2147483646 h 248"/>
              <a:gd name="T38" fmla="*/ 2147483646 w 268"/>
              <a:gd name="T39" fmla="*/ 2147483646 h 248"/>
              <a:gd name="T40" fmla="*/ 2147483646 w 268"/>
              <a:gd name="T41" fmla="*/ 2147483646 h 248"/>
              <a:gd name="T42" fmla="*/ 2147483646 w 268"/>
              <a:gd name="T43" fmla="*/ 2147483646 h 248"/>
              <a:gd name="T44" fmla="*/ 2147483646 w 268"/>
              <a:gd name="T45" fmla="*/ 2147483646 h 248"/>
              <a:gd name="T46" fmla="*/ 2147483646 w 268"/>
              <a:gd name="T47" fmla="*/ 2147483646 h 248"/>
              <a:gd name="T48" fmla="*/ 2147483646 w 268"/>
              <a:gd name="T49" fmla="*/ 2147483646 h 248"/>
              <a:gd name="T50" fmla="*/ 2147483646 w 268"/>
              <a:gd name="T51" fmla="*/ 2147483646 h 248"/>
              <a:gd name="T52" fmla="*/ 2147483646 w 268"/>
              <a:gd name="T53" fmla="*/ 2147483646 h 248"/>
              <a:gd name="T54" fmla="*/ 2147483646 w 268"/>
              <a:gd name="T55" fmla="*/ 2147483646 h 248"/>
              <a:gd name="T56" fmla="*/ 2147483646 w 268"/>
              <a:gd name="T57" fmla="*/ 2147483646 h 248"/>
              <a:gd name="T58" fmla="*/ 2147483646 w 268"/>
              <a:gd name="T59" fmla="*/ 2147483646 h 248"/>
              <a:gd name="T60" fmla="*/ 2147483646 w 268"/>
              <a:gd name="T61" fmla="*/ 2147483646 h 248"/>
              <a:gd name="T62" fmla="*/ 2147483646 w 268"/>
              <a:gd name="T63" fmla="*/ 2147483646 h 248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w 268"/>
              <a:gd name="T97" fmla="*/ 0 h 248"/>
              <a:gd name="T98" fmla="*/ 268 w 268"/>
              <a:gd name="T99" fmla="*/ 248 h 248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T96" t="T97" r="T98" b="T99"/>
            <a:pathLst>
              <a:path w="268" h="248">
                <a:moveTo>
                  <a:pt x="168" y="36"/>
                </a:moveTo>
                <a:lnTo>
                  <a:pt x="166" y="42"/>
                </a:lnTo>
                <a:lnTo>
                  <a:pt x="164" y="46"/>
                </a:lnTo>
                <a:lnTo>
                  <a:pt x="158" y="56"/>
                </a:lnTo>
                <a:lnTo>
                  <a:pt x="154" y="60"/>
                </a:lnTo>
                <a:lnTo>
                  <a:pt x="100" y="78"/>
                </a:lnTo>
                <a:lnTo>
                  <a:pt x="94" y="66"/>
                </a:lnTo>
                <a:lnTo>
                  <a:pt x="92" y="60"/>
                </a:lnTo>
                <a:lnTo>
                  <a:pt x="88" y="54"/>
                </a:lnTo>
                <a:lnTo>
                  <a:pt x="80" y="50"/>
                </a:lnTo>
                <a:lnTo>
                  <a:pt x="78" y="50"/>
                </a:lnTo>
                <a:lnTo>
                  <a:pt x="76" y="56"/>
                </a:lnTo>
                <a:lnTo>
                  <a:pt x="70" y="60"/>
                </a:lnTo>
                <a:lnTo>
                  <a:pt x="8" y="70"/>
                </a:lnTo>
                <a:lnTo>
                  <a:pt x="6" y="68"/>
                </a:lnTo>
                <a:lnTo>
                  <a:pt x="2" y="72"/>
                </a:lnTo>
                <a:lnTo>
                  <a:pt x="4" y="78"/>
                </a:lnTo>
                <a:lnTo>
                  <a:pt x="0" y="86"/>
                </a:lnTo>
                <a:lnTo>
                  <a:pt x="6" y="90"/>
                </a:lnTo>
                <a:lnTo>
                  <a:pt x="2" y="100"/>
                </a:lnTo>
                <a:lnTo>
                  <a:pt x="4" y="206"/>
                </a:lnTo>
                <a:lnTo>
                  <a:pt x="4" y="210"/>
                </a:lnTo>
                <a:lnTo>
                  <a:pt x="8" y="214"/>
                </a:lnTo>
                <a:lnTo>
                  <a:pt x="14" y="214"/>
                </a:lnTo>
                <a:lnTo>
                  <a:pt x="36" y="242"/>
                </a:lnTo>
                <a:lnTo>
                  <a:pt x="48" y="248"/>
                </a:lnTo>
                <a:lnTo>
                  <a:pt x="80" y="244"/>
                </a:lnTo>
                <a:lnTo>
                  <a:pt x="130" y="236"/>
                </a:lnTo>
                <a:lnTo>
                  <a:pt x="148" y="234"/>
                </a:lnTo>
                <a:lnTo>
                  <a:pt x="160" y="232"/>
                </a:lnTo>
                <a:lnTo>
                  <a:pt x="162" y="232"/>
                </a:lnTo>
                <a:lnTo>
                  <a:pt x="164" y="232"/>
                </a:lnTo>
                <a:lnTo>
                  <a:pt x="176" y="228"/>
                </a:lnTo>
                <a:lnTo>
                  <a:pt x="178" y="226"/>
                </a:lnTo>
                <a:lnTo>
                  <a:pt x="180" y="226"/>
                </a:lnTo>
                <a:lnTo>
                  <a:pt x="182" y="224"/>
                </a:lnTo>
                <a:lnTo>
                  <a:pt x="192" y="218"/>
                </a:lnTo>
                <a:lnTo>
                  <a:pt x="198" y="214"/>
                </a:lnTo>
                <a:lnTo>
                  <a:pt x="202" y="212"/>
                </a:lnTo>
                <a:lnTo>
                  <a:pt x="216" y="206"/>
                </a:lnTo>
                <a:lnTo>
                  <a:pt x="216" y="194"/>
                </a:lnTo>
                <a:lnTo>
                  <a:pt x="220" y="194"/>
                </a:lnTo>
                <a:lnTo>
                  <a:pt x="222" y="194"/>
                </a:lnTo>
                <a:lnTo>
                  <a:pt x="230" y="178"/>
                </a:lnTo>
                <a:lnTo>
                  <a:pt x="232" y="176"/>
                </a:lnTo>
                <a:lnTo>
                  <a:pt x="238" y="178"/>
                </a:lnTo>
                <a:lnTo>
                  <a:pt x="238" y="182"/>
                </a:lnTo>
                <a:lnTo>
                  <a:pt x="244" y="186"/>
                </a:lnTo>
                <a:lnTo>
                  <a:pt x="248" y="186"/>
                </a:lnTo>
                <a:lnTo>
                  <a:pt x="252" y="180"/>
                </a:lnTo>
                <a:lnTo>
                  <a:pt x="254" y="178"/>
                </a:lnTo>
                <a:lnTo>
                  <a:pt x="256" y="180"/>
                </a:lnTo>
                <a:lnTo>
                  <a:pt x="256" y="186"/>
                </a:lnTo>
                <a:lnTo>
                  <a:pt x="258" y="188"/>
                </a:lnTo>
                <a:lnTo>
                  <a:pt x="262" y="186"/>
                </a:lnTo>
                <a:lnTo>
                  <a:pt x="262" y="182"/>
                </a:lnTo>
                <a:lnTo>
                  <a:pt x="258" y="176"/>
                </a:lnTo>
                <a:lnTo>
                  <a:pt x="258" y="172"/>
                </a:lnTo>
                <a:lnTo>
                  <a:pt x="262" y="172"/>
                </a:lnTo>
                <a:lnTo>
                  <a:pt x="264" y="172"/>
                </a:lnTo>
                <a:lnTo>
                  <a:pt x="268" y="174"/>
                </a:lnTo>
                <a:lnTo>
                  <a:pt x="268" y="18"/>
                </a:lnTo>
                <a:lnTo>
                  <a:pt x="232" y="0"/>
                </a:lnTo>
                <a:lnTo>
                  <a:pt x="214" y="12"/>
                </a:lnTo>
                <a:lnTo>
                  <a:pt x="168" y="36"/>
                </a:lnTo>
                <a:close/>
              </a:path>
            </a:pathLst>
          </a:custGeom>
          <a:solidFill>
            <a:srgbClr val="F1B728"/>
          </a:solidFill>
          <a:ln w="6350">
            <a:solidFill>
              <a:schemeClr val="tx1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457200"/>
            <a:endParaRPr lang="en-US" kern="0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33" name="Freeform 11">
            <a:extLst>
              <a:ext uri="{FF2B5EF4-FFF2-40B4-BE49-F238E27FC236}">
                <a16:creationId xmlns:a16="http://schemas.microsoft.com/office/drawing/2014/main" id="{6BCE89A6-19CD-9314-B309-D2DB4547D428}"/>
              </a:ext>
            </a:extLst>
          </p:cNvPr>
          <p:cNvSpPr>
            <a:spLocks/>
          </p:cNvSpPr>
          <p:nvPr/>
        </p:nvSpPr>
        <p:spPr bwMode="auto">
          <a:xfrm>
            <a:off x="3843020" y="2703438"/>
            <a:ext cx="426720" cy="515620"/>
          </a:xfrm>
          <a:custGeom>
            <a:avLst/>
            <a:gdLst>
              <a:gd name="T0" fmla="*/ 2147483646 w 336"/>
              <a:gd name="T1" fmla="*/ 2147483646 h 406"/>
              <a:gd name="T2" fmla="*/ 2147483646 w 336"/>
              <a:gd name="T3" fmla="*/ 2147483646 h 406"/>
              <a:gd name="T4" fmla="*/ 2147483646 w 336"/>
              <a:gd name="T5" fmla="*/ 2147483646 h 406"/>
              <a:gd name="T6" fmla="*/ 2147483646 w 336"/>
              <a:gd name="T7" fmla="*/ 2147483646 h 406"/>
              <a:gd name="T8" fmla="*/ 2147483646 w 336"/>
              <a:gd name="T9" fmla="*/ 2147483646 h 406"/>
              <a:gd name="T10" fmla="*/ 2147483646 w 336"/>
              <a:gd name="T11" fmla="*/ 2147483646 h 406"/>
              <a:gd name="T12" fmla="*/ 2147483646 w 336"/>
              <a:gd name="T13" fmla="*/ 2147483646 h 406"/>
              <a:gd name="T14" fmla="*/ 2147483646 w 336"/>
              <a:gd name="T15" fmla="*/ 2147483646 h 406"/>
              <a:gd name="T16" fmla="*/ 2147483646 w 336"/>
              <a:gd name="T17" fmla="*/ 2147483646 h 406"/>
              <a:gd name="T18" fmla="*/ 2147483646 w 336"/>
              <a:gd name="T19" fmla="*/ 2147483646 h 406"/>
              <a:gd name="T20" fmla="*/ 2147483646 w 336"/>
              <a:gd name="T21" fmla="*/ 2147483646 h 406"/>
              <a:gd name="T22" fmla="*/ 2147483646 w 336"/>
              <a:gd name="T23" fmla="*/ 2147483646 h 406"/>
              <a:gd name="T24" fmla="*/ 2147483646 w 336"/>
              <a:gd name="T25" fmla="*/ 2147483646 h 406"/>
              <a:gd name="T26" fmla="*/ 2147483646 w 336"/>
              <a:gd name="T27" fmla="*/ 2147483646 h 406"/>
              <a:gd name="T28" fmla="*/ 2147483646 w 336"/>
              <a:gd name="T29" fmla="*/ 2147483646 h 406"/>
              <a:gd name="T30" fmla="*/ 2147483646 w 336"/>
              <a:gd name="T31" fmla="*/ 2147483646 h 406"/>
              <a:gd name="T32" fmla="*/ 2147483646 w 336"/>
              <a:gd name="T33" fmla="*/ 2147483646 h 406"/>
              <a:gd name="T34" fmla="*/ 2147483646 w 336"/>
              <a:gd name="T35" fmla="*/ 2147483646 h 406"/>
              <a:gd name="T36" fmla="*/ 2147483646 w 336"/>
              <a:gd name="T37" fmla="*/ 2147483646 h 406"/>
              <a:gd name="T38" fmla="*/ 2147483646 w 336"/>
              <a:gd name="T39" fmla="*/ 2147483646 h 406"/>
              <a:gd name="T40" fmla="*/ 2147483646 w 336"/>
              <a:gd name="T41" fmla="*/ 2147483646 h 406"/>
              <a:gd name="T42" fmla="*/ 2147483646 w 336"/>
              <a:gd name="T43" fmla="*/ 2147483646 h 406"/>
              <a:gd name="T44" fmla="*/ 2147483646 w 336"/>
              <a:gd name="T45" fmla="*/ 2147483646 h 406"/>
              <a:gd name="T46" fmla="*/ 2147483646 w 336"/>
              <a:gd name="T47" fmla="*/ 2147483646 h 406"/>
              <a:gd name="T48" fmla="*/ 2147483646 w 336"/>
              <a:gd name="T49" fmla="*/ 2147483646 h 406"/>
              <a:gd name="T50" fmla="*/ 2147483646 w 336"/>
              <a:gd name="T51" fmla="*/ 2147483646 h 406"/>
              <a:gd name="T52" fmla="*/ 2147483646 w 336"/>
              <a:gd name="T53" fmla="*/ 2147483646 h 406"/>
              <a:gd name="T54" fmla="*/ 2147483646 w 336"/>
              <a:gd name="T55" fmla="*/ 2147483646 h 406"/>
              <a:gd name="T56" fmla="*/ 2147483646 w 336"/>
              <a:gd name="T57" fmla="*/ 2147483646 h 406"/>
              <a:gd name="T58" fmla="*/ 2147483646 w 336"/>
              <a:gd name="T59" fmla="*/ 2147483646 h 406"/>
              <a:gd name="T60" fmla="*/ 2147483646 w 336"/>
              <a:gd name="T61" fmla="*/ 2147483646 h 406"/>
              <a:gd name="T62" fmla="*/ 2147483646 w 336"/>
              <a:gd name="T63" fmla="*/ 2147483646 h 406"/>
              <a:gd name="T64" fmla="*/ 2147483646 w 336"/>
              <a:gd name="T65" fmla="*/ 2147483646 h 406"/>
              <a:gd name="T66" fmla="*/ 2147483646 w 336"/>
              <a:gd name="T67" fmla="*/ 2147483646 h 406"/>
              <a:gd name="T68" fmla="*/ 2147483646 w 336"/>
              <a:gd name="T69" fmla="*/ 2147483646 h 406"/>
              <a:gd name="T70" fmla="*/ 2147483646 w 336"/>
              <a:gd name="T71" fmla="*/ 2147483646 h 406"/>
              <a:gd name="T72" fmla="*/ 2147483646 w 336"/>
              <a:gd name="T73" fmla="*/ 2147483646 h 406"/>
              <a:gd name="T74" fmla="*/ 2147483646 w 336"/>
              <a:gd name="T75" fmla="*/ 2147483646 h 406"/>
              <a:gd name="T76" fmla="*/ 2147483646 w 336"/>
              <a:gd name="T77" fmla="*/ 2147483646 h 406"/>
              <a:gd name="T78" fmla="*/ 2147483646 w 336"/>
              <a:gd name="T79" fmla="*/ 2147483646 h 406"/>
              <a:gd name="T80" fmla="*/ 2147483646 w 336"/>
              <a:gd name="T81" fmla="*/ 2147483646 h 406"/>
              <a:gd name="T82" fmla="*/ 2147483646 w 336"/>
              <a:gd name="T83" fmla="*/ 2147483646 h 406"/>
              <a:gd name="T84" fmla="*/ 2147483646 w 336"/>
              <a:gd name="T85" fmla="*/ 2147483646 h 406"/>
              <a:gd name="T86" fmla="*/ 2147483646 w 336"/>
              <a:gd name="T87" fmla="*/ 2147483646 h 406"/>
              <a:gd name="T88" fmla="*/ 2147483646 w 336"/>
              <a:gd name="T89" fmla="*/ 2147483646 h 406"/>
              <a:gd name="T90" fmla="*/ 2147483646 w 336"/>
              <a:gd name="T91" fmla="*/ 2147483646 h 406"/>
              <a:gd name="T92" fmla="*/ 2147483646 w 336"/>
              <a:gd name="T93" fmla="*/ 2147483646 h 406"/>
              <a:gd name="T94" fmla="*/ 2147483646 w 336"/>
              <a:gd name="T95" fmla="*/ 2147483646 h 406"/>
              <a:gd name="T96" fmla="*/ 2147483646 w 336"/>
              <a:gd name="T97" fmla="*/ 2147483646 h 406"/>
              <a:gd name="T98" fmla="*/ 2147483646 w 336"/>
              <a:gd name="T99" fmla="*/ 2147483646 h 406"/>
              <a:gd name="T100" fmla="*/ 2147483646 w 336"/>
              <a:gd name="T101" fmla="*/ 2147483646 h 406"/>
              <a:gd name="T102" fmla="*/ 2147483646 w 336"/>
              <a:gd name="T103" fmla="*/ 0 h 406"/>
              <a:gd name="T104" fmla="*/ 2147483646 w 336"/>
              <a:gd name="T105" fmla="*/ 2147483646 h 406"/>
              <a:gd name="T106" fmla="*/ 2147483646 w 336"/>
              <a:gd name="T107" fmla="*/ 2147483646 h 406"/>
              <a:gd name="T108" fmla="*/ 2147483646 w 336"/>
              <a:gd name="T109" fmla="*/ 2147483646 h 406"/>
              <a:gd name="T110" fmla="*/ 2147483646 w 336"/>
              <a:gd name="T111" fmla="*/ 2147483646 h 406"/>
              <a:gd name="T112" fmla="*/ 2147483646 w 336"/>
              <a:gd name="T113" fmla="*/ 2147483646 h 406"/>
              <a:gd name="T114" fmla="*/ 2147483646 w 336"/>
              <a:gd name="T115" fmla="*/ 2147483646 h 406"/>
              <a:gd name="T116" fmla="*/ 2147483646 w 336"/>
              <a:gd name="T117" fmla="*/ 2147483646 h 406"/>
              <a:gd name="T118" fmla="*/ 2147483646 w 336"/>
              <a:gd name="T119" fmla="*/ 2147483646 h 406"/>
              <a:gd name="T120" fmla="*/ 2147483646 w 336"/>
              <a:gd name="T121" fmla="*/ 2147483646 h 406"/>
              <a:gd name="T122" fmla="*/ 2147483646 w 336"/>
              <a:gd name="T123" fmla="*/ 2147483646 h 406"/>
              <a:gd name="T124" fmla="*/ 2147483646 w 336"/>
              <a:gd name="T125" fmla="*/ 2147483646 h 40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60000 65536"/>
              <a:gd name="T187" fmla="*/ 0 60000 65536"/>
              <a:gd name="T188" fmla="*/ 0 60000 65536"/>
              <a:gd name="T189" fmla="*/ 0 w 336"/>
              <a:gd name="T190" fmla="*/ 0 h 406"/>
              <a:gd name="T191" fmla="*/ 336 w 336"/>
              <a:gd name="T192" fmla="*/ 406 h 406"/>
            </a:gdLst>
            <a:ahLst/>
            <a:cxnLst>
              <a:cxn ang="T126">
                <a:pos x="T0" y="T1"/>
              </a:cxn>
              <a:cxn ang="T127">
                <a:pos x="T2" y="T3"/>
              </a:cxn>
              <a:cxn ang="T128">
                <a:pos x="T4" y="T5"/>
              </a:cxn>
              <a:cxn ang="T129">
                <a:pos x="T6" y="T7"/>
              </a:cxn>
              <a:cxn ang="T130">
                <a:pos x="T8" y="T9"/>
              </a:cxn>
              <a:cxn ang="T131">
                <a:pos x="T10" y="T11"/>
              </a:cxn>
              <a:cxn ang="T132">
                <a:pos x="T12" y="T13"/>
              </a:cxn>
              <a:cxn ang="T133">
                <a:pos x="T14" y="T15"/>
              </a:cxn>
              <a:cxn ang="T134">
                <a:pos x="T16" y="T17"/>
              </a:cxn>
              <a:cxn ang="T135">
                <a:pos x="T18" y="T19"/>
              </a:cxn>
              <a:cxn ang="T136">
                <a:pos x="T20" y="T21"/>
              </a:cxn>
              <a:cxn ang="T137">
                <a:pos x="T22" y="T23"/>
              </a:cxn>
              <a:cxn ang="T138">
                <a:pos x="T24" y="T25"/>
              </a:cxn>
              <a:cxn ang="T139">
                <a:pos x="T26" y="T27"/>
              </a:cxn>
              <a:cxn ang="T140">
                <a:pos x="T28" y="T29"/>
              </a:cxn>
              <a:cxn ang="T141">
                <a:pos x="T30" y="T31"/>
              </a:cxn>
              <a:cxn ang="T142">
                <a:pos x="T32" y="T33"/>
              </a:cxn>
              <a:cxn ang="T143">
                <a:pos x="T34" y="T35"/>
              </a:cxn>
              <a:cxn ang="T144">
                <a:pos x="T36" y="T37"/>
              </a:cxn>
              <a:cxn ang="T145">
                <a:pos x="T38" y="T39"/>
              </a:cxn>
              <a:cxn ang="T146">
                <a:pos x="T40" y="T41"/>
              </a:cxn>
              <a:cxn ang="T147">
                <a:pos x="T42" y="T43"/>
              </a:cxn>
              <a:cxn ang="T148">
                <a:pos x="T44" y="T45"/>
              </a:cxn>
              <a:cxn ang="T149">
                <a:pos x="T46" y="T47"/>
              </a:cxn>
              <a:cxn ang="T150">
                <a:pos x="T48" y="T49"/>
              </a:cxn>
              <a:cxn ang="T151">
                <a:pos x="T50" y="T51"/>
              </a:cxn>
              <a:cxn ang="T152">
                <a:pos x="T52" y="T53"/>
              </a:cxn>
              <a:cxn ang="T153">
                <a:pos x="T54" y="T55"/>
              </a:cxn>
              <a:cxn ang="T154">
                <a:pos x="T56" y="T57"/>
              </a:cxn>
              <a:cxn ang="T155">
                <a:pos x="T58" y="T59"/>
              </a:cxn>
              <a:cxn ang="T156">
                <a:pos x="T60" y="T61"/>
              </a:cxn>
              <a:cxn ang="T157">
                <a:pos x="T62" y="T63"/>
              </a:cxn>
              <a:cxn ang="T158">
                <a:pos x="T64" y="T65"/>
              </a:cxn>
              <a:cxn ang="T159">
                <a:pos x="T66" y="T67"/>
              </a:cxn>
              <a:cxn ang="T160">
                <a:pos x="T68" y="T69"/>
              </a:cxn>
              <a:cxn ang="T161">
                <a:pos x="T70" y="T71"/>
              </a:cxn>
              <a:cxn ang="T162">
                <a:pos x="T72" y="T73"/>
              </a:cxn>
              <a:cxn ang="T163">
                <a:pos x="T74" y="T75"/>
              </a:cxn>
              <a:cxn ang="T164">
                <a:pos x="T76" y="T77"/>
              </a:cxn>
              <a:cxn ang="T165">
                <a:pos x="T78" y="T79"/>
              </a:cxn>
              <a:cxn ang="T166">
                <a:pos x="T80" y="T81"/>
              </a:cxn>
              <a:cxn ang="T167">
                <a:pos x="T82" y="T83"/>
              </a:cxn>
              <a:cxn ang="T168">
                <a:pos x="T84" y="T85"/>
              </a:cxn>
              <a:cxn ang="T169">
                <a:pos x="T86" y="T87"/>
              </a:cxn>
              <a:cxn ang="T170">
                <a:pos x="T88" y="T89"/>
              </a:cxn>
              <a:cxn ang="T171">
                <a:pos x="T90" y="T91"/>
              </a:cxn>
              <a:cxn ang="T172">
                <a:pos x="T92" y="T93"/>
              </a:cxn>
              <a:cxn ang="T173">
                <a:pos x="T94" y="T95"/>
              </a:cxn>
              <a:cxn ang="T174">
                <a:pos x="T96" y="T97"/>
              </a:cxn>
              <a:cxn ang="T175">
                <a:pos x="T98" y="T99"/>
              </a:cxn>
              <a:cxn ang="T176">
                <a:pos x="T100" y="T101"/>
              </a:cxn>
              <a:cxn ang="T177">
                <a:pos x="T102" y="T103"/>
              </a:cxn>
              <a:cxn ang="T178">
                <a:pos x="T104" y="T105"/>
              </a:cxn>
              <a:cxn ang="T179">
                <a:pos x="T106" y="T107"/>
              </a:cxn>
              <a:cxn ang="T180">
                <a:pos x="T108" y="T109"/>
              </a:cxn>
              <a:cxn ang="T181">
                <a:pos x="T110" y="T111"/>
              </a:cxn>
              <a:cxn ang="T182">
                <a:pos x="T112" y="T113"/>
              </a:cxn>
              <a:cxn ang="T183">
                <a:pos x="T114" y="T115"/>
              </a:cxn>
              <a:cxn ang="T184">
                <a:pos x="T116" y="T117"/>
              </a:cxn>
              <a:cxn ang="T185">
                <a:pos x="T118" y="T119"/>
              </a:cxn>
              <a:cxn ang="T186">
                <a:pos x="T120" y="T121"/>
              </a:cxn>
              <a:cxn ang="T187">
                <a:pos x="T122" y="T123"/>
              </a:cxn>
              <a:cxn ang="T188">
                <a:pos x="T124" y="T125"/>
              </a:cxn>
            </a:cxnLst>
            <a:rect l="T189" t="T190" r="T191" b="T192"/>
            <a:pathLst>
              <a:path w="336" h="406">
                <a:moveTo>
                  <a:pt x="0" y="200"/>
                </a:moveTo>
                <a:lnTo>
                  <a:pt x="32" y="266"/>
                </a:lnTo>
                <a:lnTo>
                  <a:pt x="48" y="296"/>
                </a:lnTo>
                <a:lnTo>
                  <a:pt x="88" y="386"/>
                </a:lnTo>
                <a:lnTo>
                  <a:pt x="132" y="392"/>
                </a:lnTo>
                <a:lnTo>
                  <a:pt x="160" y="402"/>
                </a:lnTo>
                <a:lnTo>
                  <a:pt x="184" y="406"/>
                </a:lnTo>
                <a:lnTo>
                  <a:pt x="188" y="404"/>
                </a:lnTo>
                <a:lnTo>
                  <a:pt x="190" y="400"/>
                </a:lnTo>
                <a:lnTo>
                  <a:pt x="192" y="398"/>
                </a:lnTo>
                <a:lnTo>
                  <a:pt x="194" y="398"/>
                </a:lnTo>
                <a:lnTo>
                  <a:pt x="194" y="390"/>
                </a:lnTo>
                <a:lnTo>
                  <a:pt x="194" y="388"/>
                </a:lnTo>
                <a:lnTo>
                  <a:pt x="200" y="386"/>
                </a:lnTo>
                <a:lnTo>
                  <a:pt x="202" y="384"/>
                </a:lnTo>
                <a:lnTo>
                  <a:pt x="204" y="380"/>
                </a:lnTo>
                <a:lnTo>
                  <a:pt x="204" y="372"/>
                </a:lnTo>
                <a:lnTo>
                  <a:pt x="208" y="370"/>
                </a:lnTo>
                <a:lnTo>
                  <a:pt x="210" y="368"/>
                </a:lnTo>
                <a:lnTo>
                  <a:pt x="214" y="364"/>
                </a:lnTo>
                <a:lnTo>
                  <a:pt x="218" y="362"/>
                </a:lnTo>
                <a:lnTo>
                  <a:pt x="220" y="360"/>
                </a:lnTo>
                <a:lnTo>
                  <a:pt x="220" y="356"/>
                </a:lnTo>
                <a:lnTo>
                  <a:pt x="220" y="354"/>
                </a:lnTo>
                <a:lnTo>
                  <a:pt x="220" y="352"/>
                </a:lnTo>
                <a:lnTo>
                  <a:pt x="222" y="352"/>
                </a:lnTo>
                <a:lnTo>
                  <a:pt x="222" y="350"/>
                </a:lnTo>
                <a:lnTo>
                  <a:pt x="224" y="350"/>
                </a:lnTo>
                <a:lnTo>
                  <a:pt x="226" y="348"/>
                </a:lnTo>
                <a:lnTo>
                  <a:pt x="236" y="352"/>
                </a:lnTo>
                <a:lnTo>
                  <a:pt x="238" y="350"/>
                </a:lnTo>
                <a:lnTo>
                  <a:pt x="246" y="352"/>
                </a:lnTo>
                <a:lnTo>
                  <a:pt x="248" y="350"/>
                </a:lnTo>
                <a:lnTo>
                  <a:pt x="256" y="346"/>
                </a:lnTo>
                <a:lnTo>
                  <a:pt x="260" y="336"/>
                </a:lnTo>
                <a:lnTo>
                  <a:pt x="262" y="334"/>
                </a:lnTo>
                <a:lnTo>
                  <a:pt x="266" y="334"/>
                </a:lnTo>
                <a:lnTo>
                  <a:pt x="274" y="330"/>
                </a:lnTo>
                <a:lnTo>
                  <a:pt x="278" y="320"/>
                </a:lnTo>
                <a:lnTo>
                  <a:pt x="278" y="316"/>
                </a:lnTo>
                <a:lnTo>
                  <a:pt x="282" y="314"/>
                </a:lnTo>
                <a:lnTo>
                  <a:pt x="280" y="308"/>
                </a:lnTo>
                <a:lnTo>
                  <a:pt x="280" y="302"/>
                </a:lnTo>
                <a:lnTo>
                  <a:pt x="282" y="306"/>
                </a:lnTo>
                <a:lnTo>
                  <a:pt x="288" y="310"/>
                </a:lnTo>
                <a:lnTo>
                  <a:pt x="292" y="310"/>
                </a:lnTo>
                <a:lnTo>
                  <a:pt x="296" y="310"/>
                </a:lnTo>
                <a:lnTo>
                  <a:pt x="304" y="308"/>
                </a:lnTo>
                <a:lnTo>
                  <a:pt x="310" y="300"/>
                </a:lnTo>
                <a:lnTo>
                  <a:pt x="310" y="296"/>
                </a:lnTo>
                <a:lnTo>
                  <a:pt x="312" y="294"/>
                </a:lnTo>
                <a:lnTo>
                  <a:pt x="314" y="294"/>
                </a:lnTo>
                <a:lnTo>
                  <a:pt x="318" y="298"/>
                </a:lnTo>
                <a:lnTo>
                  <a:pt x="326" y="292"/>
                </a:lnTo>
                <a:lnTo>
                  <a:pt x="332" y="290"/>
                </a:lnTo>
                <a:lnTo>
                  <a:pt x="334" y="288"/>
                </a:lnTo>
                <a:lnTo>
                  <a:pt x="334" y="282"/>
                </a:lnTo>
                <a:lnTo>
                  <a:pt x="330" y="282"/>
                </a:lnTo>
                <a:lnTo>
                  <a:pt x="330" y="280"/>
                </a:lnTo>
                <a:lnTo>
                  <a:pt x="334" y="276"/>
                </a:lnTo>
                <a:lnTo>
                  <a:pt x="336" y="274"/>
                </a:lnTo>
                <a:lnTo>
                  <a:pt x="334" y="272"/>
                </a:lnTo>
                <a:lnTo>
                  <a:pt x="328" y="266"/>
                </a:lnTo>
                <a:lnTo>
                  <a:pt x="322" y="264"/>
                </a:lnTo>
                <a:lnTo>
                  <a:pt x="314" y="266"/>
                </a:lnTo>
                <a:lnTo>
                  <a:pt x="312" y="266"/>
                </a:lnTo>
                <a:lnTo>
                  <a:pt x="310" y="264"/>
                </a:lnTo>
                <a:lnTo>
                  <a:pt x="308" y="260"/>
                </a:lnTo>
                <a:lnTo>
                  <a:pt x="306" y="260"/>
                </a:lnTo>
                <a:lnTo>
                  <a:pt x="304" y="258"/>
                </a:lnTo>
                <a:lnTo>
                  <a:pt x="300" y="254"/>
                </a:lnTo>
                <a:lnTo>
                  <a:pt x="300" y="248"/>
                </a:lnTo>
                <a:lnTo>
                  <a:pt x="304" y="246"/>
                </a:lnTo>
                <a:lnTo>
                  <a:pt x="306" y="246"/>
                </a:lnTo>
                <a:lnTo>
                  <a:pt x="310" y="248"/>
                </a:lnTo>
                <a:lnTo>
                  <a:pt x="314" y="252"/>
                </a:lnTo>
                <a:lnTo>
                  <a:pt x="316" y="248"/>
                </a:lnTo>
                <a:lnTo>
                  <a:pt x="318" y="244"/>
                </a:lnTo>
                <a:lnTo>
                  <a:pt x="314" y="242"/>
                </a:lnTo>
                <a:lnTo>
                  <a:pt x="314" y="238"/>
                </a:lnTo>
                <a:lnTo>
                  <a:pt x="308" y="236"/>
                </a:lnTo>
                <a:lnTo>
                  <a:pt x="306" y="234"/>
                </a:lnTo>
                <a:lnTo>
                  <a:pt x="304" y="228"/>
                </a:lnTo>
                <a:lnTo>
                  <a:pt x="298" y="222"/>
                </a:lnTo>
                <a:lnTo>
                  <a:pt x="296" y="222"/>
                </a:lnTo>
                <a:lnTo>
                  <a:pt x="294" y="220"/>
                </a:lnTo>
                <a:lnTo>
                  <a:pt x="290" y="218"/>
                </a:lnTo>
                <a:lnTo>
                  <a:pt x="288" y="216"/>
                </a:lnTo>
                <a:lnTo>
                  <a:pt x="284" y="212"/>
                </a:lnTo>
                <a:lnTo>
                  <a:pt x="282" y="210"/>
                </a:lnTo>
                <a:lnTo>
                  <a:pt x="280" y="208"/>
                </a:lnTo>
                <a:lnTo>
                  <a:pt x="282" y="206"/>
                </a:lnTo>
                <a:lnTo>
                  <a:pt x="282" y="204"/>
                </a:lnTo>
                <a:lnTo>
                  <a:pt x="284" y="204"/>
                </a:lnTo>
                <a:lnTo>
                  <a:pt x="288" y="202"/>
                </a:lnTo>
                <a:lnTo>
                  <a:pt x="292" y="198"/>
                </a:lnTo>
                <a:lnTo>
                  <a:pt x="292" y="192"/>
                </a:lnTo>
                <a:lnTo>
                  <a:pt x="292" y="188"/>
                </a:lnTo>
                <a:lnTo>
                  <a:pt x="288" y="184"/>
                </a:lnTo>
                <a:lnTo>
                  <a:pt x="280" y="186"/>
                </a:lnTo>
                <a:lnTo>
                  <a:pt x="278" y="186"/>
                </a:lnTo>
                <a:lnTo>
                  <a:pt x="274" y="186"/>
                </a:lnTo>
                <a:lnTo>
                  <a:pt x="272" y="186"/>
                </a:lnTo>
                <a:lnTo>
                  <a:pt x="270" y="180"/>
                </a:lnTo>
                <a:lnTo>
                  <a:pt x="274" y="176"/>
                </a:lnTo>
                <a:lnTo>
                  <a:pt x="278" y="172"/>
                </a:lnTo>
                <a:lnTo>
                  <a:pt x="280" y="164"/>
                </a:lnTo>
                <a:lnTo>
                  <a:pt x="282" y="164"/>
                </a:lnTo>
                <a:lnTo>
                  <a:pt x="288" y="162"/>
                </a:lnTo>
                <a:lnTo>
                  <a:pt x="288" y="154"/>
                </a:lnTo>
                <a:lnTo>
                  <a:pt x="290" y="152"/>
                </a:lnTo>
                <a:lnTo>
                  <a:pt x="296" y="148"/>
                </a:lnTo>
                <a:lnTo>
                  <a:pt x="298" y="150"/>
                </a:lnTo>
                <a:lnTo>
                  <a:pt x="300" y="148"/>
                </a:lnTo>
                <a:lnTo>
                  <a:pt x="304" y="144"/>
                </a:lnTo>
                <a:lnTo>
                  <a:pt x="304" y="136"/>
                </a:lnTo>
                <a:lnTo>
                  <a:pt x="308" y="132"/>
                </a:lnTo>
                <a:lnTo>
                  <a:pt x="308" y="128"/>
                </a:lnTo>
                <a:lnTo>
                  <a:pt x="316" y="126"/>
                </a:lnTo>
                <a:lnTo>
                  <a:pt x="316" y="120"/>
                </a:lnTo>
                <a:lnTo>
                  <a:pt x="316" y="116"/>
                </a:lnTo>
                <a:lnTo>
                  <a:pt x="318" y="112"/>
                </a:lnTo>
                <a:lnTo>
                  <a:pt x="328" y="110"/>
                </a:lnTo>
                <a:lnTo>
                  <a:pt x="330" y="100"/>
                </a:lnTo>
                <a:lnTo>
                  <a:pt x="328" y="96"/>
                </a:lnTo>
                <a:lnTo>
                  <a:pt x="322" y="94"/>
                </a:lnTo>
                <a:lnTo>
                  <a:pt x="318" y="92"/>
                </a:lnTo>
                <a:lnTo>
                  <a:pt x="318" y="90"/>
                </a:lnTo>
                <a:lnTo>
                  <a:pt x="326" y="86"/>
                </a:lnTo>
                <a:lnTo>
                  <a:pt x="324" y="84"/>
                </a:lnTo>
                <a:lnTo>
                  <a:pt x="324" y="80"/>
                </a:lnTo>
                <a:lnTo>
                  <a:pt x="326" y="74"/>
                </a:lnTo>
                <a:lnTo>
                  <a:pt x="324" y="72"/>
                </a:lnTo>
                <a:lnTo>
                  <a:pt x="322" y="68"/>
                </a:lnTo>
                <a:lnTo>
                  <a:pt x="318" y="64"/>
                </a:lnTo>
                <a:lnTo>
                  <a:pt x="318" y="60"/>
                </a:lnTo>
                <a:lnTo>
                  <a:pt x="318" y="58"/>
                </a:lnTo>
                <a:lnTo>
                  <a:pt x="316" y="50"/>
                </a:lnTo>
                <a:lnTo>
                  <a:pt x="318" y="46"/>
                </a:lnTo>
                <a:lnTo>
                  <a:pt x="326" y="44"/>
                </a:lnTo>
                <a:lnTo>
                  <a:pt x="326" y="36"/>
                </a:lnTo>
                <a:lnTo>
                  <a:pt x="324" y="28"/>
                </a:lnTo>
                <a:lnTo>
                  <a:pt x="322" y="22"/>
                </a:lnTo>
                <a:lnTo>
                  <a:pt x="318" y="20"/>
                </a:lnTo>
                <a:lnTo>
                  <a:pt x="310" y="20"/>
                </a:lnTo>
                <a:lnTo>
                  <a:pt x="310" y="18"/>
                </a:lnTo>
                <a:lnTo>
                  <a:pt x="310" y="12"/>
                </a:lnTo>
                <a:lnTo>
                  <a:pt x="306" y="12"/>
                </a:lnTo>
                <a:lnTo>
                  <a:pt x="300" y="12"/>
                </a:lnTo>
                <a:lnTo>
                  <a:pt x="298" y="14"/>
                </a:lnTo>
                <a:lnTo>
                  <a:pt x="294" y="18"/>
                </a:lnTo>
                <a:lnTo>
                  <a:pt x="292" y="12"/>
                </a:lnTo>
                <a:lnTo>
                  <a:pt x="292" y="6"/>
                </a:lnTo>
                <a:lnTo>
                  <a:pt x="292" y="2"/>
                </a:lnTo>
                <a:lnTo>
                  <a:pt x="288" y="0"/>
                </a:lnTo>
                <a:lnTo>
                  <a:pt x="282" y="0"/>
                </a:lnTo>
                <a:lnTo>
                  <a:pt x="276" y="2"/>
                </a:lnTo>
                <a:lnTo>
                  <a:pt x="274" y="4"/>
                </a:lnTo>
                <a:lnTo>
                  <a:pt x="274" y="8"/>
                </a:lnTo>
                <a:lnTo>
                  <a:pt x="272" y="10"/>
                </a:lnTo>
                <a:lnTo>
                  <a:pt x="266" y="8"/>
                </a:lnTo>
                <a:lnTo>
                  <a:pt x="264" y="4"/>
                </a:lnTo>
                <a:lnTo>
                  <a:pt x="260" y="0"/>
                </a:lnTo>
                <a:lnTo>
                  <a:pt x="256" y="0"/>
                </a:lnTo>
                <a:lnTo>
                  <a:pt x="254" y="2"/>
                </a:lnTo>
                <a:lnTo>
                  <a:pt x="246" y="6"/>
                </a:lnTo>
                <a:lnTo>
                  <a:pt x="242" y="4"/>
                </a:lnTo>
                <a:lnTo>
                  <a:pt x="236" y="8"/>
                </a:lnTo>
                <a:lnTo>
                  <a:pt x="226" y="8"/>
                </a:lnTo>
                <a:lnTo>
                  <a:pt x="224" y="10"/>
                </a:lnTo>
                <a:lnTo>
                  <a:pt x="222" y="14"/>
                </a:lnTo>
                <a:lnTo>
                  <a:pt x="220" y="20"/>
                </a:lnTo>
                <a:lnTo>
                  <a:pt x="214" y="20"/>
                </a:lnTo>
                <a:lnTo>
                  <a:pt x="212" y="20"/>
                </a:lnTo>
                <a:lnTo>
                  <a:pt x="210" y="22"/>
                </a:lnTo>
                <a:lnTo>
                  <a:pt x="208" y="24"/>
                </a:lnTo>
                <a:lnTo>
                  <a:pt x="204" y="24"/>
                </a:lnTo>
                <a:lnTo>
                  <a:pt x="200" y="22"/>
                </a:lnTo>
                <a:lnTo>
                  <a:pt x="196" y="22"/>
                </a:lnTo>
                <a:lnTo>
                  <a:pt x="196" y="26"/>
                </a:lnTo>
                <a:lnTo>
                  <a:pt x="192" y="26"/>
                </a:lnTo>
                <a:lnTo>
                  <a:pt x="192" y="22"/>
                </a:lnTo>
                <a:lnTo>
                  <a:pt x="190" y="20"/>
                </a:lnTo>
                <a:lnTo>
                  <a:pt x="188" y="22"/>
                </a:lnTo>
                <a:lnTo>
                  <a:pt x="174" y="24"/>
                </a:lnTo>
                <a:lnTo>
                  <a:pt x="158" y="60"/>
                </a:lnTo>
                <a:lnTo>
                  <a:pt x="84" y="112"/>
                </a:lnTo>
                <a:lnTo>
                  <a:pt x="74" y="118"/>
                </a:lnTo>
                <a:lnTo>
                  <a:pt x="22" y="174"/>
                </a:lnTo>
                <a:lnTo>
                  <a:pt x="12" y="186"/>
                </a:lnTo>
                <a:lnTo>
                  <a:pt x="0" y="200"/>
                </a:lnTo>
                <a:close/>
              </a:path>
            </a:pathLst>
          </a:custGeom>
          <a:solidFill>
            <a:srgbClr val="F1B728"/>
          </a:solidFill>
          <a:ln w="6350">
            <a:solidFill>
              <a:schemeClr val="tx1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457200"/>
            <a:endParaRPr lang="en-US" kern="0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34" name="Freeform 12">
            <a:extLst>
              <a:ext uri="{FF2B5EF4-FFF2-40B4-BE49-F238E27FC236}">
                <a16:creationId xmlns:a16="http://schemas.microsoft.com/office/drawing/2014/main" id="{3E52741C-2037-7B53-A16A-66E61A187ACE}"/>
              </a:ext>
            </a:extLst>
          </p:cNvPr>
          <p:cNvSpPr>
            <a:spLocks/>
          </p:cNvSpPr>
          <p:nvPr/>
        </p:nvSpPr>
        <p:spPr bwMode="auto">
          <a:xfrm>
            <a:off x="4185920" y="2672080"/>
            <a:ext cx="485140" cy="530860"/>
          </a:xfrm>
          <a:custGeom>
            <a:avLst/>
            <a:gdLst>
              <a:gd name="T0" fmla="*/ 2147483646 w 382"/>
              <a:gd name="T1" fmla="*/ 2147483646 h 418"/>
              <a:gd name="T2" fmla="*/ 2147483646 w 382"/>
              <a:gd name="T3" fmla="*/ 2147483646 h 418"/>
              <a:gd name="T4" fmla="*/ 2147483646 w 382"/>
              <a:gd name="T5" fmla="*/ 2147483646 h 418"/>
              <a:gd name="T6" fmla="*/ 2147483646 w 382"/>
              <a:gd name="T7" fmla="*/ 2147483646 h 418"/>
              <a:gd name="T8" fmla="*/ 2147483646 w 382"/>
              <a:gd name="T9" fmla="*/ 2147483646 h 418"/>
              <a:gd name="T10" fmla="*/ 2147483646 w 382"/>
              <a:gd name="T11" fmla="*/ 2147483646 h 418"/>
              <a:gd name="T12" fmla="*/ 2147483646 w 382"/>
              <a:gd name="T13" fmla="*/ 2147483646 h 418"/>
              <a:gd name="T14" fmla="*/ 2147483646 w 382"/>
              <a:gd name="T15" fmla="*/ 2147483646 h 418"/>
              <a:gd name="T16" fmla="*/ 2147483646 w 382"/>
              <a:gd name="T17" fmla="*/ 2147483646 h 418"/>
              <a:gd name="T18" fmla="*/ 2147483646 w 382"/>
              <a:gd name="T19" fmla="*/ 2147483646 h 418"/>
              <a:gd name="T20" fmla="*/ 2147483646 w 382"/>
              <a:gd name="T21" fmla="*/ 2147483646 h 418"/>
              <a:gd name="T22" fmla="*/ 2147483646 w 382"/>
              <a:gd name="T23" fmla="*/ 2147483646 h 418"/>
              <a:gd name="T24" fmla="*/ 2147483646 w 382"/>
              <a:gd name="T25" fmla="*/ 2147483646 h 418"/>
              <a:gd name="T26" fmla="*/ 2147483646 w 382"/>
              <a:gd name="T27" fmla="*/ 2147483646 h 418"/>
              <a:gd name="T28" fmla="*/ 2147483646 w 382"/>
              <a:gd name="T29" fmla="*/ 2147483646 h 418"/>
              <a:gd name="T30" fmla="*/ 2147483646 w 382"/>
              <a:gd name="T31" fmla="*/ 2147483646 h 418"/>
              <a:gd name="T32" fmla="*/ 2147483646 w 382"/>
              <a:gd name="T33" fmla="*/ 2147483646 h 418"/>
              <a:gd name="T34" fmla="*/ 2147483646 w 382"/>
              <a:gd name="T35" fmla="*/ 2147483646 h 418"/>
              <a:gd name="T36" fmla="*/ 2147483646 w 382"/>
              <a:gd name="T37" fmla="*/ 2147483646 h 418"/>
              <a:gd name="T38" fmla="*/ 2147483646 w 382"/>
              <a:gd name="T39" fmla="*/ 2147483646 h 418"/>
              <a:gd name="T40" fmla="*/ 2147483646 w 382"/>
              <a:gd name="T41" fmla="*/ 2147483646 h 418"/>
              <a:gd name="T42" fmla="*/ 2147483646 w 382"/>
              <a:gd name="T43" fmla="*/ 2147483646 h 418"/>
              <a:gd name="T44" fmla="*/ 2147483646 w 382"/>
              <a:gd name="T45" fmla="*/ 2147483646 h 418"/>
              <a:gd name="T46" fmla="*/ 2147483646 w 382"/>
              <a:gd name="T47" fmla="*/ 2147483646 h 418"/>
              <a:gd name="T48" fmla="*/ 2147483646 w 382"/>
              <a:gd name="T49" fmla="*/ 2147483646 h 418"/>
              <a:gd name="T50" fmla="*/ 2147483646 w 382"/>
              <a:gd name="T51" fmla="*/ 2147483646 h 418"/>
              <a:gd name="T52" fmla="*/ 2147483646 w 382"/>
              <a:gd name="T53" fmla="*/ 2147483646 h 418"/>
              <a:gd name="T54" fmla="*/ 2147483646 w 382"/>
              <a:gd name="T55" fmla="*/ 2147483646 h 418"/>
              <a:gd name="T56" fmla="*/ 2147483646 w 382"/>
              <a:gd name="T57" fmla="*/ 2147483646 h 418"/>
              <a:gd name="T58" fmla="*/ 2147483646 w 382"/>
              <a:gd name="T59" fmla="*/ 2147483646 h 418"/>
              <a:gd name="T60" fmla="*/ 2147483646 w 382"/>
              <a:gd name="T61" fmla="*/ 2147483646 h 418"/>
              <a:gd name="T62" fmla="*/ 2147483646 w 382"/>
              <a:gd name="T63" fmla="*/ 2147483646 h 418"/>
              <a:gd name="T64" fmla="*/ 2147483646 w 382"/>
              <a:gd name="T65" fmla="*/ 2147483646 h 418"/>
              <a:gd name="T66" fmla="*/ 2147483646 w 382"/>
              <a:gd name="T67" fmla="*/ 2147483646 h 418"/>
              <a:gd name="T68" fmla="*/ 2147483646 w 382"/>
              <a:gd name="T69" fmla="*/ 2147483646 h 418"/>
              <a:gd name="T70" fmla="*/ 2147483646 w 382"/>
              <a:gd name="T71" fmla="*/ 2147483646 h 418"/>
              <a:gd name="T72" fmla="*/ 2147483646 w 382"/>
              <a:gd name="T73" fmla="*/ 2147483646 h 418"/>
              <a:gd name="T74" fmla="*/ 2147483646 w 382"/>
              <a:gd name="T75" fmla="*/ 2147483646 h 418"/>
              <a:gd name="T76" fmla="*/ 2147483646 w 382"/>
              <a:gd name="T77" fmla="*/ 2147483646 h 418"/>
              <a:gd name="T78" fmla="*/ 2147483646 w 382"/>
              <a:gd name="T79" fmla="*/ 2147483646 h 418"/>
              <a:gd name="T80" fmla="*/ 2147483646 w 382"/>
              <a:gd name="T81" fmla="*/ 2147483646 h 418"/>
              <a:gd name="T82" fmla="*/ 2147483646 w 382"/>
              <a:gd name="T83" fmla="*/ 2147483646 h 418"/>
              <a:gd name="T84" fmla="*/ 2147483646 w 382"/>
              <a:gd name="T85" fmla="*/ 2147483646 h 418"/>
              <a:gd name="T86" fmla="*/ 2147483646 w 382"/>
              <a:gd name="T87" fmla="*/ 2147483646 h 418"/>
              <a:gd name="T88" fmla="*/ 2147483646 w 382"/>
              <a:gd name="T89" fmla="*/ 2147483646 h 418"/>
              <a:gd name="T90" fmla="*/ 2147483646 w 382"/>
              <a:gd name="T91" fmla="*/ 2147483646 h 418"/>
              <a:gd name="T92" fmla="*/ 2147483646 w 382"/>
              <a:gd name="T93" fmla="*/ 2147483646 h 418"/>
              <a:gd name="T94" fmla="*/ 2147483646 w 382"/>
              <a:gd name="T95" fmla="*/ 2147483646 h 418"/>
              <a:gd name="T96" fmla="*/ 2147483646 w 382"/>
              <a:gd name="T97" fmla="*/ 2147483646 h 418"/>
              <a:gd name="T98" fmla="*/ 2147483646 w 382"/>
              <a:gd name="T99" fmla="*/ 2147483646 h 418"/>
              <a:gd name="T100" fmla="*/ 2147483646 w 382"/>
              <a:gd name="T101" fmla="*/ 0 h 418"/>
              <a:gd name="T102" fmla="*/ 2147483646 w 382"/>
              <a:gd name="T103" fmla="*/ 2147483646 h 418"/>
              <a:gd name="T104" fmla="*/ 2147483646 w 382"/>
              <a:gd name="T105" fmla="*/ 2147483646 h 418"/>
              <a:gd name="T106" fmla="*/ 2147483646 w 382"/>
              <a:gd name="T107" fmla="*/ 2147483646 h 418"/>
              <a:gd name="T108" fmla="*/ 2147483646 w 382"/>
              <a:gd name="T109" fmla="*/ 2147483646 h 418"/>
              <a:gd name="T110" fmla="*/ 2147483646 w 382"/>
              <a:gd name="T111" fmla="*/ 2147483646 h 418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w 382"/>
              <a:gd name="T169" fmla="*/ 0 h 418"/>
              <a:gd name="T170" fmla="*/ 382 w 382"/>
              <a:gd name="T171" fmla="*/ 418 h 418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T168" t="T169" r="T170" b="T171"/>
            <a:pathLst>
              <a:path w="382" h="418">
                <a:moveTo>
                  <a:pt x="56" y="58"/>
                </a:moveTo>
                <a:lnTo>
                  <a:pt x="56" y="66"/>
                </a:lnTo>
                <a:lnTo>
                  <a:pt x="48" y="68"/>
                </a:lnTo>
                <a:lnTo>
                  <a:pt x="46" y="72"/>
                </a:lnTo>
                <a:lnTo>
                  <a:pt x="48" y="80"/>
                </a:lnTo>
                <a:lnTo>
                  <a:pt x="48" y="82"/>
                </a:lnTo>
                <a:lnTo>
                  <a:pt x="48" y="86"/>
                </a:lnTo>
                <a:lnTo>
                  <a:pt x="52" y="90"/>
                </a:lnTo>
                <a:lnTo>
                  <a:pt x="54" y="94"/>
                </a:lnTo>
                <a:lnTo>
                  <a:pt x="56" y="96"/>
                </a:lnTo>
                <a:lnTo>
                  <a:pt x="54" y="102"/>
                </a:lnTo>
                <a:lnTo>
                  <a:pt x="54" y="106"/>
                </a:lnTo>
                <a:lnTo>
                  <a:pt x="56" y="108"/>
                </a:lnTo>
                <a:lnTo>
                  <a:pt x="48" y="112"/>
                </a:lnTo>
                <a:lnTo>
                  <a:pt x="48" y="114"/>
                </a:lnTo>
                <a:lnTo>
                  <a:pt x="52" y="116"/>
                </a:lnTo>
                <a:lnTo>
                  <a:pt x="58" y="118"/>
                </a:lnTo>
                <a:lnTo>
                  <a:pt x="60" y="122"/>
                </a:lnTo>
                <a:lnTo>
                  <a:pt x="58" y="132"/>
                </a:lnTo>
                <a:lnTo>
                  <a:pt x="48" y="134"/>
                </a:lnTo>
                <a:lnTo>
                  <a:pt x="46" y="138"/>
                </a:lnTo>
                <a:lnTo>
                  <a:pt x="46" y="142"/>
                </a:lnTo>
                <a:lnTo>
                  <a:pt x="46" y="148"/>
                </a:lnTo>
                <a:lnTo>
                  <a:pt x="38" y="150"/>
                </a:lnTo>
                <a:lnTo>
                  <a:pt x="38" y="154"/>
                </a:lnTo>
                <a:lnTo>
                  <a:pt x="34" y="158"/>
                </a:lnTo>
                <a:lnTo>
                  <a:pt x="34" y="166"/>
                </a:lnTo>
                <a:lnTo>
                  <a:pt x="30" y="170"/>
                </a:lnTo>
                <a:lnTo>
                  <a:pt x="28" y="172"/>
                </a:lnTo>
                <a:lnTo>
                  <a:pt x="26" y="170"/>
                </a:lnTo>
                <a:lnTo>
                  <a:pt x="20" y="174"/>
                </a:lnTo>
                <a:lnTo>
                  <a:pt x="18" y="176"/>
                </a:lnTo>
                <a:lnTo>
                  <a:pt x="18" y="184"/>
                </a:lnTo>
                <a:lnTo>
                  <a:pt x="12" y="186"/>
                </a:lnTo>
                <a:lnTo>
                  <a:pt x="10" y="186"/>
                </a:lnTo>
                <a:lnTo>
                  <a:pt x="8" y="194"/>
                </a:lnTo>
                <a:lnTo>
                  <a:pt x="4" y="198"/>
                </a:lnTo>
                <a:lnTo>
                  <a:pt x="0" y="202"/>
                </a:lnTo>
                <a:lnTo>
                  <a:pt x="2" y="208"/>
                </a:lnTo>
                <a:lnTo>
                  <a:pt x="4" y="208"/>
                </a:lnTo>
                <a:lnTo>
                  <a:pt x="8" y="208"/>
                </a:lnTo>
                <a:lnTo>
                  <a:pt x="10" y="208"/>
                </a:lnTo>
                <a:lnTo>
                  <a:pt x="18" y="206"/>
                </a:lnTo>
                <a:lnTo>
                  <a:pt x="22" y="210"/>
                </a:lnTo>
                <a:lnTo>
                  <a:pt x="22" y="214"/>
                </a:lnTo>
                <a:lnTo>
                  <a:pt x="22" y="220"/>
                </a:lnTo>
                <a:lnTo>
                  <a:pt x="18" y="224"/>
                </a:lnTo>
                <a:lnTo>
                  <a:pt x="14" y="226"/>
                </a:lnTo>
                <a:lnTo>
                  <a:pt x="12" y="226"/>
                </a:lnTo>
                <a:lnTo>
                  <a:pt x="12" y="228"/>
                </a:lnTo>
                <a:lnTo>
                  <a:pt x="10" y="230"/>
                </a:lnTo>
                <a:lnTo>
                  <a:pt x="12" y="232"/>
                </a:lnTo>
                <a:lnTo>
                  <a:pt x="14" y="234"/>
                </a:lnTo>
                <a:lnTo>
                  <a:pt x="18" y="238"/>
                </a:lnTo>
                <a:lnTo>
                  <a:pt x="20" y="240"/>
                </a:lnTo>
                <a:lnTo>
                  <a:pt x="24" y="242"/>
                </a:lnTo>
                <a:lnTo>
                  <a:pt x="26" y="244"/>
                </a:lnTo>
                <a:lnTo>
                  <a:pt x="28" y="244"/>
                </a:lnTo>
                <a:lnTo>
                  <a:pt x="34" y="250"/>
                </a:lnTo>
                <a:lnTo>
                  <a:pt x="36" y="256"/>
                </a:lnTo>
                <a:lnTo>
                  <a:pt x="38" y="258"/>
                </a:lnTo>
                <a:lnTo>
                  <a:pt x="44" y="260"/>
                </a:lnTo>
                <a:lnTo>
                  <a:pt x="44" y="264"/>
                </a:lnTo>
                <a:lnTo>
                  <a:pt x="48" y="266"/>
                </a:lnTo>
                <a:lnTo>
                  <a:pt x="46" y="270"/>
                </a:lnTo>
                <a:lnTo>
                  <a:pt x="44" y="274"/>
                </a:lnTo>
                <a:lnTo>
                  <a:pt x="40" y="270"/>
                </a:lnTo>
                <a:lnTo>
                  <a:pt x="36" y="268"/>
                </a:lnTo>
                <a:lnTo>
                  <a:pt x="34" y="268"/>
                </a:lnTo>
                <a:lnTo>
                  <a:pt x="30" y="270"/>
                </a:lnTo>
                <a:lnTo>
                  <a:pt x="30" y="276"/>
                </a:lnTo>
                <a:lnTo>
                  <a:pt x="34" y="280"/>
                </a:lnTo>
                <a:lnTo>
                  <a:pt x="36" y="282"/>
                </a:lnTo>
                <a:lnTo>
                  <a:pt x="38" y="282"/>
                </a:lnTo>
                <a:lnTo>
                  <a:pt x="40" y="286"/>
                </a:lnTo>
                <a:lnTo>
                  <a:pt x="42" y="288"/>
                </a:lnTo>
                <a:lnTo>
                  <a:pt x="44" y="288"/>
                </a:lnTo>
                <a:lnTo>
                  <a:pt x="52" y="286"/>
                </a:lnTo>
                <a:lnTo>
                  <a:pt x="58" y="288"/>
                </a:lnTo>
                <a:lnTo>
                  <a:pt x="64" y="294"/>
                </a:lnTo>
                <a:lnTo>
                  <a:pt x="66" y="296"/>
                </a:lnTo>
                <a:lnTo>
                  <a:pt x="64" y="298"/>
                </a:lnTo>
                <a:lnTo>
                  <a:pt x="60" y="302"/>
                </a:lnTo>
                <a:lnTo>
                  <a:pt x="60" y="304"/>
                </a:lnTo>
                <a:lnTo>
                  <a:pt x="64" y="304"/>
                </a:lnTo>
                <a:lnTo>
                  <a:pt x="64" y="310"/>
                </a:lnTo>
                <a:lnTo>
                  <a:pt x="62" y="312"/>
                </a:lnTo>
                <a:lnTo>
                  <a:pt x="56" y="314"/>
                </a:lnTo>
                <a:lnTo>
                  <a:pt x="48" y="320"/>
                </a:lnTo>
                <a:lnTo>
                  <a:pt x="44" y="316"/>
                </a:lnTo>
                <a:lnTo>
                  <a:pt x="42" y="316"/>
                </a:lnTo>
                <a:lnTo>
                  <a:pt x="40" y="318"/>
                </a:lnTo>
                <a:lnTo>
                  <a:pt x="40" y="322"/>
                </a:lnTo>
                <a:lnTo>
                  <a:pt x="34" y="330"/>
                </a:lnTo>
                <a:lnTo>
                  <a:pt x="26" y="332"/>
                </a:lnTo>
                <a:lnTo>
                  <a:pt x="22" y="332"/>
                </a:lnTo>
                <a:lnTo>
                  <a:pt x="18" y="332"/>
                </a:lnTo>
                <a:lnTo>
                  <a:pt x="12" y="328"/>
                </a:lnTo>
                <a:lnTo>
                  <a:pt x="10" y="324"/>
                </a:lnTo>
                <a:lnTo>
                  <a:pt x="10" y="330"/>
                </a:lnTo>
                <a:lnTo>
                  <a:pt x="12" y="336"/>
                </a:lnTo>
                <a:lnTo>
                  <a:pt x="8" y="338"/>
                </a:lnTo>
                <a:lnTo>
                  <a:pt x="8" y="342"/>
                </a:lnTo>
                <a:lnTo>
                  <a:pt x="14" y="340"/>
                </a:lnTo>
                <a:lnTo>
                  <a:pt x="26" y="342"/>
                </a:lnTo>
                <a:lnTo>
                  <a:pt x="34" y="350"/>
                </a:lnTo>
                <a:lnTo>
                  <a:pt x="44" y="352"/>
                </a:lnTo>
                <a:lnTo>
                  <a:pt x="48" y="354"/>
                </a:lnTo>
                <a:lnTo>
                  <a:pt x="48" y="358"/>
                </a:lnTo>
                <a:lnTo>
                  <a:pt x="52" y="360"/>
                </a:lnTo>
                <a:lnTo>
                  <a:pt x="54" y="360"/>
                </a:lnTo>
                <a:lnTo>
                  <a:pt x="60" y="364"/>
                </a:lnTo>
                <a:lnTo>
                  <a:pt x="64" y="364"/>
                </a:lnTo>
                <a:lnTo>
                  <a:pt x="72" y="366"/>
                </a:lnTo>
                <a:lnTo>
                  <a:pt x="78" y="366"/>
                </a:lnTo>
                <a:lnTo>
                  <a:pt x="80" y="366"/>
                </a:lnTo>
                <a:lnTo>
                  <a:pt x="92" y="364"/>
                </a:lnTo>
                <a:lnTo>
                  <a:pt x="96" y="366"/>
                </a:lnTo>
                <a:lnTo>
                  <a:pt x="98" y="366"/>
                </a:lnTo>
                <a:lnTo>
                  <a:pt x="104" y="364"/>
                </a:lnTo>
                <a:lnTo>
                  <a:pt x="106" y="366"/>
                </a:lnTo>
                <a:lnTo>
                  <a:pt x="110" y="366"/>
                </a:lnTo>
                <a:lnTo>
                  <a:pt x="114" y="366"/>
                </a:lnTo>
                <a:lnTo>
                  <a:pt x="122" y="368"/>
                </a:lnTo>
                <a:lnTo>
                  <a:pt x="128" y="372"/>
                </a:lnTo>
                <a:lnTo>
                  <a:pt x="190" y="392"/>
                </a:lnTo>
                <a:lnTo>
                  <a:pt x="250" y="410"/>
                </a:lnTo>
                <a:lnTo>
                  <a:pt x="262" y="414"/>
                </a:lnTo>
                <a:lnTo>
                  <a:pt x="306" y="418"/>
                </a:lnTo>
                <a:lnTo>
                  <a:pt x="318" y="404"/>
                </a:lnTo>
                <a:lnTo>
                  <a:pt x="320" y="404"/>
                </a:lnTo>
                <a:lnTo>
                  <a:pt x="324" y="404"/>
                </a:lnTo>
                <a:lnTo>
                  <a:pt x="330" y="406"/>
                </a:lnTo>
                <a:lnTo>
                  <a:pt x="326" y="338"/>
                </a:lnTo>
                <a:lnTo>
                  <a:pt x="382" y="258"/>
                </a:lnTo>
                <a:lnTo>
                  <a:pt x="360" y="230"/>
                </a:lnTo>
                <a:lnTo>
                  <a:pt x="354" y="230"/>
                </a:lnTo>
                <a:lnTo>
                  <a:pt x="350" y="226"/>
                </a:lnTo>
                <a:lnTo>
                  <a:pt x="350" y="222"/>
                </a:lnTo>
                <a:lnTo>
                  <a:pt x="348" y="116"/>
                </a:lnTo>
                <a:lnTo>
                  <a:pt x="352" y="106"/>
                </a:lnTo>
                <a:lnTo>
                  <a:pt x="346" y="102"/>
                </a:lnTo>
                <a:lnTo>
                  <a:pt x="350" y="94"/>
                </a:lnTo>
                <a:lnTo>
                  <a:pt x="348" y="88"/>
                </a:lnTo>
                <a:lnTo>
                  <a:pt x="352" y="84"/>
                </a:lnTo>
                <a:lnTo>
                  <a:pt x="294" y="46"/>
                </a:lnTo>
                <a:lnTo>
                  <a:pt x="286" y="44"/>
                </a:lnTo>
                <a:lnTo>
                  <a:pt x="266" y="36"/>
                </a:lnTo>
                <a:lnTo>
                  <a:pt x="176" y="16"/>
                </a:lnTo>
                <a:lnTo>
                  <a:pt x="168" y="14"/>
                </a:lnTo>
                <a:lnTo>
                  <a:pt x="162" y="14"/>
                </a:lnTo>
                <a:lnTo>
                  <a:pt x="98" y="0"/>
                </a:lnTo>
                <a:lnTo>
                  <a:pt x="94" y="0"/>
                </a:lnTo>
                <a:lnTo>
                  <a:pt x="94" y="6"/>
                </a:lnTo>
                <a:lnTo>
                  <a:pt x="92" y="10"/>
                </a:lnTo>
                <a:lnTo>
                  <a:pt x="82" y="10"/>
                </a:lnTo>
                <a:lnTo>
                  <a:pt x="78" y="12"/>
                </a:lnTo>
                <a:lnTo>
                  <a:pt x="76" y="18"/>
                </a:lnTo>
                <a:lnTo>
                  <a:pt x="74" y="24"/>
                </a:lnTo>
                <a:lnTo>
                  <a:pt x="74" y="30"/>
                </a:lnTo>
                <a:lnTo>
                  <a:pt x="76" y="34"/>
                </a:lnTo>
                <a:lnTo>
                  <a:pt x="74" y="36"/>
                </a:lnTo>
                <a:lnTo>
                  <a:pt x="72" y="40"/>
                </a:lnTo>
                <a:lnTo>
                  <a:pt x="66" y="42"/>
                </a:lnTo>
                <a:lnTo>
                  <a:pt x="58" y="44"/>
                </a:lnTo>
                <a:lnTo>
                  <a:pt x="52" y="44"/>
                </a:lnTo>
                <a:lnTo>
                  <a:pt x="54" y="50"/>
                </a:lnTo>
                <a:lnTo>
                  <a:pt x="56" y="58"/>
                </a:lnTo>
                <a:close/>
              </a:path>
            </a:pathLst>
          </a:custGeom>
          <a:solidFill>
            <a:srgbClr val="F1B728"/>
          </a:solidFill>
          <a:ln w="6350">
            <a:solidFill>
              <a:schemeClr val="tx1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457200"/>
            <a:endParaRPr lang="en-US" kern="0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35" name="Freeform 13">
            <a:extLst>
              <a:ext uri="{FF2B5EF4-FFF2-40B4-BE49-F238E27FC236}">
                <a16:creationId xmlns:a16="http://schemas.microsoft.com/office/drawing/2014/main" id="{C13CF7F4-D61F-831A-5D80-34F1F16679DC}"/>
              </a:ext>
            </a:extLst>
          </p:cNvPr>
          <p:cNvSpPr>
            <a:spLocks/>
          </p:cNvSpPr>
          <p:nvPr/>
        </p:nvSpPr>
        <p:spPr bwMode="auto">
          <a:xfrm>
            <a:off x="2400300" y="4732020"/>
            <a:ext cx="655320" cy="556260"/>
          </a:xfrm>
          <a:custGeom>
            <a:avLst/>
            <a:gdLst>
              <a:gd name="T0" fmla="*/ 2147483646 w 516"/>
              <a:gd name="T1" fmla="*/ 2147483646 h 438"/>
              <a:gd name="T2" fmla="*/ 2147483646 w 516"/>
              <a:gd name="T3" fmla="*/ 2147483646 h 438"/>
              <a:gd name="T4" fmla="*/ 2147483646 w 516"/>
              <a:gd name="T5" fmla="*/ 2147483646 h 438"/>
              <a:gd name="T6" fmla="*/ 2147483646 w 516"/>
              <a:gd name="T7" fmla="*/ 2147483646 h 438"/>
              <a:gd name="T8" fmla="*/ 2147483646 w 516"/>
              <a:gd name="T9" fmla="*/ 2147483646 h 438"/>
              <a:gd name="T10" fmla="*/ 2147483646 w 516"/>
              <a:gd name="T11" fmla="*/ 2147483646 h 438"/>
              <a:gd name="T12" fmla="*/ 2147483646 w 516"/>
              <a:gd name="T13" fmla="*/ 2147483646 h 438"/>
              <a:gd name="T14" fmla="*/ 2147483646 w 516"/>
              <a:gd name="T15" fmla="*/ 2147483646 h 438"/>
              <a:gd name="T16" fmla="*/ 2147483646 w 516"/>
              <a:gd name="T17" fmla="*/ 2147483646 h 438"/>
              <a:gd name="T18" fmla="*/ 2147483646 w 516"/>
              <a:gd name="T19" fmla="*/ 2147483646 h 438"/>
              <a:gd name="T20" fmla="*/ 2147483646 w 516"/>
              <a:gd name="T21" fmla="*/ 2147483646 h 438"/>
              <a:gd name="T22" fmla="*/ 2147483646 w 516"/>
              <a:gd name="T23" fmla="*/ 2147483646 h 438"/>
              <a:gd name="T24" fmla="*/ 2147483646 w 516"/>
              <a:gd name="T25" fmla="*/ 2147483646 h 438"/>
              <a:gd name="T26" fmla="*/ 2147483646 w 516"/>
              <a:gd name="T27" fmla="*/ 2147483646 h 438"/>
              <a:gd name="T28" fmla="*/ 2147483646 w 516"/>
              <a:gd name="T29" fmla="*/ 2147483646 h 438"/>
              <a:gd name="T30" fmla="*/ 2147483646 w 516"/>
              <a:gd name="T31" fmla="*/ 2147483646 h 438"/>
              <a:gd name="T32" fmla="*/ 2147483646 w 516"/>
              <a:gd name="T33" fmla="*/ 2147483646 h 438"/>
              <a:gd name="T34" fmla="*/ 2147483646 w 516"/>
              <a:gd name="T35" fmla="*/ 2147483646 h 438"/>
              <a:gd name="T36" fmla="*/ 2147483646 w 516"/>
              <a:gd name="T37" fmla="*/ 2147483646 h 438"/>
              <a:gd name="T38" fmla="*/ 2147483646 w 516"/>
              <a:gd name="T39" fmla="*/ 2147483646 h 438"/>
              <a:gd name="T40" fmla="*/ 2147483646 w 516"/>
              <a:gd name="T41" fmla="*/ 2147483646 h 438"/>
              <a:gd name="T42" fmla="*/ 2147483646 w 516"/>
              <a:gd name="T43" fmla="*/ 2147483646 h 438"/>
              <a:gd name="T44" fmla="*/ 2147483646 w 516"/>
              <a:gd name="T45" fmla="*/ 2147483646 h 438"/>
              <a:gd name="T46" fmla="*/ 2147483646 w 516"/>
              <a:gd name="T47" fmla="*/ 2147483646 h 438"/>
              <a:gd name="T48" fmla="*/ 2147483646 w 516"/>
              <a:gd name="T49" fmla="*/ 2147483646 h 438"/>
              <a:gd name="T50" fmla="*/ 2147483646 w 516"/>
              <a:gd name="T51" fmla="*/ 2147483646 h 438"/>
              <a:gd name="T52" fmla="*/ 2147483646 w 516"/>
              <a:gd name="T53" fmla="*/ 2147483646 h 438"/>
              <a:gd name="T54" fmla="*/ 2147483646 w 516"/>
              <a:gd name="T55" fmla="*/ 2147483646 h 438"/>
              <a:gd name="T56" fmla="*/ 2147483646 w 516"/>
              <a:gd name="T57" fmla="*/ 2147483646 h 438"/>
              <a:gd name="T58" fmla="*/ 2147483646 w 516"/>
              <a:gd name="T59" fmla="*/ 2147483646 h 438"/>
              <a:gd name="T60" fmla="*/ 2147483646 w 516"/>
              <a:gd name="T61" fmla="*/ 2147483646 h 438"/>
              <a:gd name="T62" fmla="*/ 2147483646 w 516"/>
              <a:gd name="T63" fmla="*/ 2147483646 h 438"/>
              <a:gd name="T64" fmla="*/ 2147483646 w 516"/>
              <a:gd name="T65" fmla="*/ 2147483646 h 438"/>
              <a:gd name="T66" fmla="*/ 2147483646 w 516"/>
              <a:gd name="T67" fmla="*/ 2147483646 h 438"/>
              <a:gd name="T68" fmla="*/ 2147483646 w 516"/>
              <a:gd name="T69" fmla="*/ 2147483646 h 438"/>
              <a:gd name="T70" fmla="*/ 2147483646 w 516"/>
              <a:gd name="T71" fmla="*/ 2147483646 h 438"/>
              <a:gd name="T72" fmla="*/ 2147483646 w 516"/>
              <a:gd name="T73" fmla="*/ 2147483646 h 438"/>
              <a:gd name="T74" fmla="*/ 2147483646 w 516"/>
              <a:gd name="T75" fmla="*/ 2147483646 h 438"/>
              <a:gd name="T76" fmla="*/ 2147483646 w 516"/>
              <a:gd name="T77" fmla="*/ 2147483646 h 438"/>
              <a:gd name="T78" fmla="*/ 2147483646 w 516"/>
              <a:gd name="T79" fmla="*/ 2147483646 h 438"/>
              <a:gd name="T80" fmla="*/ 2147483646 w 516"/>
              <a:gd name="T81" fmla="*/ 2147483646 h 438"/>
              <a:gd name="T82" fmla="*/ 2147483646 w 516"/>
              <a:gd name="T83" fmla="*/ 2147483646 h 438"/>
              <a:gd name="T84" fmla="*/ 2147483646 w 516"/>
              <a:gd name="T85" fmla="*/ 2147483646 h 438"/>
              <a:gd name="T86" fmla="*/ 2147483646 w 516"/>
              <a:gd name="T87" fmla="*/ 2147483646 h 438"/>
              <a:gd name="T88" fmla="*/ 2147483646 w 516"/>
              <a:gd name="T89" fmla="*/ 2147483646 h 438"/>
              <a:gd name="T90" fmla="*/ 2147483646 w 516"/>
              <a:gd name="T91" fmla="*/ 2147483646 h 438"/>
              <a:gd name="T92" fmla="*/ 2147483646 w 516"/>
              <a:gd name="T93" fmla="*/ 2147483646 h 438"/>
              <a:gd name="T94" fmla="*/ 2147483646 w 516"/>
              <a:gd name="T95" fmla="*/ 2147483646 h 438"/>
              <a:gd name="T96" fmla="*/ 2147483646 w 516"/>
              <a:gd name="T97" fmla="*/ 2147483646 h 438"/>
              <a:gd name="T98" fmla="*/ 2147483646 w 516"/>
              <a:gd name="T99" fmla="*/ 2147483646 h 438"/>
              <a:gd name="T100" fmla="*/ 2147483646 w 516"/>
              <a:gd name="T101" fmla="*/ 2147483646 h 438"/>
              <a:gd name="T102" fmla="*/ 2147483646 w 516"/>
              <a:gd name="T103" fmla="*/ 2147483646 h 438"/>
              <a:gd name="T104" fmla="*/ 2147483646 w 516"/>
              <a:gd name="T105" fmla="*/ 2147483646 h 438"/>
              <a:gd name="T106" fmla="*/ 2147483646 w 516"/>
              <a:gd name="T107" fmla="*/ 2147483646 h 438"/>
              <a:gd name="T108" fmla="*/ 2147483646 w 516"/>
              <a:gd name="T109" fmla="*/ 2147483646 h 438"/>
              <a:gd name="T110" fmla="*/ 2147483646 w 516"/>
              <a:gd name="T111" fmla="*/ 2147483646 h 438"/>
              <a:gd name="T112" fmla="*/ 2147483646 w 516"/>
              <a:gd name="T113" fmla="*/ 2147483646 h 438"/>
              <a:gd name="T114" fmla="*/ 2147483646 w 516"/>
              <a:gd name="T115" fmla="*/ 2147483646 h 438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w 516"/>
              <a:gd name="T175" fmla="*/ 0 h 438"/>
              <a:gd name="T176" fmla="*/ 516 w 516"/>
              <a:gd name="T177" fmla="*/ 438 h 438"/>
            </a:gdLst>
            <a:ahLst/>
            <a:cxnLst>
              <a:cxn ang="T116">
                <a:pos x="T0" y="T1"/>
              </a:cxn>
              <a:cxn ang="T117">
                <a:pos x="T2" y="T3"/>
              </a:cxn>
              <a:cxn ang="T118">
                <a:pos x="T4" y="T5"/>
              </a:cxn>
              <a:cxn ang="T119">
                <a:pos x="T6" y="T7"/>
              </a:cxn>
              <a:cxn ang="T120">
                <a:pos x="T8" y="T9"/>
              </a:cxn>
              <a:cxn ang="T121">
                <a:pos x="T10" y="T11"/>
              </a:cxn>
              <a:cxn ang="T122">
                <a:pos x="T12" y="T13"/>
              </a:cxn>
              <a:cxn ang="T123">
                <a:pos x="T14" y="T15"/>
              </a:cxn>
              <a:cxn ang="T124">
                <a:pos x="T16" y="T17"/>
              </a:cxn>
              <a:cxn ang="T125">
                <a:pos x="T18" y="T19"/>
              </a:cxn>
              <a:cxn ang="T126">
                <a:pos x="T20" y="T21"/>
              </a:cxn>
              <a:cxn ang="T127">
                <a:pos x="T22" y="T23"/>
              </a:cxn>
              <a:cxn ang="T128">
                <a:pos x="T24" y="T25"/>
              </a:cxn>
              <a:cxn ang="T129">
                <a:pos x="T26" y="T27"/>
              </a:cxn>
              <a:cxn ang="T130">
                <a:pos x="T28" y="T29"/>
              </a:cxn>
              <a:cxn ang="T131">
                <a:pos x="T30" y="T31"/>
              </a:cxn>
              <a:cxn ang="T132">
                <a:pos x="T32" y="T33"/>
              </a:cxn>
              <a:cxn ang="T133">
                <a:pos x="T34" y="T35"/>
              </a:cxn>
              <a:cxn ang="T134">
                <a:pos x="T36" y="T37"/>
              </a:cxn>
              <a:cxn ang="T135">
                <a:pos x="T38" y="T39"/>
              </a:cxn>
              <a:cxn ang="T136">
                <a:pos x="T40" y="T41"/>
              </a:cxn>
              <a:cxn ang="T137">
                <a:pos x="T42" y="T43"/>
              </a:cxn>
              <a:cxn ang="T138">
                <a:pos x="T44" y="T45"/>
              </a:cxn>
              <a:cxn ang="T139">
                <a:pos x="T46" y="T47"/>
              </a:cxn>
              <a:cxn ang="T140">
                <a:pos x="T48" y="T49"/>
              </a:cxn>
              <a:cxn ang="T141">
                <a:pos x="T50" y="T51"/>
              </a:cxn>
              <a:cxn ang="T142">
                <a:pos x="T52" y="T53"/>
              </a:cxn>
              <a:cxn ang="T143">
                <a:pos x="T54" y="T55"/>
              </a:cxn>
              <a:cxn ang="T144">
                <a:pos x="T56" y="T57"/>
              </a:cxn>
              <a:cxn ang="T145">
                <a:pos x="T58" y="T59"/>
              </a:cxn>
              <a:cxn ang="T146">
                <a:pos x="T60" y="T61"/>
              </a:cxn>
              <a:cxn ang="T147">
                <a:pos x="T62" y="T63"/>
              </a:cxn>
              <a:cxn ang="T148">
                <a:pos x="T64" y="T65"/>
              </a:cxn>
              <a:cxn ang="T149">
                <a:pos x="T66" y="T67"/>
              </a:cxn>
              <a:cxn ang="T150">
                <a:pos x="T68" y="T69"/>
              </a:cxn>
              <a:cxn ang="T151">
                <a:pos x="T70" y="T71"/>
              </a:cxn>
              <a:cxn ang="T152">
                <a:pos x="T72" y="T73"/>
              </a:cxn>
              <a:cxn ang="T153">
                <a:pos x="T74" y="T75"/>
              </a:cxn>
              <a:cxn ang="T154">
                <a:pos x="T76" y="T77"/>
              </a:cxn>
              <a:cxn ang="T155">
                <a:pos x="T78" y="T79"/>
              </a:cxn>
              <a:cxn ang="T156">
                <a:pos x="T80" y="T81"/>
              </a:cxn>
              <a:cxn ang="T157">
                <a:pos x="T82" y="T83"/>
              </a:cxn>
              <a:cxn ang="T158">
                <a:pos x="T84" y="T85"/>
              </a:cxn>
              <a:cxn ang="T159">
                <a:pos x="T86" y="T87"/>
              </a:cxn>
              <a:cxn ang="T160">
                <a:pos x="T88" y="T89"/>
              </a:cxn>
              <a:cxn ang="T161">
                <a:pos x="T90" y="T91"/>
              </a:cxn>
              <a:cxn ang="T162">
                <a:pos x="T92" y="T93"/>
              </a:cxn>
              <a:cxn ang="T163">
                <a:pos x="T94" y="T95"/>
              </a:cxn>
              <a:cxn ang="T164">
                <a:pos x="T96" y="T97"/>
              </a:cxn>
              <a:cxn ang="T165">
                <a:pos x="T98" y="T99"/>
              </a:cxn>
              <a:cxn ang="T166">
                <a:pos x="T100" y="T101"/>
              </a:cxn>
              <a:cxn ang="T167">
                <a:pos x="T102" y="T103"/>
              </a:cxn>
              <a:cxn ang="T168">
                <a:pos x="T104" y="T105"/>
              </a:cxn>
              <a:cxn ang="T169">
                <a:pos x="T106" y="T107"/>
              </a:cxn>
              <a:cxn ang="T170">
                <a:pos x="T108" y="T109"/>
              </a:cxn>
              <a:cxn ang="T171">
                <a:pos x="T110" y="T111"/>
              </a:cxn>
              <a:cxn ang="T172">
                <a:pos x="T112" y="T113"/>
              </a:cxn>
              <a:cxn ang="T173">
                <a:pos x="T114" y="T115"/>
              </a:cxn>
            </a:cxnLst>
            <a:rect l="T174" t="T175" r="T176" b="T177"/>
            <a:pathLst>
              <a:path w="516" h="438">
                <a:moveTo>
                  <a:pt x="346" y="422"/>
                </a:moveTo>
                <a:lnTo>
                  <a:pt x="342" y="418"/>
                </a:lnTo>
                <a:lnTo>
                  <a:pt x="342" y="414"/>
                </a:lnTo>
                <a:lnTo>
                  <a:pt x="342" y="412"/>
                </a:lnTo>
                <a:lnTo>
                  <a:pt x="346" y="408"/>
                </a:lnTo>
                <a:lnTo>
                  <a:pt x="350" y="408"/>
                </a:lnTo>
                <a:lnTo>
                  <a:pt x="356" y="406"/>
                </a:lnTo>
                <a:lnTo>
                  <a:pt x="358" y="406"/>
                </a:lnTo>
                <a:lnTo>
                  <a:pt x="360" y="406"/>
                </a:lnTo>
                <a:lnTo>
                  <a:pt x="360" y="402"/>
                </a:lnTo>
                <a:lnTo>
                  <a:pt x="364" y="400"/>
                </a:lnTo>
                <a:lnTo>
                  <a:pt x="368" y="400"/>
                </a:lnTo>
                <a:lnTo>
                  <a:pt x="370" y="402"/>
                </a:lnTo>
                <a:lnTo>
                  <a:pt x="376" y="400"/>
                </a:lnTo>
                <a:lnTo>
                  <a:pt x="382" y="394"/>
                </a:lnTo>
                <a:lnTo>
                  <a:pt x="386" y="392"/>
                </a:lnTo>
                <a:lnTo>
                  <a:pt x="390" y="390"/>
                </a:lnTo>
                <a:lnTo>
                  <a:pt x="390" y="394"/>
                </a:lnTo>
                <a:lnTo>
                  <a:pt x="394" y="394"/>
                </a:lnTo>
                <a:lnTo>
                  <a:pt x="400" y="392"/>
                </a:lnTo>
                <a:lnTo>
                  <a:pt x="404" y="390"/>
                </a:lnTo>
                <a:lnTo>
                  <a:pt x="406" y="386"/>
                </a:lnTo>
                <a:lnTo>
                  <a:pt x="408" y="382"/>
                </a:lnTo>
                <a:lnTo>
                  <a:pt x="420" y="374"/>
                </a:lnTo>
                <a:lnTo>
                  <a:pt x="424" y="374"/>
                </a:lnTo>
                <a:lnTo>
                  <a:pt x="428" y="374"/>
                </a:lnTo>
                <a:lnTo>
                  <a:pt x="430" y="374"/>
                </a:lnTo>
                <a:lnTo>
                  <a:pt x="430" y="370"/>
                </a:lnTo>
                <a:lnTo>
                  <a:pt x="424" y="366"/>
                </a:lnTo>
                <a:lnTo>
                  <a:pt x="376" y="314"/>
                </a:lnTo>
                <a:lnTo>
                  <a:pt x="382" y="310"/>
                </a:lnTo>
                <a:lnTo>
                  <a:pt x="386" y="310"/>
                </a:lnTo>
                <a:lnTo>
                  <a:pt x="390" y="304"/>
                </a:lnTo>
                <a:lnTo>
                  <a:pt x="398" y="302"/>
                </a:lnTo>
                <a:lnTo>
                  <a:pt x="402" y="304"/>
                </a:lnTo>
                <a:lnTo>
                  <a:pt x="406" y="306"/>
                </a:lnTo>
                <a:lnTo>
                  <a:pt x="412" y="306"/>
                </a:lnTo>
                <a:lnTo>
                  <a:pt x="416" y="304"/>
                </a:lnTo>
                <a:lnTo>
                  <a:pt x="418" y="302"/>
                </a:lnTo>
                <a:lnTo>
                  <a:pt x="426" y="304"/>
                </a:lnTo>
                <a:lnTo>
                  <a:pt x="428" y="302"/>
                </a:lnTo>
                <a:lnTo>
                  <a:pt x="430" y="298"/>
                </a:lnTo>
                <a:lnTo>
                  <a:pt x="436" y="298"/>
                </a:lnTo>
                <a:lnTo>
                  <a:pt x="442" y="292"/>
                </a:lnTo>
                <a:lnTo>
                  <a:pt x="444" y="292"/>
                </a:lnTo>
                <a:lnTo>
                  <a:pt x="448" y="288"/>
                </a:lnTo>
                <a:lnTo>
                  <a:pt x="454" y="288"/>
                </a:lnTo>
                <a:lnTo>
                  <a:pt x="460" y="292"/>
                </a:lnTo>
                <a:lnTo>
                  <a:pt x="464" y="286"/>
                </a:lnTo>
                <a:lnTo>
                  <a:pt x="468" y="286"/>
                </a:lnTo>
                <a:lnTo>
                  <a:pt x="474" y="284"/>
                </a:lnTo>
                <a:lnTo>
                  <a:pt x="482" y="286"/>
                </a:lnTo>
                <a:lnTo>
                  <a:pt x="490" y="286"/>
                </a:lnTo>
                <a:lnTo>
                  <a:pt x="494" y="284"/>
                </a:lnTo>
                <a:lnTo>
                  <a:pt x="498" y="280"/>
                </a:lnTo>
                <a:lnTo>
                  <a:pt x="500" y="280"/>
                </a:lnTo>
                <a:lnTo>
                  <a:pt x="514" y="276"/>
                </a:lnTo>
                <a:lnTo>
                  <a:pt x="516" y="276"/>
                </a:lnTo>
                <a:lnTo>
                  <a:pt x="510" y="270"/>
                </a:lnTo>
                <a:lnTo>
                  <a:pt x="510" y="266"/>
                </a:lnTo>
                <a:lnTo>
                  <a:pt x="506" y="260"/>
                </a:lnTo>
                <a:lnTo>
                  <a:pt x="496" y="260"/>
                </a:lnTo>
                <a:lnTo>
                  <a:pt x="494" y="256"/>
                </a:lnTo>
                <a:lnTo>
                  <a:pt x="490" y="248"/>
                </a:lnTo>
                <a:lnTo>
                  <a:pt x="486" y="244"/>
                </a:lnTo>
                <a:lnTo>
                  <a:pt x="480" y="240"/>
                </a:lnTo>
                <a:lnTo>
                  <a:pt x="480" y="234"/>
                </a:lnTo>
                <a:lnTo>
                  <a:pt x="480" y="232"/>
                </a:lnTo>
                <a:lnTo>
                  <a:pt x="474" y="230"/>
                </a:lnTo>
                <a:lnTo>
                  <a:pt x="472" y="226"/>
                </a:lnTo>
                <a:lnTo>
                  <a:pt x="468" y="226"/>
                </a:lnTo>
                <a:lnTo>
                  <a:pt x="462" y="230"/>
                </a:lnTo>
                <a:lnTo>
                  <a:pt x="456" y="228"/>
                </a:lnTo>
                <a:lnTo>
                  <a:pt x="454" y="228"/>
                </a:lnTo>
                <a:lnTo>
                  <a:pt x="448" y="234"/>
                </a:lnTo>
                <a:lnTo>
                  <a:pt x="444" y="238"/>
                </a:lnTo>
                <a:lnTo>
                  <a:pt x="442" y="238"/>
                </a:lnTo>
                <a:lnTo>
                  <a:pt x="436" y="238"/>
                </a:lnTo>
                <a:lnTo>
                  <a:pt x="434" y="242"/>
                </a:lnTo>
                <a:lnTo>
                  <a:pt x="426" y="246"/>
                </a:lnTo>
                <a:lnTo>
                  <a:pt x="420" y="250"/>
                </a:lnTo>
                <a:lnTo>
                  <a:pt x="412" y="250"/>
                </a:lnTo>
                <a:lnTo>
                  <a:pt x="410" y="244"/>
                </a:lnTo>
                <a:lnTo>
                  <a:pt x="404" y="242"/>
                </a:lnTo>
                <a:lnTo>
                  <a:pt x="406" y="232"/>
                </a:lnTo>
                <a:lnTo>
                  <a:pt x="398" y="230"/>
                </a:lnTo>
                <a:lnTo>
                  <a:pt x="394" y="228"/>
                </a:lnTo>
                <a:lnTo>
                  <a:pt x="394" y="216"/>
                </a:lnTo>
                <a:lnTo>
                  <a:pt x="394" y="214"/>
                </a:lnTo>
                <a:lnTo>
                  <a:pt x="388" y="210"/>
                </a:lnTo>
                <a:lnTo>
                  <a:pt x="384" y="204"/>
                </a:lnTo>
                <a:lnTo>
                  <a:pt x="376" y="204"/>
                </a:lnTo>
                <a:lnTo>
                  <a:pt x="376" y="198"/>
                </a:lnTo>
                <a:lnTo>
                  <a:pt x="370" y="196"/>
                </a:lnTo>
                <a:lnTo>
                  <a:pt x="372" y="192"/>
                </a:lnTo>
                <a:lnTo>
                  <a:pt x="370" y="190"/>
                </a:lnTo>
                <a:lnTo>
                  <a:pt x="366" y="186"/>
                </a:lnTo>
                <a:lnTo>
                  <a:pt x="366" y="184"/>
                </a:lnTo>
                <a:lnTo>
                  <a:pt x="368" y="178"/>
                </a:lnTo>
                <a:lnTo>
                  <a:pt x="376" y="174"/>
                </a:lnTo>
                <a:lnTo>
                  <a:pt x="382" y="166"/>
                </a:lnTo>
                <a:lnTo>
                  <a:pt x="384" y="158"/>
                </a:lnTo>
                <a:lnTo>
                  <a:pt x="384" y="152"/>
                </a:lnTo>
                <a:lnTo>
                  <a:pt x="384" y="144"/>
                </a:lnTo>
                <a:lnTo>
                  <a:pt x="384" y="136"/>
                </a:lnTo>
                <a:lnTo>
                  <a:pt x="378" y="134"/>
                </a:lnTo>
                <a:lnTo>
                  <a:pt x="372" y="126"/>
                </a:lnTo>
                <a:lnTo>
                  <a:pt x="372" y="124"/>
                </a:lnTo>
                <a:lnTo>
                  <a:pt x="370" y="120"/>
                </a:lnTo>
                <a:lnTo>
                  <a:pt x="366" y="116"/>
                </a:lnTo>
                <a:lnTo>
                  <a:pt x="364" y="112"/>
                </a:lnTo>
                <a:lnTo>
                  <a:pt x="364" y="108"/>
                </a:lnTo>
                <a:lnTo>
                  <a:pt x="356" y="106"/>
                </a:lnTo>
                <a:lnTo>
                  <a:pt x="352" y="106"/>
                </a:lnTo>
                <a:lnTo>
                  <a:pt x="346" y="104"/>
                </a:lnTo>
                <a:lnTo>
                  <a:pt x="340" y="100"/>
                </a:lnTo>
                <a:lnTo>
                  <a:pt x="334" y="94"/>
                </a:lnTo>
                <a:lnTo>
                  <a:pt x="332" y="96"/>
                </a:lnTo>
                <a:lnTo>
                  <a:pt x="298" y="94"/>
                </a:lnTo>
                <a:lnTo>
                  <a:pt x="288" y="88"/>
                </a:lnTo>
                <a:lnTo>
                  <a:pt x="282" y="88"/>
                </a:lnTo>
                <a:lnTo>
                  <a:pt x="280" y="90"/>
                </a:lnTo>
                <a:lnTo>
                  <a:pt x="272" y="90"/>
                </a:lnTo>
                <a:lnTo>
                  <a:pt x="264" y="88"/>
                </a:lnTo>
                <a:lnTo>
                  <a:pt x="256" y="86"/>
                </a:lnTo>
                <a:lnTo>
                  <a:pt x="252" y="84"/>
                </a:lnTo>
                <a:lnTo>
                  <a:pt x="248" y="80"/>
                </a:lnTo>
                <a:lnTo>
                  <a:pt x="252" y="80"/>
                </a:lnTo>
                <a:lnTo>
                  <a:pt x="256" y="76"/>
                </a:lnTo>
                <a:lnTo>
                  <a:pt x="254" y="68"/>
                </a:lnTo>
                <a:lnTo>
                  <a:pt x="252" y="64"/>
                </a:lnTo>
                <a:lnTo>
                  <a:pt x="248" y="62"/>
                </a:lnTo>
                <a:lnTo>
                  <a:pt x="242" y="60"/>
                </a:lnTo>
                <a:lnTo>
                  <a:pt x="228" y="60"/>
                </a:lnTo>
                <a:lnTo>
                  <a:pt x="222" y="60"/>
                </a:lnTo>
                <a:lnTo>
                  <a:pt x="216" y="64"/>
                </a:lnTo>
                <a:lnTo>
                  <a:pt x="214" y="62"/>
                </a:lnTo>
                <a:lnTo>
                  <a:pt x="212" y="60"/>
                </a:lnTo>
                <a:lnTo>
                  <a:pt x="208" y="58"/>
                </a:lnTo>
                <a:lnTo>
                  <a:pt x="200" y="58"/>
                </a:lnTo>
                <a:lnTo>
                  <a:pt x="194" y="52"/>
                </a:lnTo>
                <a:lnTo>
                  <a:pt x="190" y="42"/>
                </a:lnTo>
                <a:lnTo>
                  <a:pt x="202" y="28"/>
                </a:lnTo>
                <a:lnTo>
                  <a:pt x="212" y="18"/>
                </a:lnTo>
                <a:lnTo>
                  <a:pt x="236" y="0"/>
                </a:lnTo>
                <a:lnTo>
                  <a:pt x="228" y="4"/>
                </a:lnTo>
                <a:lnTo>
                  <a:pt x="222" y="6"/>
                </a:lnTo>
                <a:lnTo>
                  <a:pt x="216" y="8"/>
                </a:lnTo>
                <a:lnTo>
                  <a:pt x="210" y="8"/>
                </a:lnTo>
                <a:lnTo>
                  <a:pt x="208" y="6"/>
                </a:lnTo>
                <a:lnTo>
                  <a:pt x="202" y="6"/>
                </a:lnTo>
                <a:lnTo>
                  <a:pt x="200" y="8"/>
                </a:lnTo>
                <a:lnTo>
                  <a:pt x="198" y="8"/>
                </a:lnTo>
                <a:lnTo>
                  <a:pt x="192" y="6"/>
                </a:lnTo>
                <a:lnTo>
                  <a:pt x="190" y="6"/>
                </a:lnTo>
                <a:lnTo>
                  <a:pt x="184" y="4"/>
                </a:lnTo>
                <a:lnTo>
                  <a:pt x="180" y="4"/>
                </a:lnTo>
                <a:lnTo>
                  <a:pt x="174" y="8"/>
                </a:lnTo>
                <a:lnTo>
                  <a:pt x="164" y="8"/>
                </a:lnTo>
                <a:lnTo>
                  <a:pt x="156" y="12"/>
                </a:lnTo>
                <a:lnTo>
                  <a:pt x="152" y="14"/>
                </a:lnTo>
                <a:lnTo>
                  <a:pt x="144" y="16"/>
                </a:lnTo>
                <a:lnTo>
                  <a:pt x="138" y="14"/>
                </a:lnTo>
                <a:lnTo>
                  <a:pt x="132" y="14"/>
                </a:lnTo>
                <a:lnTo>
                  <a:pt x="122" y="18"/>
                </a:lnTo>
                <a:lnTo>
                  <a:pt x="34" y="48"/>
                </a:lnTo>
                <a:lnTo>
                  <a:pt x="30" y="50"/>
                </a:lnTo>
                <a:lnTo>
                  <a:pt x="6" y="58"/>
                </a:lnTo>
                <a:lnTo>
                  <a:pt x="6" y="62"/>
                </a:lnTo>
                <a:lnTo>
                  <a:pt x="0" y="70"/>
                </a:lnTo>
                <a:lnTo>
                  <a:pt x="2" y="78"/>
                </a:lnTo>
                <a:lnTo>
                  <a:pt x="4" y="80"/>
                </a:lnTo>
                <a:lnTo>
                  <a:pt x="6" y="80"/>
                </a:lnTo>
                <a:lnTo>
                  <a:pt x="12" y="84"/>
                </a:lnTo>
                <a:lnTo>
                  <a:pt x="10" y="84"/>
                </a:lnTo>
                <a:lnTo>
                  <a:pt x="8" y="86"/>
                </a:lnTo>
                <a:lnTo>
                  <a:pt x="6" y="88"/>
                </a:lnTo>
                <a:lnTo>
                  <a:pt x="8" y="90"/>
                </a:lnTo>
                <a:lnTo>
                  <a:pt x="8" y="94"/>
                </a:lnTo>
                <a:lnTo>
                  <a:pt x="12" y="96"/>
                </a:lnTo>
                <a:lnTo>
                  <a:pt x="12" y="100"/>
                </a:lnTo>
                <a:lnTo>
                  <a:pt x="14" y="102"/>
                </a:lnTo>
                <a:lnTo>
                  <a:pt x="20" y="102"/>
                </a:lnTo>
                <a:lnTo>
                  <a:pt x="20" y="104"/>
                </a:lnTo>
                <a:lnTo>
                  <a:pt x="20" y="106"/>
                </a:lnTo>
                <a:lnTo>
                  <a:pt x="20" y="112"/>
                </a:lnTo>
                <a:lnTo>
                  <a:pt x="22" y="114"/>
                </a:lnTo>
                <a:lnTo>
                  <a:pt x="24" y="116"/>
                </a:lnTo>
                <a:lnTo>
                  <a:pt x="26" y="116"/>
                </a:lnTo>
                <a:lnTo>
                  <a:pt x="26" y="118"/>
                </a:lnTo>
                <a:lnTo>
                  <a:pt x="26" y="122"/>
                </a:lnTo>
                <a:lnTo>
                  <a:pt x="26" y="124"/>
                </a:lnTo>
                <a:lnTo>
                  <a:pt x="28" y="126"/>
                </a:lnTo>
                <a:lnTo>
                  <a:pt x="28" y="134"/>
                </a:lnTo>
                <a:lnTo>
                  <a:pt x="36" y="136"/>
                </a:lnTo>
                <a:lnTo>
                  <a:pt x="38" y="136"/>
                </a:lnTo>
                <a:lnTo>
                  <a:pt x="40" y="138"/>
                </a:lnTo>
                <a:lnTo>
                  <a:pt x="42" y="140"/>
                </a:lnTo>
                <a:lnTo>
                  <a:pt x="46" y="142"/>
                </a:lnTo>
                <a:lnTo>
                  <a:pt x="52" y="144"/>
                </a:lnTo>
                <a:lnTo>
                  <a:pt x="54" y="142"/>
                </a:lnTo>
                <a:lnTo>
                  <a:pt x="56" y="144"/>
                </a:lnTo>
                <a:lnTo>
                  <a:pt x="60" y="144"/>
                </a:lnTo>
                <a:lnTo>
                  <a:pt x="62" y="148"/>
                </a:lnTo>
                <a:lnTo>
                  <a:pt x="62" y="154"/>
                </a:lnTo>
                <a:lnTo>
                  <a:pt x="62" y="160"/>
                </a:lnTo>
                <a:lnTo>
                  <a:pt x="64" y="162"/>
                </a:lnTo>
                <a:lnTo>
                  <a:pt x="58" y="168"/>
                </a:lnTo>
                <a:lnTo>
                  <a:pt x="62" y="190"/>
                </a:lnTo>
                <a:lnTo>
                  <a:pt x="70" y="190"/>
                </a:lnTo>
                <a:lnTo>
                  <a:pt x="70" y="194"/>
                </a:lnTo>
                <a:lnTo>
                  <a:pt x="44" y="208"/>
                </a:lnTo>
                <a:lnTo>
                  <a:pt x="42" y="210"/>
                </a:lnTo>
                <a:lnTo>
                  <a:pt x="42" y="212"/>
                </a:lnTo>
                <a:lnTo>
                  <a:pt x="44" y="216"/>
                </a:lnTo>
                <a:lnTo>
                  <a:pt x="46" y="222"/>
                </a:lnTo>
                <a:lnTo>
                  <a:pt x="52" y="224"/>
                </a:lnTo>
                <a:lnTo>
                  <a:pt x="52" y="226"/>
                </a:lnTo>
                <a:lnTo>
                  <a:pt x="48" y="230"/>
                </a:lnTo>
                <a:lnTo>
                  <a:pt x="52" y="232"/>
                </a:lnTo>
                <a:lnTo>
                  <a:pt x="52" y="238"/>
                </a:lnTo>
                <a:lnTo>
                  <a:pt x="48" y="240"/>
                </a:lnTo>
                <a:lnTo>
                  <a:pt x="48" y="244"/>
                </a:lnTo>
                <a:lnTo>
                  <a:pt x="52" y="244"/>
                </a:lnTo>
                <a:lnTo>
                  <a:pt x="56" y="246"/>
                </a:lnTo>
                <a:lnTo>
                  <a:pt x="60" y="246"/>
                </a:lnTo>
                <a:lnTo>
                  <a:pt x="62" y="248"/>
                </a:lnTo>
                <a:lnTo>
                  <a:pt x="64" y="250"/>
                </a:lnTo>
                <a:lnTo>
                  <a:pt x="66" y="252"/>
                </a:lnTo>
                <a:lnTo>
                  <a:pt x="76" y="258"/>
                </a:lnTo>
                <a:lnTo>
                  <a:pt x="78" y="260"/>
                </a:lnTo>
                <a:lnTo>
                  <a:pt x="76" y="262"/>
                </a:lnTo>
                <a:lnTo>
                  <a:pt x="74" y="266"/>
                </a:lnTo>
                <a:lnTo>
                  <a:pt x="74" y="268"/>
                </a:lnTo>
                <a:lnTo>
                  <a:pt x="76" y="270"/>
                </a:lnTo>
                <a:lnTo>
                  <a:pt x="78" y="280"/>
                </a:lnTo>
                <a:lnTo>
                  <a:pt x="78" y="286"/>
                </a:lnTo>
                <a:lnTo>
                  <a:pt x="78" y="288"/>
                </a:lnTo>
                <a:lnTo>
                  <a:pt x="78" y="292"/>
                </a:lnTo>
                <a:lnTo>
                  <a:pt x="76" y="296"/>
                </a:lnTo>
                <a:lnTo>
                  <a:pt x="72" y="296"/>
                </a:lnTo>
                <a:lnTo>
                  <a:pt x="72" y="298"/>
                </a:lnTo>
                <a:lnTo>
                  <a:pt x="70" y="300"/>
                </a:lnTo>
                <a:lnTo>
                  <a:pt x="70" y="304"/>
                </a:lnTo>
                <a:lnTo>
                  <a:pt x="66" y="310"/>
                </a:lnTo>
                <a:lnTo>
                  <a:pt x="66" y="314"/>
                </a:lnTo>
                <a:lnTo>
                  <a:pt x="70" y="316"/>
                </a:lnTo>
                <a:lnTo>
                  <a:pt x="72" y="316"/>
                </a:lnTo>
                <a:lnTo>
                  <a:pt x="74" y="314"/>
                </a:lnTo>
                <a:lnTo>
                  <a:pt x="76" y="314"/>
                </a:lnTo>
                <a:lnTo>
                  <a:pt x="78" y="316"/>
                </a:lnTo>
                <a:lnTo>
                  <a:pt x="78" y="318"/>
                </a:lnTo>
                <a:lnTo>
                  <a:pt x="80" y="322"/>
                </a:lnTo>
                <a:lnTo>
                  <a:pt x="82" y="322"/>
                </a:lnTo>
                <a:lnTo>
                  <a:pt x="86" y="322"/>
                </a:lnTo>
                <a:lnTo>
                  <a:pt x="88" y="322"/>
                </a:lnTo>
                <a:lnTo>
                  <a:pt x="90" y="324"/>
                </a:lnTo>
                <a:lnTo>
                  <a:pt x="88" y="324"/>
                </a:lnTo>
                <a:lnTo>
                  <a:pt x="88" y="328"/>
                </a:lnTo>
                <a:lnTo>
                  <a:pt x="86" y="332"/>
                </a:lnTo>
                <a:lnTo>
                  <a:pt x="88" y="334"/>
                </a:lnTo>
                <a:lnTo>
                  <a:pt x="90" y="334"/>
                </a:lnTo>
                <a:lnTo>
                  <a:pt x="92" y="336"/>
                </a:lnTo>
                <a:lnTo>
                  <a:pt x="90" y="340"/>
                </a:lnTo>
                <a:lnTo>
                  <a:pt x="88" y="342"/>
                </a:lnTo>
                <a:lnTo>
                  <a:pt x="88" y="346"/>
                </a:lnTo>
                <a:lnTo>
                  <a:pt x="92" y="346"/>
                </a:lnTo>
                <a:lnTo>
                  <a:pt x="92" y="350"/>
                </a:lnTo>
                <a:lnTo>
                  <a:pt x="92" y="354"/>
                </a:lnTo>
                <a:lnTo>
                  <a:pt x="94" y="356"/>
                </a:lnTo>
                <a:lnTo>
                  <a:pt x="92" y="360"/>
                </a:lnTo>
                <a:lnTo>
                  <a:pt x="96" y="364"/>
                </a:lnTo>
                <a:lnTo>
                  <a:pt x="94" y="370"/>
                </a:lnTo>
                <a:lnTo>
                  <a:pt x="98" y="370"/>
                </a:lnTo>
                <a:lnTo>
                  <a:pt x="104" y="368"/>
                </a:lnTo>
                <a:lnTo>
                  <a:pt x="116" y="364"/>
                </a:lnTo>
                <a:lnTo>
                  <a:pt x="116" y="370"/>
                </a:lnTo>
                <a:lnTo>
                  <a:pt x="130" y="366"/>
                </a:lnTo>
                <a:lnTo>
                  <a:pt x="130" y="376"/>
                </a:lnTo>
                <a:lnTo>
                  <a:pt x="138" y="376"/>
                </a:lnTo>
                <a:lnTo>
                  <a:pt x="142" y="388"/>
                </a:lnTo>
                <a:lnTo>
                  <a:pt x="146" y="392"/>
                </a:lnTo>
                <a:lnTo>
                  <a:pt x="148" y="396"/>
                </a:lnTo>
                <a:lnTo>
                  <a:pt x="146" y="406"/>
                </a:lnTo>
                <a:lnTo>
                  <a:pt x="150" y="408"/>
                </a:lnTo>
                <a:lnTo>
                  <a:pt x="152" y="410"/>
                </a:lnTo>
                <a:lnTo>
                  <a:pt x="160" y="412"/>
                </a:lnTo>
                <a:lnTo>
                  <a:pt x="162" y="414"/>
                </a:lnTo>
                <a:lnTo>
                  <a:pt x="166" y="422"/>
                </a:lnTo>
                <a:lnTo>
                  <a:pt x="168" y="428"/>
                </a:lnTo>
                <a:lnTo>
                  <a:pt x="170" y="436"/>
                </a:lnTo>
                <a:lnTo>
                  <a:pt x="170" y="438"/>
                </a:lnTo>
                <a:lnTo>
                  <a:pt x="174" y="438"/>
                </a:lnTo>
                <a:lnTo>
                  <a:pt x="176" y="432"/>
                </a:lnTo>
                <a:lnTo>
                  <a:pt x="176" y="428"/>
                </a:lnTo>
                <a:lnTo>
                  <a:pt x="176" y="424"/>
                </a:lnTo>
                <a:lnTo>
                  <a:pt x="176" y="420"/>
                </a:lnTo>
                <a:lnTo>
                  <a:pt x="178" y="418"/>
                </a:lnTo>
                <a:lnTo>
                  <a:pt x="180" y="414"/>
                </a:lnTo>
                <a:lnTo>
                  <a:pt x="182" y="412"/>
                </a:lnTo>
                <a:lnTo>
                  <a:pt x="184" y="412"/>
                </a:lnTo>
                <a:lnTo>
                  <a:pt x="184" y="410"/>
                </a:lnTo>
                <a:lnTo>
                  <a:pt x="186" y="408"/>
                </a:lnTo>
                <a:lnTo>
                  <a:pt x="192" y="408"/>
                </a:lnTo>
                <a:lnTo>
                  <a:pt x="196" y="408"/>
                </a:lnTo>
                <a:lnTo>
                  <a:pt x="198" y="408"/>
                </a:lnTo>
                <a:lnTo>
                  <a:pt x="200" y="408"/>
                </a:lnTo>
                <a:lnTo>
                  <a:pt x="202" y="408"/>
                </a:lnTo>
                <a:lnTo>
                  <a:pt x="202" y="406"/>
                </a:lnTo>
                <a:lnTo>
                  <a:pt x="208" y="404"/>
                </a:lnTo>
                <a:lnTo>
                  <a:pt x="210" y="402"/>
                </a:lnTo>
                <a:lnTo>
                  <a:pt x="214" y="402"/>
                </a:lnTo>
                <a:lnTo>
                  <a:pt x="216" y="404"/>
                </a:lnTo>
                <a:lnTo>
                  <a:pt x="220" y="400"/>
                </a:lnTo>
                <a:lnTo>
                  <a:pt x="220" y="396"/>
                </a:lnTo>
                <a:lnTo>
                  <a:pt x="222" y="394"/>
                </a:lnTo>
                <a:lnTo>
                  <a:pt x="228" y="394"/>
                </a:lnTo>
                <a:lnTo>
                  <a:pt x="236" y="392"/>
                </a:lnTo>
                <a:lnTo>
                  <a:pt x="244" y="394"/>
                </a:lnTo>
                <a:lnTo>
                  <a:pt x="246" y="396"/>
                </a:lnTo>
                <a:lnTo>
                  <a:pt x="244" y="404"/>
                </a:lnTo>
                <a:lnTo>
                  <a:pt x="246" y="406"/>
                </a:lnTo>
                <a:lnTo>
                  <a:pt x="250" y="410"/>
                </a:lnTo>
                <a:lnTo>
                  <a:pt x="250" y="412"/>
                </a:lnTo>
                <a:lnTo>
                  <a:pt x="254" y="414"/>
                </a:lnTo>
                <a:lnTo>
                  <a:pt x="256" y="414"/>
                </a:lnTo>
                <a:lnTo>
                  <a:pt x="266" y="408"/>
                </a:lnTo>
                <a:lnTo>
                  <a:pt x="274" y="406"/>
                </a:lnTo>
                <a:lnTo>
                  <a:pt x="280" y="402"/>
                </a:lnTo>
                <a:lnTo>
                  <a:pt x="280" y="396"/>
                </a:lnTo>
                <a:lnTo>
                  <a:pt x="282" y="394"/>
                </a:lnTo>
                <a:lnTo>
                  <a:pt x="284" y="394"/>
                </a:lnTo>
                <a:lnTo>
                  <a:pt x="286" y="400"/>
                </a:lnTo>
                <a:lnTo>
                  <a:pt x="290" y="406"/>
                </a:lnTo>
                <a:lnTo>
                  <a:pt x="294" y="410"/>
                </a:lnTo>
                <a:lnTo>
                  <a:pt x="300" y="412"/>
                </a:lnTo>
                <a:lnTo>
                  <a:pt x="304" y="410"/>
                </a:lnTo>
                <a:lnTo>
                  <a:pt x="312" y="406"/>
                </a:lnTo>
                <a:lnTo>
                  <a:pt x="314" y="406"/>
                </a:lnTo>
                <a:lnTo>
                  <a:pt x="316" y="406"/>
                </a:lnTo>
                <a:lnTo>
                  <a:pt x="316" y="412"/>
                </a:lnTo>
                <a:lnTo>
                  <a:pt x="318" y="414"/>
                </a:lnTo>
                <a:lnTo>
                  <a:pt x="326" y="420"/>
                </a:lnTo>
                <a:lnTo>
                  <a:pt x="326" y="422"/>
                </a:lnTo>
                <a:lnTo>
                  <a:pt x="332" y="422"/>
                </a:lnTo>
                <a:lnTo>
                  <a:pt x="334" y="420"/>
                </a:lnTo>
                <a:lnTo>
                  <a:pt x="338" y="420"/>
                </a:lnTo>
                <a:lnTo>
                  <a:pt x="340" y="420"/>
                </a:lnTo>
                <a:lnTo>
                  <a:pt x="340" y="424"/>
                </a:lnTo>
                <a:lnTo>
                  <a:pt x="342" y="424"/>
                </a:lnTo>
                <a:lnTo>
                  <a:pt x="346" y="422"/>
                </a:lnTo>
                <a:close/>
              </a:path>
            </a:pathLst>
          </a:custGeom>
          <a:solidFill>
            <a:srgbClr val="666766"/>
          </a:solidFill>
          <a:ln w="6350">
            <a:solidFill>
              <a:schemeClr val="tx1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457200">
              <a:defRPr/>
            </a:pPr>
            <a:endParaRPr lang="en-US" kern="0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36" name="Freeform 14">
            <a:extLst>
              <a:ext uri="{FF2B5EF4-FFF2-40B4-BE49-F238E27FC236}">
                <a16:creationId xmlns:a16="http://schemas.microsoft.com/office/drawing/2014/main" id="{7B8E681B-FCCF-003B-BECA-2E0E7785B42D}"/>
              </a:ext>
            </a:extLst>
          </p:cNvPr>
          <p:cNvSpPr>
            <a:spLocks/>
          </p:cNvSpPr>
          <p:nvPr/>
        </p:nvSpPr>
        <p:spPr bwMode="auto">
          <a:xfrm>
            <a:off x="4302760" y="2420620"/>
            <a:ext cx="617220" cy="370840"/>
          </a:xfrm>
          <a:custGeom>
            <a:avLst/>
            <a:gdLst>
              <a:gd name="T0" fmla="*/ 2147483646 w 486"/>
              <a:gd name="T1" fmla="*/ 2147483646 h 292"/>
              <a:gd name="T2" fmla="*/ 2147483646 w 486"/>
              <a:gd name="T3" fmla="*/ 2147483646 h 292"/>
              <a:gd name="T4" fmla="*/ 2147483646 w 486"/>
              <a:gd name="T5" fmla="*/ 2147483646 h 292"/>
              <a:gd name="T6" fmla="*/ 2147483646 w 486"/>
              <a:gd name="T7" fmla="*/ 2147483646 h 292"/>
              <a:gd name="T8" fmla="*/ 2147483646 w 486"/>
              <a:gd name="T9" fmla="*/ 2147483646 h 292"/>
              <a:gd name="T10" fmla="*/ 2147483646 w 486"/>
              <a:gd name="T11" fmla="*/ 2147483646 h 292"/>
              <a:gd name="T12" fmla="*/ 2147483646 w 486"/>
              <a:gd name="T13" fmla="*/ 2147483646 h 292"/>
              <a:gd name="T14" fmla="*/ 2147483646 w 486"/>
              <a:gd name="T15" fmla="*/ 2147483646 h 292"/>
              <a:gd name="T16" fmla="*/ 2147483646 w 486"/>
              <a:gd name="T17" fmla="*/ 2147483646 h 292"/>
              <a:gd name="T18" fmla="*/ 2147483646 w 486"/>
              <a:gd name="T19" fmla="*/ 2147483646 h 292"/>
              <a:gd name="T20" fmla="*/ 2147483646 w 486"/>
              <a:gd name="T21" fmla="*/ 2147483646 h 292"/>
              <a:gd name="T22" fmla="*/ 2147483646 w 486"/>
              <a:gd name="T23" fmla="*/ 2147483646 h 292"/>
              <a:gd name="T24" fmla="*/ 2147483646 w 486"/>
              <a:gd name="T25" fmla="*/ 2147483646 h 292"/>
              <a:gd name="T26" fmla="*/ 2147483646 w 486"/>
              <a:gd name="T27" fmla="*/ 2147483646 h 292"/>
              <a:gd name="T28" fmla="*/ 2147483646 w 486"/>
              <a:gd name="T29" fmla="*/ 2147483646 h 292"/>
              <a:gd name="T30" fmla="*/ 2147483646 w 486"/>
              <a:gd name="T31" fmla="*/ 2147483646 h 292"/>
              <a:gd name="T32" fmla="*/ 2147483646 w 486"/>
              <a:gd name="T33" fmla="*/ 2147483646 h 292"/>
              <a:gd name="T34" fmla="*/ 2147483646 w 486"/>
              <a:gd name="T35" fmla="*/ 2147483646 h 292"/>
              <a:gd name="T36" fmla="*/ 2147483646 w 486"/>
              <a:gd name="T37" fmla="*/ 2147483646 h 292"/>
              <a:gd name="T38" fmla="*/ 2147483646 w 486"/>
              <a:gd name="T39" fmla="*/ 2147483646 h 292"/>
              <a:gd name="T40" fmla="*/ 2147483646 w 486"/>
              <a:gd name="T41" fmla="*/ 2147483646 h 292"/>
              <a:gd name="T42" fmla="*/ 2147483646 w 486"/>
              <a:gd name="T43" fmla="*/ 2147483646 h 292"/>
              <a:gd name="T44" fmla="*/ 2147483646 w 486"/>
              <a:gd name="T45" fmla="*/ 2147483646 h 292"/>
              <a:gd name="T46" fmla="*/ 2147483646 w 486"/>
              <a:gd name="T47" fmla="*/ 2147483646 h 292"/>
              <a:gd name="T48" fmla="*/ 2147483646 w 486"/>
              <a:gd name="T49" fmla="*/ 2147483646 h 292"/>
              <a:gd name="T50" fmla="*/ 2147483646 w 486"/>
              <a:gd name="T51" fmla="*/ 2147483646 h 292"/>
              <a:gd name="T52" fmla="*/ 2147483646 w 486"/>
              <a:gd name="T53" fmla="*/ 2147483646 h 292"/>
              <a:gd name="T54" fmla="*/ 2147483646 w 486"/>
              <a:gd name="T55" fmla="*/ 2147483646 h 292"/>
              <a:gd name="T56" fmla="*/ 2147483646 w 486"/>
              <a:gd name="T57" fmla="*/ 2147483646 h 292"/>
              <a:gd name="T58" fmla="*/ 2147483646 w 486"/>
              <a:gd name="T59" fmla="*/ 2147483646 h 292"/>
              <a:gd name="T60" fmla="*/ 2147483646 w 486"/>
              <a:gd name="T61" fmla="*/ 2147483646 h 292"/>
              <a:gd name="T62" fmla="*/ 2147483646 w 486"/>
              <a:gd name="T63" fmla="*/ 2147483646 h 292"/>
              <a:gd name="T64" fmla="*/ 2147483646 w 486"/>
              <a:gd name="T65" fmla="*/ 2147483646 h 292"/>
              <a:gd name="T66" fmla="*/ 2147483646 w 486"/>
              <a:gd name="T67" fmla="*/ 2147483646 h 292"/>
              <a:gd name="T68" fmla="*/ 2147483646 w 486"/>
              <a:gd name="T69" fmla="*/ 2147483646 h 292"/>
              <a:gd name="T70" fmla="*/ 2147483646 w 486"/>
              <a:gd name="T71" fmla="*/ 2147483646 h 292"/>
              <a:gd name="T72" fmla="*/ 2147483646 w 486"/>
              <a:gd name="T73" fmla="*/ 2147483646 h 292"/>
              <a:gd name="T74" fmla="*/ 2147483646 w 486"/>
              <a:gd name="T75" fmla="*/ 2147483646 h 292"/>
              <a:gd name="T76" fmla="*/ 2147483646 w 486"/>
              <a:gd name="T77" fmla="*/ 2147483646 h 292"/>
              <a:gd name="T78" fmla="*/ 2147483646 w 486"/>
              <a:gd name="T79" fmla="*/ 2147483646 h 292"/>
              <a:gd name="T80" fmla="*/ 2147483646 w 486"/>
              <a:gd name="T81" fmla="*/ 2147483646 h 292"/>
              <a:gd name="T82" fmla="*/ 2147483646 w 486"/>
              <a:gd name="T83" fmla="*/ 2147483646 h 292"/>
              <a:gd name="T84" fmla="*/ 2147483646 w 486"/>
              <a:gd name="T85" fmla="*/ 2147483646 h 292"/>
              <a:gd name="T86" fmla="*/ 2147483646 w 486"/>
              <a:gd name="T87" fmla="*/ 2147483646 h 292"/>
              <a:gd name="T88" fmla="*/ 2147483646 w 486"/>
              <a:gd name="T89" fmla="*/ 2147483646 h 292"/>
              <a:gd name="T90" fmla="*/ 2147483646 w 486"/>
              <a:gd name="T91" fmla="*/ 2147483646 h 292"/>
              <a:gd name="T92" fmla="*/ 2147483646 w 486"/>
              <a:gd name="T93" fmla="*/ 2147483646 h 292"/>
              <a:gd name="T94" fmla="*/ 2147483646 w 486"/>
              <a:gd name="T95" fmla="*/ 2147483646 h 292"/>
              <a:gd name="T96" fmla="*/ 2147483646 w 486"/>
              <a:gd name="T97" fmla="*/ 2147483646 h 292"/>
              <a:gd name="T98" fmla="*/ 2147483646 w 486"/>
              <a:gd name="T99" fmla="*/ 2147483646 h 292"/>
              <a:gd name="T100" fmla="*/ 2147483646 w 486"/>
              <a:gd name="T101" fmla="*/ 2147483646 h 292"/>
              <a:gd name="T102" fmla="*/ 0 w 486"/>
              <a:gd name="T103" fmla="*/ 2147483646 h 292"/>
              <a:gd name="T104" fmla="*/ 2147483646 w 486"/>
              <a:gd name="T105" fmla="*/ 2147483646 h 292"/>
              <a:gd name="T106" fmla="*/ 2147483646 w 486"/>
              <a:gd name="T107" fmla="*/ 2147483646 h 292"/>
              <a:gd name="T108" fmla="*/ 2147483646 w 486"/>
              <a:gd name="T109" fmla="*/ 2147483646 h 292"/>
              <a:gd name="T110" fmla="*/ 2147483646 w 486"/>
              <a:gd name="T111" fmla="*/ 2147483646 h 292"/>
              <a:gd name="T112" fmla="*/ 2147483646 w 486"/>
              <a:gd name="T113" fmla="*/ 2147483646 h 292"/>
              <a:gd name="T114" fmla="*/ 2147483646 w 486"/>
              <a:gd name="T115" fmla="*/ 2147483646 h 292"/>
              <a:gd name="T116" fmla="*/ 2147483646 w 486"/>
              <a:gd name="T117" fmla="*/ 2147483646 h 292"/>
              <a:gd name="T118" fmla="*/ 2147483646 w 486"/>
              <a:gd name="T119" fmla="*/ 2147483646 h 292"/>
              <a:gd name="T120" fmla="*/ 2147483646 w 486"/>
              <a:gd name="T121" fmla="*/ 2147483646 h 292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w 486"/>
              <a:gd name="T184" fmla="*/ 0 h 292"/>
              <a:gd name="T185" fmla="*/ 486 w 486"/>
              <a:gd name="T186" fmla="*/ 292 h 292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T183" t="T184" r="T185" b="T186"/>
            <a:pathLst>
              <a:path w="486" h="292">
                <a:moveTo>
                  <a:pt x="70" y="212"/>
                </a:moveTo>
                <a:lnTo>
                  <a:pt x="76" y="212"/>
                </a:lnTo>
                <a:lnTo>
                  <a:pt x="84" y="214"/>
                </a:lnTo>
                <a:lnTo>
                  <a:pt x="174" y="234"/>
                </a:lnTo>
                <a:lnTo>
                  <a:pt x="194" y="242"/>
                </a:lnTo>
                <a:lnTo>
                  <a:pt x="202" y="244"/>
                </a:lnTo>
                <a:lnTo>
                  <a:pt x="260" y="282"/>
                </a:lnTo>
                <a:lnTo>
                  <a:pt x="262" y="284"/>
                </a:lnTo>
                <a:lnTo>
                  <a:pt x="324" y="274"/>
                </a:lnTo>
                <a:lnTo>
                  <a:pt x="330" y="270"/>
                </a:lnTo>
                <a:lnTo>
                  <a:pt x="332" y="264"/>
                </a:lnTo>
                <a:lnTo>
                  <a:pt x="334" y="264"/>
                </a:lnTo>
                <a:lnTo>
                  <a:pt x="342" y="268"/>
                </a:lnTo>
                <a:lnTo>
                  <a:pt x="346" y="274"/>
                </a:lnTo>
                <a:lnTo>
                  <a:pt x="348" y="280"/>
                </a:lnTo>
                <a:lnTo>
                  <a:pt x="354" y="292"/>
                </a:lnTo>
                <a:lnTo>
                  <a:pt x="408" y="274"/>
                </a:lnTo>
                <a:lnTo>
                  <a:pt x="412" y="270"/>
                </a:lnTo>
                <a:lnTo>
                  <a:pt x="418" y="260"/>
                </a:lnTo>
                <a:lnTo>
                  <a:pt x="420" y="256"/>
                </a:lnTo>
                <a:lnTo>
                  <a:pt x="422" y="250"/>
                </a:lnTo>
                <a:lnTo>
                  <a:pt x="468" y="226"/>
                </a:lnTo>
                <a:lnTo>
                  <a:pt x="486" y="214"/>
                </a:lnTo>
                <a:lnTo>
                  <a:pt x="460" y="204"/>
                </a:lnTo>
                <a:lnTo>
                  <a:pt x="456" y="196"/>
                </a:lnTo>
                <a:lnTo>
                  <a:pt x="454" y="192"/>
                </a:lnTo>
                <a:lnTo>
                  <a:pt x="448" y="188"/>
                </a:lnTo>
                <a:lnTo>
                  <a:pt x="440" y="186"/>
                </a:lnTo>
                <a:lnTo>
                  <a:pt x="438" y="178"/>
                </a:lnTo>
                <a:lnTo>
                  <a:pt x="434" y="174"/>
                </a:lnTo>
                <a:lnTo>
                  <a:pt x="420" y="174"/>
                </a:lnTo>
                <a:lnTo>
                  <a:pt x="418" y="170"/>
                </a:lnTo>
                <a:lnTo>
                  <a:pt x="416" y="166"/>
                </a:lnTo>
                <a:lnTo>
                  <a:pt x="416" y="162"/>
                </a:lnTo>
                <a:lnTo>
                  <a:pt x="418" y="158"/>
                </a:lnTo>
                <a:lnTo>
                  <a:pt x="416" y="158"/>
                </a:lnTo>
                <a:lnTo>
                  <a:pt x="418" y="156"/>
                </a:lnTo>
                <a:lnTo>
                  <a:pt x="408" y="154"/>
                </a:lnTo>
                <a:lnTo>
                  <a:pt x="404" y="156"/>
                </a:lnTo>
                <a:lnTo>
                  <a:pt x="398" y="152"/>
                </a:lnTo>
                <a:lnTo>
                  <a:pt x="394" y="148"/>
                </a:lnTo>
                <a:lnTo>
                  <a:pt x="390" y="148"/>
                </a:lnTo>
                <a:lnTo>
                  <a:pt x="390" y="144"/>
                </a:lnTo>
                <a:lnTo>
                  <a:pt x="394" y="142"/>
                </a:lnTo>
                <a:lnTo>
                  <a:pt x="396" y="140"/>
                </a:lnTo>
                <a:lnTo>
                  <a:pt x="390" y="136"/>
                </a:lnTo>
                <a:lnTo>
                  <a:pt x="382" y="124"/>
                </a:lnTo>
                <a:lnTo>
                  <a:pt x="372" y="118"/>
                </a:lnTo>
                <a:lnTo>
                  <a:pt x="336" y="86"/>
                </a:lnTo>
                <a:lnTo>
                  <a:pt x="334" y="76"/>
                </a:lnTo>
                <a:lnTo>
                  <a:pt x="332" y="76"/>
                </a:lnTo>
                <a:lnTo>
                  <a:pt x="328" y="72"/>
                </a:lnTo>
                <a:lnTo>
                  <a:pt x="324" y="72"/>
                </a:lnTo>
                <a:lnTo>
                  <a:pt x="324" y="70"/>
                </a:lnTo>
                <a:lnTo>
                  <a:pt x="318" y="68"/>
                </a:lnTo>
                <a:lnTo>
                  <a:pt x="314" y="62"/>
                </a:lnTo>
                <a:lnTo>
                  <a:pt x="314" y="58"/>
                </a:lnTo>
                <a:lnTo>
                  <a:pt x="302" y="46"/>
                </a:lnTo>
                <a:lnTo>
                  <a:pt x="296" y="36"/>
                </a:lnTo>
                <a:lnTo>
                  <a:pt x="196" y="36"/>
                </a:lnTo>
                <a:lnTo>
                  <a:pt x="164" y="34"/>
                </a:lnTo>
                <a:lnTo>
                  <a:pt x="154" y="36"/>
                </a:lnTo>
                <a:lnTo>
                  <a:pt x="140" y="36"/>
                </a:lnTo>
                <a:lnTo>
                  <a:pt x="134" y="34"/>
                </a:lnTo>
                <a:lnTo>
                  <a:pt x="130" y="34"/>
                </a:lnTo>
                <a:lnTo>
                  <a:pt x="124" y="32"/>
                </a:lnTo>
                <a:lnTo>
                  <a:pt x="116" y="22"/>
                </a:lnTo>
                <a:lnTo>
                  <a:pt x="112" y="14"/>
                </a:lnTo>
                <a:lnTo>
                  <a:pt x="110" y="12"/>
                </a:lnTo>
                <a:lnTo>
                  <a:pt x="106" y="14"/>
                </a:lnTo>
                <a:lnTo>
                  <a:pt x="100" y="12"/>
                </a:lnTo>
                <a:lnTo>
                  <a:pt x="94" y="14"/>
                </a:lnTo>
                <a:lnTo>
                  <a:pt x="86" y="8"/>
                </a:lnTo>
                <a:lnTo>
                  <a:pt x="78" y="14"/>
                </a:lnTo>
                <a:lnTo>
                  <a:pt x="76" y="10"/>
                </a:lnTo>
                <a:lnTo>
                  <a:pt x="74" y="6"/>
                </a:lnTo>
                <a:lnTo>
                  <a:pt x="70" y="0"/>
                </a:lnTo>
                <a:lnTo>
                  <a:pt x="66" y="6"/>
                </a:lnTo>
                <a:lnTo>
                  <a:pt x="60" y="6"/>
                </a:lnTo>
                <a:lnTo>
                  <a:pt x="54" y="10"/>
                </a:lnTo>
                <a:lnTo>
                  <a:pt x="52" y="12"/>
                </a:lnTo>
                <a:lnTo>
                  <a:pt x="48" y="14"/>
                </a:lnTo>
                <a:lnTo>
                  <a:pt x="48" y="16"/>
                </a:lnTo>
                <a:lnTo>
                  <a:pt x="48" y="18"/>
                </a:lnTo>
                <a:lnTo>
                  <a:pt x="52" y="24"/>
                </a:lnTo>
                <a:lnTo>
                  <a:pt x="54" y="30"/>
                </a:lnTo>
                <a:lnTo>
                  <a:pt x="52" y="34"/>
                </a:lnTo>
                <a:lnTo>
                  <a:pt x="46" y="34"/>
                </a:lnTo>
                <a:lnTo>
                  <a:pt x="42" y="36"/>
                </a:lnTo>
                <a:lnTo>
                  <a:pt x="40" y="46"/>
                </a:lnTo>
                <a:lnTo>
                  <a:pt x="42" y="52"/>
                </a:lnTo>
                <a:lnTo>
                  <a:pt x="40" y="52"/>
                </a:lnTo>
                <a:lnTo>
                  <a:pt x="36" y="52"/>
                </a:lnTo>
                <a:lnTo>
                  <a:pt x="26" y="50"/>
                </a:lnTo>
                <a:lnTo>
                  <a:pt x="20" y="52"/>
                </a:lnTo>
                <a:lnTo>
                  <a:pt x="16" y="54"/>
                </a:lnTo>
                <a:lnTo>
                  <a:pt x="14" y="60"/>
                </a:lnTo>
                <a:lnTo>
                  <a:pt x="16" y="68"/>
                </a:lnTo>
                <a:lnTo>
                  <a:pt x="12" y="76"/>
                </a:lnTo>
                <a:lnTo>
                  <a:pt x="8" y="78"/>
                </a:lnTo>
                <a:lnTo>
                  <a:pt x="6" y="82"/>
                </a:lnTo>
                <a:lnTo>
                  <a:pt x="2" y="86"/>
                </a:lnTo>
                <a:lnTo>
                  <a:pt x="0" y="94"/>
                </a:lnTo>
                <a:lnTo>
                  <a:pt x="0" y="98"/>
                </a:lnTo>
                <a:lnTo>
                  <a:pt x="2" y="102"/>
                </a:lnTo>
                <a:lnTo>
                  <a:pt x="2" y="108"/>
                </a:lnTo>
                <a:lnTo>
                  <a:pt x="4" y="116"/>
                </a:lnTo>
                <a:lnTo>
                  <a:pt x="12" y="122"/>
                </a:lnTo>
                <a:lnTo>
                  <a:pt x="12" y="126"/>
                </a:lnTo>
                <a:lnTo>
                  <a:pt x="8" y="140"/>
                </a:lnTo>
                <a:lnTo>
                  <a:pt x="14" y="142"/>
                </a:lnTo>
                <a:lnTo>
                  <a:pt x="14" y="148"/>
                </a:lnTo>
                <a:lnTo>
                  <a:pt x="18" y="150"/>
                </a:lnTo>
                <a:lnTo>
                  <a:pt x="24" y="158"/>
                </a:lnTo>
                <a:lnTo>
                  <a:pt x="22" y="166"/>
                </a:lnTo>
                <a:lnTo>
                  <a:pt x="22" y="176"/>
                </a:lnTo>
                <a:lnTo>
                  <a:pt x="20" y="180"/>
                </a:lnTo>
                <a:lnTo>
                  <a:pt x="8" y="180"/>
                </a:lnTo>
                <a:lnTo>
                  <a:pt x="4" y="186"/>
                </a:lnTo>
                <a:lnTo>
                  <a:pt x="4" y="192"/>
                </a:lnTo>
                <a:lnTo>
                  <a:pt x="2" y="198"/>
                </a:lnTo>
                <a:lnTo>
                  <a:pt x="6" y="198"/>
                </a:lnTo>
                <a:lnTo>
                  <a:pt x="70" y="212"/>
                </a:lnTo>
                <a:close/>
              </a:path>
            </a:pathLst>
          </a:custGeom>
          <a:solidFill>
            <a:srgbClr val="F1B728"/>
          </a:solidFill>
          <a:ln w="6350">
            <a:solidFill>
              <a:schemeClr val="tx1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457200">
              <a:defRPr/>
            </a:pPr>
            <a:endParaRPr lang="en-US" kern="0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37" name="Freeform 15">
            <a:extLst>
              <a:ext uri="{FF2B5EF4-FFF2-40B4-BE49-F238E27FC236}">
                <a16:creationId xmlns:a16="http://schemas.microsoft.com/office/drawing/2014/main" id="{68178083-E8BD-8926-C7C7-14C9B91C6CEB}"/>
              </a:ext>
            </a:extLst>
          </p:cNvPr>
          <p:cNvSpPr>
            <a:spLocks/>
          </p:cNvSpPr>
          <p:nvPr/>
        </p:nvSpPr>
        <p:spPr bwMode="auto">
          <a:xfrm>
            <a:off x="2562860" y="3789680"/>
            <a:ext cx="403860" cy="594360"/>
          </a:xfrm>
          <a:custGeom>
            <a:avLst/>
            <a:gdLst>
              <a:gd name="T0" fmla="*/ 2147483646 w 318"/>
              <a:gd name="T1" fmla="*/ 2147483646 h 468"/>
              <a:gd name="T2" fmla="*/ 2147483646 w 318"/>
              <a:gd name="T3" fmla="*/ 2147483646 h 468"/>
              <a:gd name="T4" fmla="*/ 2147483646 w 318"/>
              <a:gd name="T5" fmla="*/ 2147483646 h 468"/>
              <a:gd name="T6" fmla="*/ 2147483646 w 318"/>
              <a:gd name="T7" fmla="*/ 2147483646 h 468"/>
              <a:gd name="T8" fmla="*/ 2147483646 w 318"/>
              <a:gd name="T9" fmla="*/ 2147483646 h 468"/>
              <a:gd name="T10" fmla="*/ 2147483646 w 318"/>
              <a:gd name="T11" fmla="*/ 2147483646 h 468"/>
              <a:gd name="T12" fmla="*/ 2147483646 w 318"/>
              <a:gd name="T13" fmla="*/ 2147483646 h 468"/>
              <a:gd name="T14" fmla="*/ 2147483646 w 318"/>
              <a:gd name="T15" fmla="*/ 2147483646 h 468"/>
              <a:gd name="T16" fmla="*/ 2147483646 w 318"/>
              <a:gd name="T17" fmla="*/ 2147483646 h 468"/>
              <a:gd name="T18" fmla="*/ 2147483646 w 318"/>
              <a:gd name="T19" fmla="*/ 2147483646 h 468"/>
              <a:gd name="T20" fmla="*/ 2147483646 w 318"/>
              <a:gd name="T21" fmla="*/ 2147483646 h 468"/>
              <a:gd name="T22" fmla="*/ 2147483646 w 318"/>
              <a:gd name="T23" fmla="*/ 2147483646 h 468"/>
              <a:gd name="T24" fmla="*/ 2147483646 w 318"/>
              <a:gd name="T25" fmla="*/ 2147483646 h 468"/>
              <a:gd name="T26" fmla="*/ 2147483646 w 318"/>
              <a:gd name="T27" fmla="*/ 2147483646 h 468"/>
              <a:gd name="T28" fmla="*/ 2147483646 w 318"/>
              <a:gd name="T29" fmla="*/ 2147483646 h 468"/>
              <a:gd name="T30" fmla="*/ 2147483646 w 318"/>
              <a:gd name="T31" fmla="*/ 2147483646 h 468"/>
              <a:gd name="T32" fmla="*/ 2147483646 w 318"/>
              <a:gd name="T33" fmla="*/ 2147483646 h 468"/>
              <a:gd name="T34" fmla="*/ 2147483646 w 318"/>
              <a:gd name="T35" fmla="*/ 2147483646 h 468"/>
              <a:gd name="T36" fmla="*/ 2147483646 w 318"/>
              <a:gd name="T37" fmla="*/ 2147483646 h 468"/>
              <a:gd name="T38" fmla="*/ 2147483646 w 318"/>
              <a:gd name="T39" fmla="*/ 2147483646 h 468"/>
              <a:gd name="T40" fmla="*/ 2147483646 w 318"/>
              <a:gd name="T41" fmla="*/ 2147483646 h 468"/>
              <a:gd name="T42" fmla="*/ 2147483646 w 318"/>
              <a:gd name="T43" fmla="*/ 2147483646 h 468"/>
              <a:gd name="T44" fmla="*/ 2147483646 w 318"/>
              <a:gd name="T45" fmla="*/ 2147483646 h 468"/>
              <a:gd name="T46" fmla="*/ 2147483646 w 318"/>
              <a:gd name="T47" fmla="*/ 2147483646 h 468"/>
              <a:gd name="T48" fmla="*/ 2147483646 w 318"/>
              <a:gd name="T49" fmla="*/ 2147483646 h 468"/>
              <a:gd name="T50" fmla="*/ 2147483646 w 318"/>
              <a:gd name="T51" fmla="*/ 2147483646 h 468"/>
              <a:gd name="T52" fmla="*/ 2147483646 w 318"/>
              <a:gd name="T53" fmla="*/ 2147483646 h 468"/>
              <a:gd name="T54" fmla="*/ 2147483646 w 318"/>
              <a:gd name="T55" fmla="*/ 2147483646 h 468"/>
              <a:gd name="T56" fmla="*/ 2147483646 w 318"/>
              <a:gd name="T57" fmla="*/ 2147483646 h 468"/>
              <a:gd name="T58" fmla="*/ 2147483646 w 318"/>
              <a:gd name="T59" fmla="*/ 2147483646 h 468"/>
              <a:gd name="T60" fmla="*/ 2147483646 w 318"/>
              <a:gd name="T61" fmla="*/ 2147483646 h 468"/>
              <a:gd name="T62" fmla="*/ 2147483646 w 318"/>
              <a:gd name="T63" fmla="*/ 2147483646 h 468"/>
              <a:gd name="T64" fmla="*/ 2147483646 w 318"/>
              <a:gd name="T65" fmla="*/ 2147483646 h 468"/>
              <a:gd name="T66" fmla="*/ 2147483646 w 318"/>
              <a:gd name="T67" fmla="*/ 2147483646 h 468"/>
              <a:gd name="T68" fmla="*/ 2147483646 w 318"/>
              <a:gd name="T69" fmla="*/ 2147483646 h 468"/>
              <a:gd name="T70" fmla="*/ 2147483646 w 318"/>
              <a:gd name="T71" fmla="*/ 2147483646 h 468"/>
              <a:gd name="T72" fmla="*/ 2147483646 w 318"/>
              <a:gd name="T73" fmla="*/ 2147483646 h 468"/>
              <a:gd name="T74" fmla="*/ 2147483646 w 318"/>
              <a:gd name="T75" fmla="*/ 2147483646 h 468"/>
              <a:gd name="T76" fmla="*/ 2147483646 w 318"/>
              <a:gd name="T77" fmla="*/ 2147483646 h 468"/>
              <a:gd name="T78" fmla="*/ 2147483646 w 318"/>
              <a:gd name="T79" fmla="*/ 2147483646 h 468"/>
              <a:gd name="T80" fmla="*/ 2147483646 w 318"/>
              <a:gd name="T81" fmla="*/ 2147483646 h 468"/>
              <a:gd name="T82" fmla="*/ 2147483646 w 318"/>
              <a:gd name="T83" fmla="*/ 2147483646 h 468"/>
              <a:gd name="T84" fmla="*/ 2147483646 w 318"/>
              <a:gd name="T85" fmla="*/ 2147483646 h 468"/>
              <a:gd name="T86" fmla="*/ 2147483646 w 318"/>
              <a:gd name="T87" fmla="*/ 2147483646 h 468"/>
              <a:gd name="T88" fmla="*/ 2147483646 w 318"/>
              <a:gd name="T89" fmla="*/ 2147483646 h 468"/>
              <a:gd name="T90" fmla="*/ 2147483646 w 318"/>
              <a:gd name="T91" fmla="*/ 2147483646 h 468"/>
              <a:gd name="T92" fmla="*/ 2147483646 w 318"/>
              <a:gd name="T93" fmla="*/ 2147483646 h 468"/>
              <a:gd name="T94" fmla="*/ 2147483646 w 318"/>
              <a:gd name="T95" fmla="*/ 2147483646 h 468"/>
              <a:gd name="T96" fmla="*/ 2147483646 w 318"/>
              <a:gd name="T97" fmla="*/ 2147483646 h 468"/>
              <a:gd name="T98" fmla="*/ 2147483646 w 318"/>
              <a:gd name="T99" fmla="*/ 2147483646 h 468"/>
              <a:gd name="T100" fmla="*/ 2147483646 w 318"/>
              <a:gd name="T101" fmla="*/ 2147483646 h 468"/>
              <a:gd name="T102" fmla="*/ 2147483646 w 318"/>
              <a:gd name="T103" fmla="*/ 2147483646 h 468"/>
              <a:gd name="T104" fmla="*/ 2147483646 w 318"/>
              <a:gd name="T105" fmla="*/ 0 h 468"/>
              <a:gd name="T106" fmla="*/ 2147483646 w 318"/>
              <a:gd name="T107" fmla="*/ 2147483646 h 468"/>
              <a:gd name="T108" fmla="*/ 2147483646 w 318"/>
              <a:gd name="T109" fmla="*/ 2147483646 h 468"/>
              <a:gd name="T110" fmla="*/ 0 w 318"/>
              <a:gd name="T111" fmla="*/ 2147483646 h 468"/>
              <a:gd name="T112" fmla="*/ 2147483646 w 318"/>
              <a:gd name="T113" fmla="*/ 2147483646 h 468"/>
              <a:gd name="T114" fmla="*/ 2147483646 w 318"/>
              <a:gd name="T115" fmla="*/ 2147483646 h 468"/>
              <a:gd name="T116" fmla="*/ 2147483646 w 318"/>
              <a:gd name="T117" fmla="*/ 2147483646 h 468"/>
              <a:gd name="T118" fmla="*/ 2147483646 w 318"/>
              <a:gd name="T119" fmla="*/ 2147483646 h 468"/>
              <a:gd name="T120" fmla="*/ 2147483646 w 318"/>
              <a:gd name="T121" fmla="*/ 2147483646 h 468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w 318"/>
              <a:gd name="T184" fmla="*/ 0 h 468"/>
              <a:gd name="T185" fmla="*/ 318 w 318"/>
              <a:gd name="T186" fmla="*/ 468 h 468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T183" t="T184" r="T185" b="T186"/>
            <a:pathLst>
              <a:path w="318" h="468">
                <a:moveTo>
                  <a:pt x="14" y="390"/>
                </a:moveTo>
                <a:lnTo>
                  <a:pt x="14" y="396"/>
                </a:lnTo>
                <a:lnTo>
                  <a:pt x="6" y="446"/>
                </a:lnTo>
                <a:lnTo>
                  <a:pt x="14" y="448"/>
                </a:lnTo>
                <a:lnTo>
                  <a:pt x="18" y="452"/>
                </a:lnTo>
                <a:lnTo>
                  <a:pt x="22" y="458"/>
                </a:lnTo>
                <a:lnTo>
                  <a:pt x="30" y="458"/>
                </a:lnTo>
                <a:lnTo>
                  <a:pt x="36" y="458"/>
                </a:lnTo>
                <a:lnTo>
                  <a:pt x="36" y="466"/>
                </a:lnTo>
                <a:lnTo>
                  <a:pt x="40" y="464"/>
                </a:lnTo>
                <a:lnTo>
                  <a:pt x="46" y="466"/>
                </a:lnTo>
                <a:lnTo>
                  <a:pt x="54" y="468"/>
                </a:lnTo>
                <a:lnTo>
                  <a:pt x="56" y="460"/>
                </a:lnTo>
                <a:lnTo>
                  <a:pt x="66" y="460"/>
                </a:lnTo>
                <a:lnTo>
                  <a:pt x="118" y="412"/>
                </a:lnTo>
                <a:lnTo>
                  <a:pt x="124" y="408"/>
                </a:lnTo>
                <a:lnTo>
                  <a:pt x="140" y="322"/>
                </a:lnTo>
                <a:lnTo>
                  <a:pt x="184" y="298"/>
                </a:lnTo>
                <a:lnTo>
                  <a:pt x="294" y="248"/>
                </a:lnTo>
                <a:lnTo>
                  <a:pt x="294" y="236"/>
                </a:lnTo>
                <a:lnTo>
                  <a:pt x="292" y="230"/>
                </a:lnTo>
                <a:lnTo>
                  <a:pt x="288" y="218"/>
                </a:lnTo>
                <a:lnTo>
                  <a:pt x="288" y="208"/>
                </a:lnTo>
                <a:lnTo>
                  <a:pt x="284" y="206"/>
                </a:lnTo>
                <a:lnTo>
                  <a:pt x="282" y="202"/>
                </a:lnTo>
                <a:lnTo>
                  <a:pt x="280" y="200"/>
                </a:lnTo>
                <a:lnTo>
                  <a:pt x="280" y="194"/>
                </a:lnTo>
                <a:lnTo>
                  <a:pt x="278" y="190"/>
                </a:lnTo>
                <a:lnTo>
                  <a:pt x="276" y="190"/>
                </a:lnTo>
                <a:lnTo>
                  <a:pt x="272" y="188"/>
                </a:lnTo>
                <a:lnTo>
                  <a:pt x="272" y="182"/>
                </a:lnTo>
                <a:lnTo>
                  <a:pt x="270" y="178"/>
                </a:lnTo>
                <a:lnTo>
                  <a:pt x="272" y="174"/>
                </a:lnTo>
                <a:lnTo>
                  <a:pt x="272" y="170"/>
                </a:lnTo>
                <a:lnTo>
                  <a:pt x="272" y="164"/>
                </a:lnTo>
                <a:lnTo>
                  <a:pt x="274" y="160"/>
                </a:lnTo>
                <a:lnTo>
                  <a:pt x="272" y="156"/>
                </a:lnTo>
                <a:lnTo>
                  <a:pt x="276" y="152"/>
                </a:lnTo>
                <a:lnTo>
                  <a:pt x="274" y="142"/>
                </a:lnTo>
                <a:lnTo>
                  <a:pt x="274" y="126"/>
                </a:lnTo>
                <a:lnTo>
                  <a:pt x="272" y="120"/>
                </a:lnTo>
                <a:lnTo>
                  <a:pt x="272" y="116"/>
                </a:lnTo>
                <a:lnTo>
                  <a:pt x="274" y="110"/>
                </a:lnTo>
                <a:lnTo>
                  <a:pt x="276" y="108"/>
                </a:lnTo>
                <a:lnTo>
                  <a:pt x="280" y="106"/>
                </a:lnTo>
                <a:lnTo>
                  <a:pt x="280" y="100"/>
                </a:lnTo>
                <a:lnTo>
                  <a:pt x="282" y="98"/>
                </a:lnTo>
                <a:lnTo>
                  <a:pt x="292" y="100"/>
                </a:lnTo>
                <a:lnTo>
                  <a:pt x="294" y="100"/>
                </a:lnTo>
                <a:lnTo>
                  <a:pt x="302" y="88"/>
                </a:lnTo>
                <a:lnTo>
                  <a:pt x="308" y="84"/>
                </a:lnTo>
                <a:lnTo>
                  <a:pt x="318" y="68"/>
                </a:lnTo>
                <a:lnTo>
                  <a:pt x="276" y="0"/>
                </a:lnTo>
                <a:lnTo>
                  <a:pt x="254" y="4"/>
                </a:lnTo>
                <a:lnTo>
                  <a:pt x="92" y="30"/>
                </a:lnTo>
                <a:lnTo>
                  <a:pt x="0" y="86"/>
                </a:lnTo>
                <a:lnTo>
                  <a:pt x="4" y="236"/>
                </a:lnTo>
                <a:lnTo>
                  <a:pt x="6" y="320"/>
                </a:lnTo>
                <a:lnTo>
                  <a:pt x="10" y="350"/>
                </a:lnTo>
                <a:lnTo>
                  <a:pt x="14" y="378"/>
                </a:lnTo>
                <a:lnTo>
                  <a:pt x="14" y="390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 w="6350">
            <a:solidFill>
              <a:schemeClr val="tx2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457200">
              <a:defRPr/>
            </a:pPr>
            <a:endParaRPr lang="en-US" kern="0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38" name="Freeform 16">
            <a:extLst>
              <a:ext uri="{FF2B5EF4-FFF2-40B4-BE49-F238E27FC236}">
                <a16:creationId xmlns:a16="http://schemas.microsoft.com/office/drawing/2014/main" id="{24FBFDCD-F84A-6FCF-DB4F-017E3EEF5F47}"/>
              </a:ext>
            </a:extLst>
          </p:cNvPr>
          <p:cNvSpPr>
            <a:spLocks/>
          </p:cNvSpPr>
          <p:nvPr/>
        </p:nvSpPr>
        <p:spPr bwMode="auto">
          <a:xfrm>
            <a:off x="2278380" y="4229100"/>
            <a:ext cx="571500" cy="614680"/>
          </a:xfrm>
          <a:custGeom>
            <a:avLst/>
            <a:gdLst>
              <a:gd name="T0" fmla="*/ 2147483646 w 450"/>
              <a:gd name="T1" fmla="*/ 2147483646 h 484"/>
              <a:gd name="T2" fmla="*/ 2147483646 w 450"/>
              <a:gd name="T3" fmla="*/ 2147483646 h 484"/>
              <a:gd name="T4" fmla="*/ 2147483646 w 450"/>
              <a:gd name="T5" fmla="*/ 2147483646 h 484"/>
              <a:gd name="T6" fmla="*/ 2147483646 w 450"/>
              <a:gd name="T7" fmla="*/ 2147483646 h 484"/>
              <a:gd name="T8" fmla="*/ 2147483646 w 450"/>
              <a:gd name="T9" fmla="*/ 2147483646 h 484"/>
              <a:gd name="T10" fmla="*/ 2147483646 w 450"/>
              <a:gd name="T11" fmla="*/ 2147483646 h 484"/>
              <a:gd name="T12" fmla="*/ 2147483646 w 450"/>
              <a:gd name="T13" fmla="*/ 2147483646 h 484"/>
              <a:gd name="T14" fmla="*/ 2147483646 w 450"/>
              <a:gd name="T15" fmla="*/ 2147483646 h 484"/>
              <a:gd name="T16" fmla="*/ 2147483646 w 450"/>
              <a:gd name="T17" fmla="*/ 2147483646 h 484"/>
              <a:gd name="T18" fmla="*/ 2147483646 w 450"/>
              <a:gd name="T19" fmla="*/ 2147483646 h 484"/>
              <a:gd name="T20" fmla="*/ 2147483646 w 450"/>
              <a:gd name="T21" fmla="*/ 2147483646 h 484"/>
              <a:gd name="T22" fmla="*/ 2147483646 w 450"/>
              <a:gd name="T23" fmla="*/ 2147483646 h 484"/>
              <a:gd name="T24" fmla="*/ 2147483646 w 450"/>
              <a:gd name="T25" fmla="*/ 2147483646 h 484"/>
              <a:gd name="T26" fmla="*/ 2147483646 w 450"/>
              <a:gd name="T27" fmla="*/ 2147483646 h 484"/>
              <a:gd name="T28" fmla="*/ 2147483646 w 450"/>
              <a:gd name="T29" fmla="*/ 2147483646 h 484"/>
              <a:gd name="T30" fmla="*/ 2147483646 w 450"/>
              <a:gd name="T31" fmla="*/ 2147483646 h 484"/>
              <a:gd name="T32" fmla="*/ 2147483646 w 450"/>
              <a:gd name="T33" fmla="*/ 2147483646 h 484"/>
              <a:gd name="T34" fmla="*/ 2147483646 w 450"/>
              <a:gd name="T35" fmla="*/ 2147483646 h 484"/>
              <a:gd name="T36" fmla="*/ 2147483646 w 450"/>
              <a:gd name="T37" fmla="*/ 2147483646 h 484"/>
              <a:gd name="T38" fmla="*/ 2147483646 w 450"/>
              <a:gd name="T39" fmla="*/ 2147483646 h 484"/>
              <a:gd name="T40" fmla="*/ 2147483646 w 450"/>
              <a:gd name="T41" fmla="*/ 2147483646 h 484"/>
              <a:gd name="T42" fmla="*/ 2147483646 w 450"/>
              <a:gd name="T43" fmla="*/ 2147483646 h 484"/>
              <a:gd name="T44" fmla="*/ 2147483646 w 450"/>
              <a:gd name="T45" fmla="*/ 2147483646 h 484"/>
              <a:gd name="T46" fmla="*/ 2147483646 w 450"/>
              <a:gd name="T47" fmla="*/ 2147483646 h 484"/>
              <a:gd name="T48" fmla="*/ 2147483646 w 450"/>
              <a:gd name="T49" fmla="*/ 2147483646 h 484"/>
              <a:gd name="T50" fmla="*/ 2147483646 w 450"/>
              <a:gd name="T51" fmla="*/ 2147483646 h 484"/>
              <a:gd name="T52" fmla="*/ 2147483646 w 450"/>
              <a:gd name="T53" fmla="*/ 2147483646 h 484"/>
              <a:gd name="T54" fmla="*/ 2147483646 w 450"/>
              <a:gd name="T55" fmla="*/ 2147483646 h 484"/>
              <a:gd name="T56" fmla="*/ 2147483646 w 450"/>
              <a:gd name="T57" fmla="*/ 2147483646 h 484"/>
              <a:gd name="T58" fmla="*/ 2147483646 w 450"/>
              <a:gd name="T59" fmla="*/ 2147483646 h 484"/>
              <a:gd name="T60" fmla="*/ 2147483646 w 450"/>
              <a:gd name="T61" fmla="*/ 2147483646 h 484"/>
              <a:gd name="T62" fmla="*/ 2147483646 w 450"/>
              <a:gd name="T63" fmla="*/ 2147483646 h 484"/>
              <a:gd name="T64" fmla="*/ 2147483646 w 450"/>
              <a:gd name="T65" fmla="*/ 2147483646 h 484"/>
              <a:gd name="T66" fmla="*/ 2147483646 w 450"/>
              <a:gd name="T67" fmla="*/ 2147483646 h 484"/>
              <a:gd name="T68" fmla="*/ 2147483646 w 450"/>
              <a:gd name="T69" fmla="*/ 2147483646 h 484"/>
              <a:gd name="T70" fmla="*/ 2147483646 w 450"/>
              <a:gd name="T71" fmla="*/ 2147483646 h 484"/>
              <a:gd name="T72" fmla="*/ 2147483646 w 450"/>
              <a:gd name="T73" fmla="*/ 2147483646 h 484"/>
              <a:gd name="T74" fmla="*/ 2147483646 w 450"/>
              <a:gd name="T75" fmla="*/ 2147483646 h 484"/>
              <a:gd name="T76" fmla="*/ 2147483646 w 450"/>
              <a:gd name="T77" fmla="*/ 2147483646 h 484"/>
              <a:gd name="T78" fmla="*/ 2147483646 w 450"/>
              <a:gd name="T79" fmla="*/ 2147483646 h 484"/>
              <a:gd name="T80" fmla="*/ 2147483646 w 450"/>
              <a:gd name="T81" fmla="*/ 2147483646 h 484"/>
              <a:gd name="T82" fmla="*/ 2147483646 w 450"/>
              <a:gd name="T83" fmla="*/ 2147483646 h 484"/>
              <a:gd name="T84" fmla="*/ 2147483646 w 450"/>
              <a:gd name="T85" fmla="*/ 2147483646 h 484"/>
              <a:gd name="T86" fmla="*/ 2147483646 w 450"/>
              <a:gd name="T87" fmla="*/ 2147483646 h 484"/>
              <a:gd name="T88" fmla="*/ 2147483646 w 450"/>
              <a:gd name="T89" fmla="*/ 2147483646 h 484"/>
              <a:gd name="T90" fmla="*/ 2147483646 w 450"/>
              <a:gd name="T91" fmla="*/ 2147483646 h 484"/>
              <a:gd name="T92" fmla="*/ 2147483646 w 450"/>
              <a:gd name="T93" fmla="*/ 2147483646 h 484"/>
              <a:gd name="T94" fmla="*/ 2147483646 w 450"/>
              <a:gd name="T95" fmla="*/ 2147483646 h 484"/>
              <a:gd name="T96" fmla="*/ 2147483646 w 450"/>
              <a:gd name="T97" fmla="*/ 2147483646 h 484"/>
              <a:gd name="T98" fmla="*/ 2147483646 w 450"/>
              <a:gd name="T99" fmla="*/ 2147483646 h 484"/>
              <a:gd name="T100" fmla="*/ 2147483646 w 450"/>
              <a:gd name="T101" fmla="*/ 2147483646 h 484"/>
              <a:gd name="T102" fmla="*/ 2147483646 w 450"/>
              <a:gd name="T103" fmla="*/ 2147483646 h 484"/>
              <a:gd name="T104" fmla="*/ 2147483646 w 450"/>
              <a:gd name="T105" fmla="*/ 2147483646 h 484"/>
              <a:gd name="T106" fmla="*/ 2147483646 w 450"/>
              <a:gd name="T107" fmla="*/ 2147483646 h 484"/>
              <a:gd name="T108" fmla="*/ 2147483646 w 450"/>
              <a:gd name="T109" fmla="*/ 2147483646 h 484"/>
              <a:gd name="T110" fmla="*/ 2147483646 w 450"/>
              <a:gd name="T111" fmla="*/ 2147483646 h 484"/>
              <a:gd name="T112" fmla="*/ 2147483646 w 450"/>
              <a:gd name="T113" fmla="*/ 2147483646 h 484"/>
              <a:gd name="T114" fmla="*/ 2147483646 w 450"/>
              <a:gd name="T115" fmla="*/ 2147483646 h 484"/>
              <a:gd name="T116" fmla="*/ 2147483646 w 450"/>
              <a:gd name="T117" fmla="*/ 2147483646 h 484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w 450"/>
              <a:gd name="T178" fmla="*/ 0 h 484"/>
              <a:gd name="T179" fmla="*/ 450 w 450"/>
              <a:gd name="T180" fmla="*/ 484 h 484"/>
            </a:gdLst>
            <a:ahLst/>
            <a:cxnLst>
              <a:cxn ang="T118">
                <a:pos x="T0" y="T1"/>
              </a:cxn>
              <a:cxn ang="T119">
                <a:pos x="T2" y="T3"/>
              </a:cxn>
              <a:cxn ang="T120">
                <a:pos x="T4" y="T5"/>
              </a:cxn>
              <a:cxn ang="T121">
                <a:pos x="T6" y="T7"/>
              </a:cxn>
              <a:cxn ang="T122">
                <a:pos x="T8" y="T9"/>
              </a:cxn>
              <a:cxn ang="T123">
                <a:pos x="T10" y="T11"/>
              </a:cxn>
              <a:cxn ang="T124">
                <a:pos x="T12" y="T13"/>
              </a:cxn>
              <a:cxn ang="T125">
                <a:pos x="T14" y="T15"/>
              </a:cxn>
              <a:cxn ang="T126">
                <a:pos x="T16" y="T17"/>
              </a:cxn>
              <a:cxn ang="T127">
                <a:pos x="T18" y="T19"/>
              </a:cxn>
              <a:cxn ang="T128">
                <a:pos x="T20" y="T21"/>
              </a:cxn>
              <a:cxn ang="T129">
                <a:pos x="T22" y="T23"/>
              </a:cxn>
              <a:cxn ang="T130">
                <a:pos x="T24" y="T25"/>
              </a:cxn>
              <a:cxn ang="T131">
                <a:pos x="T26" y="T27"/>
              </a:cxn>
              <a:cxn ang="T132">
                <a:pos x="T28" y="T29"/>
              </a:cxn>
              <a:cxn ang="T133">
                <a:pos x="T30" y="T31"/>
              </a:cxn>
              <a:cxn ang="T134">
                <a:pos x="T32" y="T33"/>
              </a:cxn>
              <a:cxn ang="T135">
                <a:pos x="T34" y="T35"/>
              </a:cxn>
              <a:cxn ang="T136">
                <a:pos x="T36" y="T37"/>
              </a:cxn>
              <a:cxn ang="T137">
                <a:pos x="T38" y="T39"/>
              </a:cxn>
              <a:cxn ang="T138">
                <a:pos x="T40" y="T41"/>
              </a:cxn>
              <a:cxn ang="T139">
                <a:pos x="T42" y="T43"/>
              </a:cxn>
              <a:cxn ang="T140">
                <a:pos x="T44" y="T45"/>
              </a:cxn>
              <a:cxn ang="T141">
                <a:pos x="T46" y="T47"/>
              </a:cxn>
              <a:cxn ang="T142">
                <a:pos x="T48" y="T49"/>
              </a:cxn>
              <a:cxn ang="T143">
                <a:pos x="T50" y="T51"/>
              </a:cxn>
              <a:cxn ang="T144">
                <a:pos x="T52" y="T53"/>
              </a:cxn>
              <a:cxn ang="T145">
                <a:pos x="T54" y="T55"/>
              </a:cxn>
              <a:cxn ang="T146">
                <a:pos x="T56" y="T57"/>
              </a:cxn>
              <a:cxn ang="T147">
                <a:pos x="T58" y="T59"/>
              </a:cxn>
              <a:cxn ang="T148">
                <a:pos x="T60" y="T61"/>
              </a:cxn>
              <a:cxn ang="T149">
                <a:pos x="T62" y="T63"/>
              </a:cxn>
              <a:cxn ang="T150">
                <a:pos x="T64" y="T65"/>
              </a:cxn>
              <a:cxn ang="T151">
                <a:pos x="T66" y="T67"/>
              </a:cxn>
              <a:cxn ang="T152">
                <a:pos x="T68" y="T69"/>
              </a:cxn>
              <a:cxn ang="T153">
                <a:pos x="T70" y="T71"/>
              </a:cxn>
              <a:cxn ang="T154">
                <a:pos x="T72" y="T73"/>
              </a:cxn>
              <a:cxn ang="T155">
                <a:pos x="T74" y="T75"/>
              </a:cxn>
              <a:cxn ang="T156">
                <a:pos x="T76" y="T77"/>
              </a:cxn>
              <a:cxn ang="T157">
                <a:pos x="T78" y="T79"/>
              </a:cxn>
              <a:cxn ang="T158">
                <a:pos x="T80" y="T81"/>
              </a:cxn>
              <a:cxn ang="T159">
                <a:pos x="T82" y="T83"/>
              </a:cxn>
              <a:cxn ang="T160">
                <a:pos x="T84" y="T85"/>
              </a:cxn>
              <a:cxn ang="T161">
                <a:pos x="T86" y="T87"/>
              </a:cxn>
              <a:cxn ang="T162">
                <a:pos x="T88" y="T89"/>
              </a:cxn>
              <a:cxn ang="T163">
                <a:pos x="T90" y="T91"/>
              </a:cxn>
              <a:cxn ang="T164">
                <a:pos x="T92" y="T93"/>
              </a:cxn>
              <a:cxn ang="T165">
                <a:pos x="T94" y="T95"/>
              </a:cxn>
              <a:cxn ang="T166">
                <a:pos x="T96" y="T97"/>
              </a:cxn>
              <a:cxn ang="T167">
                <a:pos x="T98" y="T99"/>
              </a:cxn>
              <a:cxn ang="T168">
                <a:pos x="T100" y="T101"/>
              </a:cxn>
              <a:cxn ang="T169">
                <a:pos x="T102" y="T103"/>
              </a:cxn>
              <a:cxn ang="T170">
                <a:pos x="T104" y="T105"/>
              </a:cxn>
              <a:cxn ang="T171">
                <a:pos x="T106" y="T107"/>
              </a:cxn>
              <a:cxn ang="T172">
                <a:pos x="T108" y="T109"/>
              </a:cxn>
              <a:cxn ang="T173">
                <a:pos x="T110" y="T111"/>
              </a:cxn>
              <a:cxn ang="T174">
                <a:pos x="T112" y="T113"/>
              </a:cxn>
              <a:cxn ang="T175">
                <a:pos x="T114" y="T115"/>
              </a:cxn>
              <a:cxn ang="T176">
                <a:pos x="T116" y="T117"/>
              </a:cxn>
            </a:cxnLst>
            <a:rect l="T177" t="T178" r="T179" b="T180"/>
            <a:pathLst>
              <a:path w="450" h="484">
                <a:moveTo>
                  <a:pt x="130" y="444"/>
                </a:moveTo>
                <a:lnTo>
                  <a:pt x="218" y="414"/>
                </a:lnTo>
                <a:lnTo>
                  <a:pt x="228" y="410"/>
                </a:lnTo>
                <a:lnTo>
                  <a:pt x="234" y="410"/>
                </a:lnTo>
                <a:lnTo>
                  <a:pt x="240" y="412"/>
                </a:lnTo>
                <a:lnTo>
                  <a:pt x="248" y="410"/>
                </a:lnTo>
                <a:lnTo>
                  <a:pt x="252" y="408"/>
                </a:lnTo>
                <a:lnTo>
                  <a:pt x="260" y="404"/>
                </a:lnTo>
                <a:lnTo>
                  <a:pt x="270" y="404"/>
                </a:lnTo>
                <a:lnTo>
                  <a:pt x="276" y="400"/>
                </a:lnTo>
                <a:lnTo>
                  <a:pt x="280" y="400"/>
                </a:lnTo>
                <a:lnTo>
                  <a:pt x="286" y="402"/>
                </a:lnTo>
                <a:lnTo>
                  <a:pt x="288" y="402"/>
                </a:lnTo>
                <a:lnTo>
                  <a:pt x="294" y="404"/>
                </a:lnTo>
                <a:lnTo>
                  <a:pt x="296" y="404"/>
                </a:lnTo>
                <a:lnTo>
                  <a:pt x="298" y="402"/>
                </a:lnTo>
                <a:lnTo>
                  <a:pt x="304" y="402"/>
                </a:lnTo>
                <a:lnTo>
                  <a:pt x="306" y="404"/>
                </a:lnTo>
                <a:lnTo>
                  <a:pt x="312" y="404"/>
                </a:lnTo>
                <a:lnTo>
                  <a:pt x="318" y="402"/>
                </a:lnTo>
                <a:lnTo>
                  <a:pt x="324" y="400"/>
                </a:lnTo>
                <a:lnTo>
                  <a:pt x="332" y="396"/>
                </a:lnTo>
                <a:lnTo>
                  <a:pt x="344" y="396"/>
                </a:lnTo>
                <a:lnTo>
                  <a:pt x="348" y="396"/>
                </a:lnTo>
                <a:lnTo>
                  <a:pt x="352" y="396"/>
                </a:lnTo>
                <a:lnTo>
                  <a:pt x="352" y="394"/>
                </a:lnTo>
                <a:lnTo>
                  <a:pt x="346" y="392"/>
                </a:lnTo>
                <a:lnTo>
                  <a:pt x="342" y="388"/>
                </a:lnTo>
                <a:lnTo>
                  <a:pt x="340" y="390"/>
                </a:lnTo>
                <a:lnTo>
                  <a:pt x="330" y="388"/>
                </a:lnTo>
                <a:lnTo>
                  <a:pt x="322" y="386"/>
                </a:lnTo>
                <a:lnTo>
                  <a:pt x="312" y="384"/>
                </a:lnTo>
                <a:lnTo>
                  <a:pt x="308" y="382"/>
                </a:lnTo>
                <a:lnTo>
                  <a:pt x="304" y="378"/>
                </a:lnTo>
                <a:lnTo>
                  <a:pt x="296" y="374"/>
                </a:lnTo>
                <a:lnTo>
                  <a:pt x="294" y="370"/>
                </a:lnTo>
                <a:lnTo>
                  <a:pt x="294" y="358"/>
                </a:lnTo>
                <a:lnTo>
                  <a:pt x="294" y="354"/>
                </a:lnTo>
                <a:lnTo>
                  <a:pt x="294" y="350"/>
                </a:lnTo>
                <a:lnTo>
                  <a:pt x="296" y="348"/>
                </a:lnTo>
                <a:lnTo>
                  <a:pt x="294" y="342"/>
                </a:lnTo>
                <a:lnTo>
                  <a:pt x="294" y="338"/>
                </a:lnTo>
                <a:lnTo>
                  <a:pt x="298" y="336"/>
                </a:lnTo>
                <a:lnTo>
                  <a:pt x="300" y="332"/>
                </a:lnTo>
                <a:lnTo>
                  <a:pt x="300" y="330"/>
                </a:lnTo>
                <a:lnTo>
                  <a:pt x="304" y="328"/>
                </a:lnTo>
                <a:lnTo>
                  <a:pt x="306" y="322"/>
                </a:lnTo>
                <a:lnTo>
                  <a:pt x="314" y="314"/>
                </a:lnTo>
                <a:lnTo>
                  <a:pt x="316" y="310"/>
                </a:lnTo>
                <a:lnTo>
                  <a:pt x="316" y="304"/>
                </a:lnTo>
                <a:lnTo>
                  <a:pt x="314" y="298"/>
                </a:lnTo>
                <a:lnTo>
                  <a:pt x="312" y="294"/>
                </a:lnTo>
                <a:lnTo>
                  <a:pt x="314" y="288"/>
                </a:lnTo>
                <a:lnTo>
                  <a:pt x="316" y="284"/>
                </a:lnTo>
                <a:lnTo>
                  <a:pt x="318" y="282"/>
                </a:lnTo>
                <a:lnTo>
                  <a:pt x="322" y="276"/>
                </a:lnTo>
                <a:lnTo>
                  <a:pt x="324" y="270"/>
                </a:lnTo>
                <a:lnTo>
                  <a:pt x="330" y="268"/>
                </a:lnTo>
                <a:lnTo>
                  <a:pt x="330" y="266"/>
                </a:lnTo>
                <a:lnTo>
                  <a:pt x="330" y="262"/>
                </a:lnTo>
                <a:lnTo>
                  <a:pt x="330" y="258"/>
                </a:lnTo>
                <a:lnTo>
                  <a:pt x="334" y="256"/>
                </a:lnTo>
                <a:lnTo>
                  <a:pt x="342" y="256"/>
                </a:lnTo>
                <a:lnTo>
                  <a:pt x="344" y="260"/>
                </a:lnTo>
                <a:lnTo>
                  <a:pt x="348" y="262"/>
                </a:lnTo>
                <a:lnTo>
                  <a:pt x="356" y="264"/>
                </a:lnTo>
                <a:lnTo>
                  <a:pt x="362" y="268"/>
                </a:lnTo>
                <a:lnTo>
                  <a:pt x="364" y="266"/>
                </a:lnTo>
                <a:lnTo>
                  <a:pt x="366" y="266"/>
                </a:lnTo>
                <a:lnTo>
                  <a:pt x="364" y="262"/>
                </a:lnTo>
                <a:lnTo>
                  <a:pt x="360" y="258"/>
                </a:lnTo>
                <a:lnTo>
                  <a:pt x="360" y="256"/>
                </a:lnTo>
                <a:lnTo>
                  <a:pt x="364" y="248"/>
                </a:lnTo>
                <a:lnTo>
                  <a:pt x="366" y="246"/>
                </a:lnTo>
                <a:lnTo>
                  <a:pt x="368" y="244"/>
                </a:lnTo>
                <a:lnTo>
                  <a:pt x="368" y="240"/>
                </a:lnTo>
                <a:lnTo>
                  <a:pt x="368" y="238"/>
                </a:lnTo>
                <a:lnTo>
                  <a:pt x="368" y="230"/>
                </a:lnTo>
                <a:lnTo>
                  <a:pt x="370" y="226"/>
                </a:lnTo>
                <a:lnTo>
                  <a:pt x="376" y="224"/>
                </a:lnTo>
                <a:lnTo>
                  <a:pt x="380" y="224"/>
                </a:lnTo>
                <a:lnTo>
                  <a:pt x="384" y="226"/>
                </a:lnTo>
                <a:lnTo>
                  <a:pt x="386" y="224"/>
                </a:lnTo>
                <a:lnTo>
                  <a:pt x="394" y="224"/>
                </a:lnTo>
                <a:lnTo>
                  <a:pt x="398" y="226"/>
                </a:lnTo>
                <a:lnTo>
                  <a:pt x="400" y="224"/>
                </a:lnTo>
                <a:lnTo>
                  <a:pt x="402" y="220"/>
                </a:lnTo>
                <a:lnTo>
                  <a:pt x="404" y="214"/>
                </a:lnTo>
                <a:lnTo>
                  <a:pt x="408" y="206"/>
                </a:lnTo>
                <a:lnTo>
                  <a:pt x="410" y="204"/>
                </a:lnTo>
                <a:lnTo>
                  <a:pt x="414" y="198"/>
                </a:lnTo>
                <a:lnTo>
                  <a:pt x="412" y="196"/>
                </a:lnTo>
                <a:lnTo>
                  <a:pt x="414" y="192"/>
                </a:lnTo>
                <a:lnTo>
                  <a:pt x="420" y="190"/>
                </a:lnTo>
                <a:lnTo>
                  <a:pt x="420" y="188"/>
                </a:lnTo>
                <a:lnTo>
                  <a:pt x="416" y="180"/>
                </a:lnTo>
                <a:lnTo>
                  <a:pt x="418" y="176"/>
                </a:lnTo>
                <a:lnTo>
                  <a:pt x="420" y="174"/>
                </a:lnTo>
                <a:lnTo>
                  <a:pt x="428" y="178"/>
                </a:lnTo>
                <a:lnTo>
                  <a:pt x="430" y="180"/>
                </a:lnTo>
                <a:lnTo>
                  <a:pt x="432" y="180"/>
                </a:lnTo>
                <a:lnTo>
                  <a:pt x="432" y="176"/>
                </a:lnTo>
                <a:lnTo>
                  <a:pt x="430" y="172"/>
                </a:lnTo>
                <a:lnTo>
                  <a:pt x="430" y="170"/>
                </a:lnTo>
                <a:lnTo>
                  <a:pt x="434" y="170"/>
                </a:lnTo>
                <a:lnTo>
                  <a:pt x="436" y="172"/>
                </a:lnTo>
                <a:lnTo>
                  <a:pt x="436" y="174"/>
                </a:lnTo>
                <a:lnTo>
                  <a:pt x="442" y="178"/>
                </a:lnTo>
                <a:lnTo>
                  <a:pt x="444" y="180"/>
                </a:lnTo>
                <a:lnTo>
                  <a:pt x="448" y="178"/>
                </a:lnTo>
                <a:lnTo>
                  <a:pt x="448" y="176"/>
                </a:lnTo>
                <a:lnTo>
                  <a:pt x="446" y="174"/>
                </a:lnTo>
                <a:lnTo>
                  <a:pt x="442" y="172"/>
                </a:lnTo>
                <a:lnTo>
                  <a:pt x="442" y="166"/>
                </a:lnTo>
                <a:lnTo>
                  <a:pt x="442" y="162"/>
                </a:lnTo>
                <a:lnTo>
                  <a:pt x="436" y="160"/>
                </a:lnTo>
                <a:lnTo>
                  <a:pt x="436" y="156"/>
                </a:lnTo>
                <a:lnTo>
                  <a:pt x="438" y="154"/>
                </a:lnTo>
                <a:lnTo>
                  <a:pt x="448" y="148"/>
                </a:lnTo>
                <a:lnTo>
                  <a:pt x="450" y="148"/>
                </a:lnTo>
                <a:lnTo>
                  <a:pt x="442" y="138"/>
                </a:lnTo>
                <a:lnTo>
                  <a:pt x="442" y="136"/>
                </a:lnTo>
                <a:lnTo>
                  <a:pt x="448" y="136"/>
                </a:lnTo>
                <a:lnTo>
                  <a:pt x="448" y="134"/>
                </a:lnTo>
                <a:lnTo>
                  <a:pt x="444" y="124"/>
                </a:lnTo>
                <a:lnTo>
                  <a:pt x="450" y="120"/>
                </a:lnTo>
                <a:lnTo>
                  <a:pt x="450" y="112"/>
                </a:lnTo>
                <a:lnTo>
                  <a:pt x="446" y="106"/>
                </a:lnTo>
                <a:lnTo>
                  <a:pt x="446" y="96"/>
                </a:lnTo>
                <a:lnTo>
                  <a:pt x="442" y="90"/>
                </a:lnTo>
                <a:lnTo>
                  <a:pt x="438" y="78"/>
                </a:lnTo>
                <a:lnTo>
                  <a:pt x="436" y="70"/>
                </a:lnTo>
                <a:lnTo>
                  <a:pt x="426" y="64"/>
                </a:lnTo>
                <a:lnTo>
                  <a:pt x="418" y="64"/>
                </a:lnTo>
                <a:lnTo>
                  <a:pt x="416" y="68"/>
                </a:lnTo>
                <a:lnTo>
                  <a:pt x="412" y="68"/>
                </a:lnTo>
                <a:lnTo>
                  <a:pt x="408" y="72"/>
                </a:lnTo>
                <a:lnTo>
                  <a:pt x="370" y="72"/>
                </a:lnTo>
                <a:lnTo>
                  <a:pt x="362" y="64"/>
                </a:lnTo>
                <a:lnTo>
                  <a:pt x="356" y="64"/>
                </a:lnTo>
                <a:lnTo>
                  <a:pt x="352" y="64"/>
                </a:lnTo>
                <a:lnTo>
                  <a:pt x="348" y="62"/>
                </a:lnTo>
                <a:lnTo>
                  <a:pt x="342" y="66"/>
                </a:lnTo>
                <a:lnTo>
                  <a:pt x="290" y="114"/>
                </a:lnTo>
                <a:lnTo>
                  <a:pt x="280" y="114"/>
                </a:lnTo>
                <a:lnTo>
                  <a:pt x="278" y="122"/>
                </a:lnTo>
                <a:lnTo>
                  <a:pt x="270" y="120"/>
                </a:lnTo>
                <a:lnTo>
                  <a:pt x="264" y="118"/>
                </a:lnTo>
                <a:lnTo>
                  <a:pt x="260" y="120"/>
                </a:lnTo>
                <a:lnTo>
                  <a:pt x="260" y="112"/>
                </a:lnTo>
                <a:lnTo>
                  <a:pt x="254" y="112"/>
                </a:lnTo>
                <a:lnTo>
                  <a:pt x="246" y="112"/>
                </a:lnTo>
                <a:lnTo>
                  <a:pt x="242" y="106"/>
                </a:lnTo>
                <a:lnTo>
                  <a:pt x="238" y="102"/>
                </a:lnTo>
                <a:lnTo>
                  <a:pt x="230" y="100"/>
                </a:lnTo>
                <a:lnTo>
                  <a:pt x="238" y="50"/>
                </a:lnTo>
                <a:lnTo>
                  <a:pt x="238" y="44"/>
                </a:lnTo>
                <a:lnTo>
                  <a:pt x="238" y="32"/>
                </a:lnTo>
                <a:lnTo>
                  <a:pt x="234" y="4"/>
                </a:lnTo>
                <a:lnTo>
                  <a:pt x="228" y="4"/>
                </a:lnTo>
                <a:lnTo>
                  <a:pt x="226" y="4"/>
                </a:lnTo>
                <a:lnTo>
                  <a:pt x="220" y="0"/>
                </a:lnTo>
                <a:lnTo>
                  <a:pt x="218" y="4"/>
                </a:lnTo>
                <a:lnTo>
                  <a:pt x="208" y="12"/>
                </a:lnTo>
                <a:lnTo>
                  <a:pt x="206" y="10"/>
                </a:lnTo>
                <a:lnTo>
                  <a:pt x="202" y="10"/>
                </a:lnTo>
                <a:lnTo>
                  <a:pt x="194" y="12"/>
                </a:lnTo>
                <a:lnTo>
                  <a:pt x="188" y="12"/>
                </a:lnTo>
                <a:lnTo>
                  <a:pt x="188" y="14"/>
                </a:lnTo>
                <a:lnTo>
                  <a:pt x="186" y="18"/>
                </a:lnTo>
                <a:lnTo>
                  <a:pt x="182" y="18"/>
                </a:lnTo>
                <a:lnTo>
                  <a:pt x="176" y="26"/>
                </a:lnTo>
                <a:lnTo>
                  <a:pt x="176" y="32"/>
                </a:lnTo>
                <a:lnTo>
                  <a:pt x="170" y="34"/>
                </a:lnTo>
                <a:lnTo>
                  <a:pt x="166" y="34"/>
                </a:lnTo>
                <a:lnTo>
                  <a:pt x="162" y="36"/>
                </a:lnTo>
                <a:lnTo>
                  <a:pt x="156" y="36"/>
                </a:lnTo>
                <a:lnTo>
                  <a:pt x="154" y="36"/>
                </a:lnTo>
                <a:lnTo>
                  <a:pt x="148" y="36"/>
                </a:lnTo>
                <a:lnTo>
                  <a:pt x="140" y="40"/>
                </a:lnTo>
                <a:lnTo>
                  <a:pt x="136" y="42"/>
                </a:lnTo>
                <a:lnTo>
                  <a:pt x="134" y="42"/>
                </a:lnTo>
                <a:lnTo>
                  <a:pt x="132" y="42"/>
                </a:lnTo>
                <a:lnTo>
                  <a:pt x="126" y="46"/>
                </a:lnTo>
                <a:lnTo>
                  <a:pt x="124" y="44"/>
                </a:lnTo>
                <a:lnTo>
                  <a:pt x="122" y="42"/>
                </a:lnTo>
                <a:lnTo>
                  <a:pt x="120" y="42"/>
                </a:lnTo>
                <a:lnTo>
                  <a:pt x="114" y="46"/>
                </a:lnTo>
                <a:lnTo>
                  <a:pt x="114" y="48"/>
                </a:lnTo>
                <a:lnTo>
                  <a:pt x="110" y="50"/>
                </a:lnTo>
                <a:lnTo>
                  <a:pt x="110" y="52"/>
                </a:lnTo>
                <a:lnTo>
                  <a:pt x="104" y="58"/>
                </a:lnTo>
                <a:lnTo>
                  <a:pt x="98" y="64"/>
                </a:lnTo>
                <a:lnTo>
                  <a:pt x="98" y="68"/>
                </a:lnTo>
                <a:lnTo>
                  <a:pt x="98" y="72"/>
                </a:lnTo>
                <a:lnTo>
                  <a:pt x="98" y="76"/>
                </a:lnTo>
                <a:lnTo>
                  <a:pt x="92" y="72"/>
                </a:lnTo>
                <a:lnTo>
                  <a:pt x="88" y="72"/>
                </a:lnTo>
                <a:lnTo>
                  <a:pt x="84" y="72"/>
                </a:lnTo>
                <a:lnTo>
                  <a:pt x="86" y="78"/>
                </a:lnTo>
                <a:lnTo>
                  <a:pt x="90" y="84"/>
                </a:lnTo>
                <a:lnTo>
                  <a:pt x="88" y="88"/>
                </a:lnTo>
                <a:lnTo>
                  <a:pt x="86" y="96"/>
                </a:lnTo>
                <a:lnTo>
                  <a:pt x="88" y="98"/>
                </a:lnTo>
                <a:lnTo>
                  <a:pt x="84" y="104"/>
                </a:lnTo>
                <a:lnTo>
                  <a:pt x="82" y="106"/>
                </a:lnTo>
                <a:lnTo>
                  <a:pt x="70" y="114"/>
                </a:lnTo>
                <a:lnTo>
                  <a:pt x="60" y="120"/>
                </a:lnTo>
                <a:lnTo>
                  <a:pt x="60" y="124"/>
                </a:lnTo>
                <a:lnTo>
                  <a:pt x="54" y="126"/>
                </a:lnTo>
                <a:lnTo>
                  <a:pt x="60" y="136"/>
                </a:lnTo>
                <a:lnTo>
                  <a:pt x="54" y="140"/>
                </a:lnTo>
                <a:lnTo>
                  <a:pt x="48" y="138"/>
                </a:lnTo>
                <a:lnTo>
                  <a:pt x="46" y="144"/>
                </a:lnTo>
                <a:lnTo>
                  <a:pt x="44" y="152"/>
                </a:lnTo>
                <a:lnTo>
                  <a:pt x="40" y="166"/>
                </a:lnTo>
                <a:lnTo>
                  <a:pt x="36" y="174"/>
                </a:lnTo>
                <a:lnTo>
                  <a:pt x="36" y="178"/>
                </a:lnTo>
                <a:lnTo>
                  <a:pt x="38" y="184"/>
                </a:lnTo>
                <a:lnTo>
                  <a:pt x="34" y="188"/>
                </a:lnTo>
                <a:lnTo>
                  <a:pt x="32" y="192"/>
                </a:lnTo>
                <a:lnTo>
                  <a:pt x="26" y="194"/>
                </a:lnTo>
                <a:lnTo>
                  <a:pt x="30" y="196"/>
                </a:lnTo>
                <a:lnTo>
                  <a:pt x="28" y="204"/>
                </a:lnTo>
                <a:lnTo>
                  <a:pt x="32" y="210"/>
                </a:lnTo>
                <a:lnTo>
                  <a:pt x="32" y="212"/>
                </a:lnTo>
                <a:lnTo>
                  <a:pt x="32" y="220"/>
                </a:lnTo>
                <a:lnTo>
                  <a:pt x="30" y="222"/>
                </a:lnTo>
                <a:lnTo>
                  <a:pt x="28" y="228"/>
                </a:lnTo>
                <a:lnTo>
                  <a:pt x="28" y="230"/>
                </a:lnTo>
                <a:lnTo>
                  <a:pt x="32" y="232"/>
                </a:lnTo>
                <a:lnTo>
                  <a:pt x="26" y="244"/>
                </a:lnTo>
                <a:lnTo>
                  <a:pt x="22" y="250"/>
                </a:lnTo>
                <a:lnTo>
                  <a:pt x="18" y="260"/>
                </a:lnTo>
                <a:lnTo>
                  <a:pt x="18" y="264"/>
                </a:lnTo>
                <a:lnTo>
                  <a:pt x="20" y="264"/>
                </a:lnTo>
                <a:lnTo>
                  <a:pt x="30" y="268"/>
                </a:lnTo>
                <a:lnTo>
                  <a:pt x="34" y="270"/>
                </a:lnTo>
                <a:lnTo>
                  <a:pt x="36" y="274"/>
                </a:lnTo>
                <a:lnTo>
                  <a:pt x="40" y="274"/>
                </a:lnTo>
                <a:lnTo>
                  <a:pt x="40" y="276"/>
                </a:lnTo>
                <a:lnTo>
                  <a:pt x="40" y="280"/>
                </a:lnTo>
                <a:lnTo>
                  <a:pt x="38" y="286"/>
                </a:lnTo>
                <a:lnTo>
                  <a:pt x="36" y="288"/>
                </a:lnTo>
                <a:lnTo>
                  <a:pt x="34" y="292"/>
                </a:lnTo>
                <a:lnTo>
                  <a:pt x="38" y="302"/>
                </a:lnTo>
                <a:lnTo>
                  <a:pt x="40" y="304"/>
                </a:lnTo>
                <a:lnTo>
                  <a:pt x="44" y="306"/>
                </a:lnTo>
                <a:lnTo>
                  <a:pt x="46" y="310"/>
                </a:lnTo>
                <a:lnTo>
                  <a:pt x="48" y="312"/>
                </a:lnTo>
                <a:lnTo>
                  <a:pt x="52" y="312"/>
                </a:lnTo>
                <a:lnTo>
                  <a:pt x="56" y="312"/>
                </a:lnTo>
                <a:lnTo>
                  <a:pt x="62" y="314"/>
                </a:lnTo>
                <a:lnTo>
                  <a:pt x="62" y="318"/>
                </a:lnTo>
                <a:lnTo>
                  <a:pt x="62" y="324"/>
                </a:lnTo>
                <a:lnTo>
                  <a:pt x="60" y="332"/>
                </a:lnTo>
                <a:lnTo>
                  <a:pt x="60" y="336"/>
                </a:lnTo>
                <a:lnTo>
                  <a:pt x="68" y="338"/>
                </a:lnTo>
                <a:lnTo>
                  <a:pt x="68" y="346"/>
                </a:lnTo>
                <a:lnTo>
                  <a:pt x="74" y="348"/>
                </a:lnTo>
                <a:lnTo>
                  <a:pt x="80" y="348"/>
                </a:lnTo>
                <a:lnTo>
                  <a:pt x="86" y="348"/>
                </a:lnTo>
                <a:lnTo>
                  <a:pt x="88" y="350"/>
                </a:lnTo>
                <a:lnTo>
                  <a:pt x="88" y="354"/>
                </a:lnTo>
                <a:lnTo>
                  <a:pt x="90" y="358"/>
                </a:lnTo>
                <a:lnTo>
                  <a:pt x="86" y="360"/>
                </a:lnTo>
                <a:lnTo>
                  <a:pt x="84" y="364"/>
                </a:lnTo>
                <a:lnTo>
                  <a:pt x="86" y="366"/>
                </a:lnTo>
                <a:lnTo>
                  <a:pt x="88" y="368"/>
                </a:lnTo>
                <a:lnTo>
                  <a:pt x="90" y="368"/>
                </a:lnTo>
                <a:lnTo>
                  <a:pt x="96" y="370"/>
                </a:lnTo>
                <a:lnTo>
                  <a:pt x="98" y="370"/>
                </a:lnTo>
                <a:lnTo>
                  <a:pt x="100" y="368"/>
                </a:lnTo>
                <a:lnTo>
                  <a:pt x="100" y="370"/>
                </a:lnTo>
                <a:lnTo>
                  <a:pt x="100" y="372"/>
                </a:lnTo>
                <a:lnTo>
                  <a:pt x="96" y="374"/>
                </a:lnTo>
                <a:lnTo>
                  <a:pt x="96" y="376"/>
                </a:lnTo>
                <a:lnTo>
                  <a:pt x="96" y="382"/>
                </a:lnTo>
                <a:lnTo>
                  <a:pt x="92" y="386"/>
                </a:lnTo>
                <a:lnTo>
                  <a:pt x="88" y="390"/>
                </a:lnTo>
                <a:lnTo>
                  <a:pt x="86" y="392"/>
                </a:lnTo>
                <a:lnTo>
                  <a:pt x="90" y="396"/>
                </a:lnTo>
                <a:lnTo>
                  <a:pt x="90" y="400"/>
                </a:lnTo>
                <a:lnTo>
                  <a:pt x="88" y="400"/>
                </a:lnTo>
                <a:lnTo>
                  <a:pt x="86" y="402"/>
                </a:lnTo>
                <a:lnTo>
                  <a:pt x="84" y="402"/>
                </a:lnTo>
                <a:lnTo>
                  <a:pt x="74" y="406"/>
                </a:lnTo>
                <a:lnTo>
                  <a:pt x="64" y="420"/>
                </a:lnTo>
                <a:lnTo>
                  <a:pt x="54" y="422"/>
                </a:lnTo>
                <a:lnTo>
                  <a:pt x="52" y="428"/>
                </a:lnTo>
                <a:lnTo>
                  <a:pt x="44" y="436"/>
                </a:lnTo>
                <a:lnTo>
                  <a:pt x="0" y="484"/>
                </a:lnTo>
                <a:lnTo>
                  <a:pt x="34" y="474"/>
                </a:lnTo>
                <a:lnTo>
                  <a:pt x="102" y="454"/>
                </a:lnTo>
                <a:lnTo>
                  <a:pt x="126" y="446"/>
                </a:lnTo>
                <a:lnTo>
                  <a:pt x="130" y="444"/>
                </a:lnTo>
                <a:close/>
              </a:path>
            </a:pathLst>
          </a:custGeom>
          <a:solidFill>
            <a:srgbClr val="F1B728"/>
          </a:solidFill>
          <a:ln w="6350">
            <a:solidFill>
              <a:schemeClr val="tx1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457200">
              <a:defRPr/>
            </a:pPr>
            <a:endParaRPr lang="en-US" kern="0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39" name="Freeform 17">
            <a:extLst>
              <a:ext uri="{FF2B5EF4-FFF2-40B4-BE49-F238E27FC236}">
                <a16:creationId xmlns:a16="http://schemas.microsoft.com/office/drawing/2014/main" id="{3CE6A5D5-2EF1-E2BC-0B76-10226185CE8E}"/>
              </a:ext>
            </a:extLst>
          </p:cNvPr>
          <p:cNvSpPr>
            <a:spLocks/>
          </p:cNvSpPr>
          <p:nvPr/>
        </p:nvSpPr>
        <p:spPr bwMode="auto">
          <a:xfrm>
            <a:off x="2773680" y="5074920"/>
            <a:ext cx="716280" cy="553720"/>
          </a:xfrm>
          <a:custGeom>
            <a:avLst/>
            <a:gdLst>
              <a:gd name="T0" fmla="*/ 2147483646 w 564"/>
              <a:gd name="T1" fmla="*/ 2147483646 h 436"/>
              <a:gd name="T2" fmla="*/ 2147483646 w 564"/>
              <a:gd name="T3" fmla="*/ 2147483646 h 436"/>
              <a:gd name="T4" fmla="*/ 2147483646 w 564"/>
              <a:gd name="T5" fmla="*/ 2147483646 h 436"/>
              <a:gd name="T6" fmla="*/ 2147483646 w 564"/>
              <a:gd name="T7" fmla="*/ 2147483646 h 436"/>
              <a:gd name="T8" fmla="*/ 2147483646 w 564"/>
              <a:gd name="T9" fmla="*/ 2147483646 h 436"/>
              <a:gd name="T10" fmla="*/ 2147483646 w 564"/>
              <a:gd name="T11" fmla="*/ 2147483646 h 436"/>
              <a:gd name="T12" fmla="*/ 2147483646 w 564"/>
              <a:gd name="T13" fmla="*/ 2147483646 h 436"/>
              <a:gd name="T14" fmla="*/ 2147483646 w 564"/>
              <a:gd name="T15" fmla="*/ 2147483646 h 436"/>
              <a:gd name="T16" fmla="*/ 2147483646 w 564"/>
              <a:gd name="T17" fmla="*/ 2147483646 h 436"/>
              <a:gd name="T18" fmla="*/ 2147483646 w 564"/>
              <a:gd name="T19" fmla="*/ 2147483646 h 436"/>
              <a:gd name="T20" fmla="*/ 2147483646 w 564"/>
              <a:gd name="T21" fmla="*/ 2147483646 h 436"/>
              <a:gd name="T22" fmla="*/ 2147483646 w 564"/>
              <a:gd name="T23" fmla="*/ 2147483646 h 436"/>
              <a:gd name="T24" fmla="*/ 2147483646 w 564"/>
              <a:gd name="T25" fmla="*/ 2147483646 h 436"/>
              <a:gd name="T26" fmla="*/ 2147483646 w 564"/>
              <a:gd name="T27" fmla="*/ 2147483646 h 436"/>
              <a:gd name="T28" fmla="*/ 2147483646 w 564"/>
              <a:gd name="T29" fmla="*/ 2147483646 h 436"/>
              <a:gd name="T30" fmla="*/ 2147483646 w 564"/>
              <a:gd name="T31" fmla="*/ 2147483646 h 436"/>
              <a:gd name="T32" fmla="*/ 2147483646 w 564"/>
              <a:gd name="T33" fmla="*/ 2147483646 h 436"/>
              <a:gd name="T34" fmla="*/ 2147483646 w 564"/>
              <a:gd name="T35" fmla="*/ 2147483646 h 436"/>
              <a:gd name="T36" fmla="*/ 2147483646 w 564"/>
              <a:gd name="T37" fmla="*/ 2147483646 h 436"/>
              <a:gd name="T38" fmla="*/ 2147483646 w 564"/>
              <a:gd name="T39" fmla="*/ 2147483646 h 436"/>
              <a:gd name="T40" fmla="*/ 2147483646 w 564"/>
              <a:gd name="T41" fmla="*/ 2147483646 h 436"/>
              <a:gd name="T42" fmla="*/ 2147483646 w 564"/>
              <a:gd name="T43" fmla="*/ 2147483646 h 436"/>
              <a:gd name="T44" fmla="*/ 2147483646 w 564"/>
              <a:gd name="T45" fmla="*/ 2147483646 h 436"/>
              <a:gd name="T46" fmla="*/ 2147483646 w 564"/>
              <a:gd name="T47" fmla="*/ 2147483646 h 436"/>
              <a:gd name="T48" fmla="*/ 2147483646 w 564"/>
              <a:gd name="T49" fmla="*/ 2147483646 h 436"/>
              <a:gd name="T50" fmla="*/ 2147483646 w 564"/>
              <a:gd name="T51" fmla="*/ 2147483646 h 436"/>
              <a:gd name="T52" fmla="*/ 2147483646 w 564"/>
              <a:gd name="T53" fmla="*/ 2147483646 h 436"/>
              <a:gd name="T54" fmla="*/ 2147483646 w 564"/>
              <a:gd name="T55" fmla="*/ 2147483646 h 436"/>
              <a:gd name="T56" fmla="*/ 2147483646 w 564"/>
              <a:gd name="T57" fmla="*/ 2147483646 h 436"/>
              <a:gd name="T58" fmla="*/ 2147483646 w 564"/>
              <a:gd name="T59" fmla="*/ 2147483646 h 436"/>
              <a:gd name="T60" fmla="*/ 2147483646 w 564"/>
              <a:gd name="T61" fmla="*/ 2147483646 h 436"/>
              <a:gd name="T62" fmla="*/ 2147483646 w 564"/>
              <a:gd name="T63" fmla="*/ 2147483646 h 436"/>
              <a:gd name="T64" fmla="*/ 2147483646 w 564"/>
              <a:gd name="T65" fmla="*/ 2147483646 h 436"/>
              <a:gd name="T66" fmla="*/ 2147483646 w 564"/>
              <a:gd name="T67" fmla="*/ 2147483646 h 436"/>
              <a:gd name="T68" fmla="*/ 2147483646 w 564"/>
              <a:gd name="T69" fmla="*/ 2147483646 h 436"/>
              <a:gd name="T70" fmla="*/ 2147483646 w 564"/>
              <a:gd name="T71" fmla="*/ 2147483646 h 436"/>
              <a:gd name="T72" fmla="*/ 2147483646 w 564"/>
              <a:gd name="T73" fmla="*/ 2147483646 h 436"/>
              <a:gd name="T74" fmla="*/ 2147483646 w 564"/>
              <a:gd name="T75" fmla="*/ 2147483646 h 436"/>
              <a:gd name="T76" fmla="*/ 2147483646 w 564"/>
              <a:gd name="T77" fmla="*/ 2147483646 h 436"/>
              <a:gd name="T78" fmla="*/ 2147483646 w 564"/>
              <a:gd name="T79" fmla="*/ 2147483646 h 436"/>
              <a:gd name="T80" fmla="*/ 2147483646 w 564"/>
              <a:gd name="T81" fmla="*/ 2147483646 h 436"/>
              <a:gd name="T82" fmla="*/ 2147483646 w 564"/>
              <a:gd name="T83" fmla="*/ 2147483646 h 436"/>
              <a:gd name="T84" fmla="*/ 2147483646 w 564"/>
              <a:gd name="T85" fmla="*/ 2147483646 h 436"/>
              <a:gd name="T86" fmla="*/ 2147483646 w 564"/>
              <a:gd name="T87" fmla="*/ 2147483646 h 436"/>
              <a:gd name="T88" fmla="*/ 2147483646 w 564"/>
              <a:gd name="T89" fmla="*/ 2147483646 h 436"/>
              <a:gd name="T90" fmla="*/ 2147483646 w 564"/>
              <a:gd name="T91" fmla="*/ 2147483646 h 436"/>
              <a:gd name="T92" fmla="*/ 2147483646 w 564"/>
              <a:gd name="T93" fmla="*/ 2147483646 h 436"/>
              <a:gd name="T94" fmla="*/ 2147483646 w 564"/>
              <a:gd name="T95" fmla="*/ 2147483646 h 436"/>
              <a:gd name="T96" fmla="*/ 2147483646 w 564"/>
              <a:gd name="T97" fmla="*/ 2147483646 h 436"/>
              <a:gd name="T98" fmla="*/ 2147483646 w 564"/>
              <a:gd name="T99" fmla="*/ 2147483646 h 436"/>
              <a:gd name="T100" fmla="*/ 2147483646 w 564"/>
              <a:gd name="T101" fmla="*/ 2147483646 h 436"/>
              <a:gd name="T102" fmla="*/ 2147483646 w 564"/>
              <a:gd name="T103" fmla="*/ 2147483646 h 436"/>
              <a:gd name="T104" fmla="*/ 2147483646 w 564"/>
              <a:gd name="T105" fmla="*/ 2147483646 h 436"/>
              <a:gd name="T106" fmla="*/ 2147483646 w 564"/>
              <a:gd name="T107" fmla="*/ 2147483646 h 436"/>
              <a:gd name="T108" fmla="*/ 2147483646 w 564"/>
              <a:gd name="T109" fmla="*/ 2147483646 h 436"/>
              <a:gd name="T110" fmla="*/ 2147483646 w 564"/>
              <a:gd name="T111" fmla="*/ 2147483646 h 436"/>
              <a:gd name="T112" fmla="*/ 2147483646 w 564"/>
              <a:gd name="T113" fmla="*/ 2147483646 h 436"/>
              <a:gd name="T114" fmla="*/ 2147483646 w 564"/>
              <a:gd name="T115" fmla="*/ 2147483646 h 436"/>
              <a:gd name="T116" fmla="*/ 2147483646 w 564"/>
              <a:gd name="T117" fmla="*/ 2147483646 h 436"/>
              <a:gd name="T118" fmla="*/ 2147483646 w 564"/>
              <a:gd name="T119" fmla="*/ 2147483646 h 4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w 564"/>
              <a:gd name="T181" fmla="*/ 0 h 436"/>
              <a:gd name="T182" fmla="*/ 564 w 564"/>
              <a:gd name="T183" fmla="*/ 436 h 436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T180" t="T181" r="T182" b="T183"/>
            <a:pathLst>
              <a:path w="564" h="436">
                <a:moveTo>
                  <a:pt x="548" y="314"/>
                </a:moveTo>
                <a:lnTo>
                  <a:pt x="546" y="312"/>
                </a:lnTo>
                <a:lnTo>
                  <a:pt x="542" y="302"/>
                </a:lnTo>
                <a:lnTo>
                  <a:pt x="538" y="302"/>
                </a:lnTo>
                <a:lnTo>
                  <a:pt x="532" y="300"/>
                </a:lnTo>
                <a:lnTo>
                  <a:pt x="522" y="300"/>
                </a:lnTo>
                <a:lnTo>
                  <a:pt x="518" y="300"/>
                </a:lnTo>
                <a:lnTo>
                  <a:pt x="516" y="298"/>
                </a:lnTo>
                <a:lnTo>
                  <a:pt x="506" y="292"/>
                </a:lnTo>
                <a:lnTo>
                  <a:pt x="500" y="286"/>
                </a:lnTo>
                <a:lnTo>
                  <a:pt x="496" y="284"/>
                </a:lnTo>
                <a:lnTo>
                  <a:pt x="490" y="284"/>
                </a:lnTo>
                <a:lnTo>
                  <a:pt x="488" y="282"/>
                </a:lnTo>
                <a:lnTo>
                  <a:pt x="486" y="276"/>
                </a:lnTo>
                <a:lnTo>
                  <a:pt x="480" y="264"/>
                </a:lnTo>
                <a:lnTo>
                  <a:pt x="486" y="248"/>
                </a:lnTo>
                <a:lnTo>
                  <a:pt x="482" y="240"/>
                </a:lnTo>
                <a:lnTo>
                  <a:pt x="482" y="234"/>
                </a:lnTo>
                <a:lnTo>
                  <a:pt x="474" y="226"/>
                </a:lnTo>
                <a:lnTo>
                  <a:pt x="460" y="192"/>
                </a:lnTo>
                <a:lnTo>
                  <a:pt x="446" y="168"/>
                </a:lnTo>
                <a:lnTo>
                  <a:pt x="430" y="140"/>
                </a:lnTo>
                <a:lnTo>
                  <a:pt x="392" y="66"/>
                </a:lnTo>
                <a:lnTo>
                  <a:pt x="386" y="58"/>
                </a:lnTo>
                <a:lnTo>
                  <a:pt x="384" y="52"/>
                </a:lnTo>
                <a:lnTo>
                  <a:pt x="378" y="50"/>
                </a:lnTo>
                <a:lnTo>
                  <a:pt x="372" y="46"/>
                </a:lnTo>
                <a:lnTo>
                  <a:pt x="368" y="40"/>
                </a:lnTo>
                <a:lnTo>
                  <a:pt x="366" y="32"/>
                </a:lnTo>
                <a:lnTo>
                  <a:pt x="360" y="26"/>
                </a:lnTo>
                <a:lnTo>
                  <a:pt x="356" y="14"/>
                </a:lnTo>
                <a:lnTo>
                  <a:pt x="354" y="12"/>
                </a:lnTo>
                <a:lnTo>
                  <a:pt x="352" y="10"/>
                </a:lnTo>
                <a:lnTo>
                  <a:pt x="348" y="10"/>
                </a:lnTo>
                <a:lnTo>
                  <a:pt x="342" y="12"/>
                </a:lnTo>
                <a:lnTo>
                  <a:pt x="340" y="14"/>
                </a:lnTo>
                <a:lnTo>
                  <a:pt x="336" y="14"/>
                </a:lnTo>
                <a:lnTo>
                  <a:pt x="332" y="14"/>
                </a:lnTo>
                <a:lnTo>
                  <a:pt x="330" y="14"/>
                </a:lnTo>
                <a:lnTo>
                  <a:pt x="324" y="6"/>
                </a:lnTo>
                <a:lnTo>
                  <a:pt x="320" y="6"/>
                </a:lnTo>
                <a:lnTo>
                  <a:pt x="308" y="0"/>
                </a:lnTo>
                <a:lnTo>
                  <a:pt x="306" y="0"/>
                </a:lnTo>
                <a:lnTo>
                  <a:pt x="304" y="0"/>
                </a:lnTo>
                <a:lnTo>
                  <a:pt x="304" y="6"/>
                </a:lnTo>
                <a:lnTo>
                  <a:pt x="296" y="6"/>
                </a:lnTo>
                <a:lnTo>
                  <a:pt x="290" y="6"/>
                </a:lnTo>
                <a:lnTo>
                  <a:pt x="280" y="14"/>
                </a:lnTo>
                <a:lnTo>
                  <a:pt x="268" y="24"/>
                </a:lnTo>
                <a:lnTo>
                  <a:pt x="258" y="30"/>
                </a:lnTo>
                <a:lnTo>
                  <a:pt x="254" y="34"/>
                </a:lnTo>
                <a:lnTo>
                  <a:pt x="250" y="32"/>
                </a:lnTo>
                <a:lnTo>
                  <a:pt x="246" y="28"/>
                </a:lnTo>
                <a:lnTo>
                  <a:pt x="246" y="26"/>
                </a:lnTo>
                <a:lnTo>
                  <a:pt x="244" y="16"/>
                </a:lnTo>
                <a:lnTo>
                  <a:pt x="236" y="12"/>
                </a:lnTo>
                <a:lnTo>
                  <a:pt x="230" y="8"/>
                </a:lnTo>
                <a:lnTo>
                  <a:pt x="222" y="6"/>
                </a:lnTo>
                <a:lnTo>
                  <a:pt x="220" y="6"/>
                </a:lnTo>
                <a:lnTo>
                  <a:pt x="206" y="10"/>
                </a:lnTo>
                <a:lnTo>
                  <a:pt x="204" y="10"/>
                </a:lnTo>
                <a:lnTo>
                  <a:pt x="200" y="14"/>
                </a:lnTo>
                <a:lnTo>
                  <a:pt x="196" y="16"/>
                </a:lnTo>
                <a:lnTo>
                  <a:pt x="188" y="16"/>
                </a:lnTo>
                <a:lnTo>
                  <a:pt x="180" y="14"/>
                </a:lnTo>
                <a:lnTo>
                  <a:pt x="174" y="16"/>
                </a:lnTo>
                <a:lnTo>
                  <a:pt x="170" y="16"/>
                </a:lnTo>
                <a:lnTo>
                  <a:pt x="166" y="22"/>
                </a:lnTo>
                <a:lnTo>
                  <a:pt x="160" y="18"/>
                </a:lnTo>
                <a:lnTo>
                  <a:pt x="154" y="18"/>
                </a:lnTo>
                <a:lnTo>
                  <a:pt x="150" y="22"/>
                </a:lnTo>
                <a:lnTo>
                  <a:pt x="148" y="22"/>
                </a:lnTo>
                <a:lnTo>
                  <a:pt x="142" y="28"/>
                </a:lnTo>
                <a:lnTo>
                  <a:pt x="136" y="28"/>
                </a:lnTo>
                <a:lnTo>
                  <a:pt x="134" y="32"/>
                </a:lnTo>
                <a:lnTo>
                  <a:pt x="132" y="34"/>
                </a:lnTo>
                <a:lnTo>
                  <a:pt x="124" y="32"/>
                </a:lnTo>
                <a:lnTo>
                  <a:pt x="122" y="34"/>
                </a:lnTo>
                <a:lnTo>
                  <a:pt x="118" y="36"/>
                </a:lnTo>
                <a:lnTo>
                  <a:pt x="112" y="36"/>
                </a:lnTo>
                <a:lnTo>
                  <a:pt x="108" y="34"/>
                </a:lnTo>
                <a:lnTo>
                  <a:pt x="104" y="32"/>
                </a:lnTo>
                <a:lnTo>
                  <a:pt x="96" y="34"/>
                </a:lnTo>
                <a:lnTo>
                  <a:pt x="92" y="40"/>
                </a:lnTo>
                <a:lnTo>
                  <a:pt x="88" y="40"/>
                </a:lnTo>
                <a:lnTo>
                  <a:pt x="82" y="44"/>
                </a:lnTo>
                <a:lnTo>
                  <a:pt x="130" y="96"/>
                </a:lnTo>
                <a:lnTo>
                  <a:pt x="136" y="100"/>
                </a:lnTo>
                <a:lnTo>
                  <a:pt x="136" y="104"/>
                </a:lnTo>
                <a:lnTo>
                  <a:pt x="134" y="104"/>
                </a:lnTo>
                <a:lnTo>
                  <a:pt x="130" y="104"/>
                </a:lnTo>
                <a:lnTo>
                  <a:pt x="126" y="104"/>
                </a:lnTo>
                <a:lnTo>
                  <a:pt x="114" y="112"/>
                </a:lnTo>
                <a:lnTo>
                  <a:pt x="112" y="116"/>
                </a:lnTo>
                <a:lnTo>
                  <a:pt x="110" y="120"/>
                </a:lnTo>
                <a:lnTo>
                  <a:pt x="106" y="122"/>
                </a:lnTo>
                <a:lnTo>
                  <a:pt x="100" y="124"/>
                </a:lnTo>
                <a:lnTo>
                  <a:pt x="96" y="124"/>
                </a:lnTo>
                <a:lnTo>
                  <a:pt x="96" y="120"/>
                </a:lnTo>
                <a:lnTo>
                  <a:pt x="92" y="122"/>
                </a:lnTo>
                <a:lnTo>
                  <a:pt x="88" y="124"/>
                </a:lnTo>
                <a:lnTo>
                  <a:pt x="82" y="130"/>
                </a:lnTo>
                <a:lnTo>
                  <a:pt x="76" y="132"/>
                </a:lnTo>
                <a:lnTo>
                  <a:pt x="74" y="130"/>
                </a:lnTo>
                <a:lnTo>
                  <a:pt x="70" y="130"/>
                </a:lnTo>
                <a:lnTo>
                  <a:pt x="66" y="132"/>
                </a:lnTo>
                <a:lnTo>
                  <a:pt x="66" y="136"/>
                </a:lnTo>
                <a:lnTo>
                  <a:pt x="64" y="136"/>
                </a:lnTo>
                <a:lnTo>
                  <a:pt x="62" y="136"/>
                </a:lnTo>
                <a:lnTo>
                  <a:pt x="56" y="138"/>
                </a:lnTo>
                <a:lnTo>
                  <a:pt x="52" y="138"/>
                </a:lnTo>
                <a:lnTo>
                  <a:pt x="48" y="142"/>
                </a:lnTo>
                <a:lnTo>
                  <a:pt x="48" y="144"/>
                </a:lnTo>
                <a:lnTo>
                  <a:pt x="48" y="148"/>
                </a:lnTo>
                <a:lnTo>
                  <a:pt x="52" y="152"/>
                </a:lnTo>
                <a:lnTo>
                  <a:pt x="48" y="154"/>
                </a:lnTo>
                <a:lnTo>
                  <a:pt x="46" y="154"/>
                </a:lnTo>
                <a:lnTo>
                  <a:pt x="46" y="166"/>
                </a:lnTo>
                <a:lnTo>
                  <a:pt x="46" y="168"/>
                </a:lnTo>
                <a:lnTo>
                  <a:pt x="48" y="176"/>
                </a:lnTo>
                <a:lnTo>
                  <a:pt x="52" y="184"/>
                </a:lnTo>
                <a:lnTo>
                  <a:pt x="52" y="190"/>
                </a:lnTo>
                <a:lnTo>
                  <a:pt x="48" y="198"/>
                </a:lnTo>
                <a:lnTo>
                  <a:pt x="46" y="204"/>
                </a:lnTo>
                <a:lnTo>
                  <a:pt x="44" y="204"/>
                </a:lnTo>
                <a:lnTo>
                  <a:pt x="42" y="204"/>
                </a:lnTo>
                <a:lnTo>
                  <a:pt x="40" y="204"/>
                </a:lnTo>
                <a:lnTo>
                  <a:pt x="38" y="202"/>
                </a:lnTo>
                <a:lnTo>
                  <a:pt x="32" y="204"/>
                </a:lnTo>
                <a:lnTo>
                  <a:pt x="32" y="208"/>
                </a:lnTo>
                <a:lnTo>
                  <a:pt x="36" y="212"/>
                </a:lnTo>
                <a:lnTo>
                  <a:pt x="32" y="216"/>
                </a:lnTo>
                <a:lnTo>
                  <a:pt x="32" y="220"/>
                </a:lnTo>
                <a:lnTo>
                  <a:pt x="30" y="220"/>
                </a:lnTo>
                <a:lnTo>
                  <a:pt x="28" y="220"/>
                </a:lnTo>
                <a:lnTo>
                  <a:pt x="22" y="232"/>
                </a:lnTo>
                <a:lnTo>
                  <a:pt x="18" y="242"/>
                </a:lnTo>
                <a:lnTo>
                  <a:pt x="14" y="244"/>
                </a:lnTo>
                <a:lnTo>
                  <a:pt x="14" y="246"/>
                </a:lnTo>
                <a:lnTo>
                  <a:pt x="18" y="250"/>
                </a:lnTo>
                <a:lnTo>
                  <a:pt x="18" y="252"/>
                </a:lnTo>
                <a:lnTo>
                  <a:pt x="0" y="260"/>
                </a:lnTo>
                <a:lnTo>
                  <a:pt x="0" y="266"/>
                </a:lnTo>
                <a:lnTo>
                  <a:pt x="0" y="276"/>
                </a:lnTo>
                <a:lnTo>
                  <a:pt x="10" y="276"/>
                </a:lnTo>
                <a:lnTo>
                  <a:pt x="12" y="278"/>
                </a:lnTo>
                <a:lnTo>
                  <a:pt x="14" y="286"/>
                </a:lnTo>
                <a:lnTo>
                  <a:pt x="20" y="292"/>
                </a:lnTo>
                <a:lnTo>
                  <a:pt x="22" y="292"/>
                </a:lnTo>
                <a:lnTo>
                  <a:pt x="24" y="294"/>
                </a:lnTo>
                <a:lnTo>
                  <a:pt x="24" y="298"/>
                </a:lnTo>
                <a:lnTo>
                  <a:pt x="24" y="304"/>
                </a:lnTo>
                <a:lnTo>
                  <a:pt x="22" y="312"/>
                </a:lnTo>
                <a:lnTo>
                  <a:pt x="24" y="316"/>
                </a:lnTo>
                <a:lnTo>
                  <a:pt x="28" y="318"/>
                </a:lnTo>
                <a:lnTo>
                  <a:pt x="32" y="320"/>
                </a:lnTo>
                <a:lnTo>
                  <a:pt x="38" y="320"/>
                </a:lnTo>
                <a:lnTo>
                  <a:pt x="44" y="320"/>
                </a:lnTo>
                <a:lnTo>
                  <a:pt x="48" y="320"/>
                </a:lnTo>
                <a:lnTo>
                  <a:pt x="52" y="322"/>
                </a:lnTo>
                <a:lnTo>
                  <a:pt x="54" y="328"/>
                </a:lnTo>
                <a:lnTo>
                  <a:pt x="60" y="330"/>
                </a:lnTo>
                <a:lnTo>
                  <a:pt x="64" y="330"/>
                </a:lnTo>
                <a:lnTo>
                  <a:pt x="66" y="324"/>
                </a:lnTo>
                <a:lnTo>
                  <a:pt x="70" y="324"/>
                </a:lnTo>
                <a:lnTo>
                  <a:pt x="74" y="324"/>
                </a:lnTo>
                <a:lnTo>
                  <a:pt x="76" y="328"/>
                </a:lnTo>
                <a:lnTo>
                  <a:pt x="80" y="328"/>
                </a:lnTo>
                <a:lnTo>
                  <a:pt x="80" y="324"/>
                </a:lnTo>
                <a:lnTo>
                  <a:pt x="84" y="322"/>
                </a:lnTo>
                <a:lnTo>
                  <a:pt x="88" y="322"/>
                </a:lnTo>
                <a:lnTo>
                  <a:pt x="96" y="332"/>
                </a:lnTo>
                <a:lnTo>
                  <a:pt x="108" y="338"/>
                </a:lnTo>
                <a:lnTo>
                  <a:pt x="114" y="334"/>
                </a:lnTo>
                <a:lnTo>
                  <a:pt x="130" y="336"/>
                </a:lnTo>
                <a:lnTo>
                  <a:pt x="132" y="336"/>
                </a:lnTo>
                <a:lnTo>
                  <a:pt x="136" y="330"/>
                </a:lnTo>
                <a:lnTo>
                  <a:pt x="136" y="328"/>
                </a:lnTo>
                <a:lnTo>
                  <a:pt x="142" y="328"/>
                </a:lnTo>
                <a:lnTo>
                  <a:pt x="148" y="328"/>
                </a:lnTo>
                <a:lnTo>
                  <a:pt x="150" y="328"/>
                </a:lnTo>
                <a:lnTo>
                  <a:pt x="152" y="324"/>
                </a:lnTo>
                <a:lnTo>
                  <a:pt x="150" y="322"/>
                </a:lnTo>
                <a:lnTo>
                  <a:pt x="148" y="320"/>
                </a:lnTo>
                <a:lnTo>
                  <a:pt x="148" y="316"/>
                </a:lnTo>
                <a:lnTo>
                  <a:pt x="148" y="314"/>
                </a:lnTo>
                <a:lnTo>
                  <a:pt x="152" y="312"/>
                </a:lnTo>
                <a:lnTo>
                  <a:pt x="158" y="312"/>
                </a:lnTo>
                <a:lnTo>
                  <a:pt x="162" y="312"/>
                </a:lnTo>
                <a:lnTo>
                  <a:pt x="164" y="312"/>
                </a:lnTo>
                <a:lnTo>
                  <a:pt x="170" y="306"/>
                </a:lnTo>
                <a:lnTo>
                  <a:pt x="178" y="306"/>
                </a:lnTo>
                <a:lnTo>
                  <a:pt x="180" y="306"/>
                </a:lnTo>
                <a:lnTo>
                  <a:pt x="182" y="312"/>
                </a:lnTo>
                <a:lnTo>
                  <a:pt x="182" y="314"/>
                </a:lnTo>
                <a:lnTo>
                  <a:pt x="184" y="314"/>
                </a:lnTo>
                <a:lnTo>
                  <a:pt x="186" y="316"/>
                </a:lnTo>
                <a:lnTo>
                  <a:pt x="188" y="316"/>
                </a:lnTo>
                <a:lnTo>
                  <a:pt x="192" y="316"/>
                </a:lnTo>
                <a:lnTo>
                  <a:pt x="194" y="318"/>
                </a:lnTo>
                <a:lnTo>
                  <a:pt x="196" y="318"/>
                </a:lnTo>
                <a:lnTo>
                  <a:pt x="196" y="316"/>
                </a:lnTo>
                <a:lnTo>
                  <a:pt x="196" y="314"/>
                </a:lnTo>
                <a:lnTo>
                  <a:pt x="198" y="312"/>
                </a:lnTo>
                <a:lnTo>
                  <a:pt x="200" y="312"/>
                </a:lnTo>
                <a:lnTo>
                  <a:pt x="204" y="310"/>
                </a:lnTo>
                <a:lnTo>
                  <a:pt x="210" y="306"/>
                </a:lnTo>
                <a:lnTo>
                  <a:pt x="212" y="306"/>
                </a:lnTo>
                <a:lnTo>
                  <a:pt x="214" y="310"/>
                </a:lnTo>
                <a:lnTo>
                  <a:pt x="214" y="312"/>
                </a:lnTo>
                <a:lnTo>
                  <a:pt x="214" y="316"/>
                </a:lnTo>
                <a:lnTo>
                  <a:pt x="218" y="324"/>
                </a:lnTo>
                <a:lnTo>
                  <a:pt x="222" y="330"/>
                </a:lnTo>
                <a:lnTo>
                  <a:pt x="222" y="334"/>
                </a:lnTo>
                <a:lnTo>
                  <a:pt x="222" y="338"/>
                </a:lnTo>
                <a:lnTo>
                  <a:pt x="226" y="342"/>
                </a:lnTo>
                <a:lnTo>
                  <a:pt x="228" y="346"/>
                </a:lnTo>
                <a:lnTo>
                  <a:pt x="232" y="346"/>
                </a:lnTo>
                <a:lnTo>
                  <a:pt x="234" y="342"/>
                </a:lnTo>
                <a:lnTo>
                  <a:pt x="236" y="340"/>
                </a:lnTo>
                <a:lnTo>
                  <a:pt x="238" y="342"/>
                </a:lnTo>
                <a:lnTo>
                  <a:pt x="240" y="346"/>
                </a:lnTo>
                <a:lnTo>
                  <a:pt x="248" y="342"/>
                </a:lnTo>
                <a:lnTo>
                  <a:pt x="254" y="346"/>
                </a:lnTo>
                <a:lnTo>
                  <a:pt x="264" y="346"/>
                </a:lnTo>
                <a:lnTo>
                  <a:pt x="274" y="348"/>
                </a:lnTo>
                <a:lnTo>
                  <a:pt x="284" y="350"/>
                </a:lnTo>
                <a:lnTo>
                  <a:pt x="290" y="358"/>
                </a:lnTo>
                <a:lnTo>
                  <a:pt x="292" y="360"/>
                </a:lnTo>
                <a:lnTo>
                  <a:pt x="298" y="358"/>
                </a:lnTo>
                <a:lnTo>
                  <a:pt x="304" y="358"/>
                </a:lnTo>
                <a:lnTo>
                  <a:pt x="308" y="360"/>
                </a:lnTo>
                <a:lnTo>
                  <a:pt x="316" y="364"/>
                </a:lnTo>
                <a:lnTo>
                  <a:pt x="320" y="360"/>
                </a:lnTo>
                <a:lnTo>
                  <a:pt x="324" y="356"/>
                </a:lnTo>
                <a:lnTo>
                  <a:pt x="334" y="356"/>
                </a:lnTo>
                <a:lnTo>
                  <a:pt x="336" y="352"/>
                </a:lnTo>
                <a:lnTo>
                  <a:pt x="342" y="352"/>
                </a:lnTo>
                <a:lnTo>
                  <a:pt x="352" y="352"/>
                </a:lnTo>
                <a:lnTo>
                  <a:pt x="356" y="356"/>
                </a:lnTo>
                <a:lnTo>
                  <a:pt x="358" y="360"/>
                </a:lnTo>
                <a:lnTo>
                  <a:pt x="358" y="366"/>
                </a:lnTo>
                <a:lnTo>
                  <a:pt x="358" y="372"/>
                </a:lnTo>
                <a:lnTo>
                  <a:pt x="360" y="378"/>
                </a:lnTo>
                <a:lnTo>
                  <a:pt x="368" y="384"/>
                </a:lnTo>
                <a:lnTo>
                  <a:pt x="372" y="388"/>
                </a:lnTo>
                <a:lnTo>
                  <a:pt x="374" y="390"/>
                </a:lnTo>
                <a:lnTo>
                  <a:pt x="376" y="390"/>
                </a:lnTo>
                <a:lnTo>
                  <a:pt x="376" y="384"/>
                </a:lnTo>
                <a:lnTo>
                  <a:pt x="382" y="382"/>
                </a:lnTo>
                <a:lnTo>
                  <a:pt x="384" y="382"/>
                </a:lnTo>
                <a:lnTo>
                  <a:pt x="386" y="386"/>
                </a:lnTo>
                <a:lnTo>
                  <a:pt x="390" y="386"/>
                </a:lnTo>
                <a:lnTo>
                  <a:pt x="400" y="382"/>
                </a:lnTo>
                <a:lnTo>
                  <a:pt x="404" y="378"/>
                </a:lnTo>
                <a:lnTo>
                  <a:pt x="406" y="374"/>
                </a:lnTo>
                <a:lnTo>
                  <a:pt x="408" y="376"/>
                </a:lnTo>
                <a:lnTo>
                  <a:pt x="412" y="382"/>
                </a:lnTo>
                <a:lnTo>
                  <a:pt x="414" y="382"/>
                </a:lnTo>
                <a:lnTo>
                  <a:pt x="420" y="382"/>
                </a:lnTo>
                <a:lnTo>
                  <a:pt x="422" y="388"/>
                </a:lnTo>
                <a:lnTo>
                  <a:pt x="426" y="396"/>
                </a:lnTo>
                <a:lnTo>
                  <a:pt x="428" y="400"/>
                </a:lnTo>
                <a:lnTo>
                  <a:pt x="430" y="402"/>
                </a:lnTo>
                <a:lnTo>
                  <a:pt x="442" y="406"/>
                </a:lnTo>
                <a:lnTo>
                  <a:pt x="452" y="408"/>
                </a:lnTo>
                <a:lnTo>
                  <a:pt x="458" y="412"/>
                </a:lnTo>
                <a:lnTo>
                  <a:pt x="464" y="410"/>
                </a:lnTo>
                <a:lnTo>
                  <a:pt x="470" y="412"/>
                </a:lnTo>
                <a:lnTo>
                  <a:pt x="474" y="420"/>
                </a:lnTo>
                <a:lnTo>
                  <a:pt x="480" y="420"/>
                </a:lnTo>
                <a:lnTo>
                  <a:pt x="488" y="424"/>
                </a:lnTo>
                <a:lnTo>
                  <a:pt x="490" y="424"/>
                </a:lnTo>
                <a:lnTo>
                  <a:pt x="492" y="428"/>
                </a:lnTo>
                <a:lnTo>
                  <a:pt x="498" y="436"/>
                </a:lnTo>
                <a:lnTo>
                  <a:pt x="504" y="432"/>
                </a:lnTo>
                <a:lnTo>
                  <a:pt x="506" y="428"/>
                </a:lnTo>
                <a:lnTo>
                  <a:pt x="506" y="424"/>
                </a:lnTo>
                <a:lnTo>
                  <a:pt x="506" y="420"/>
                </a:lnTo>
                <a:lnTo>
                  <a:pt x="504" y="412"/>
                </a:lnTo>
                <a:lnTo>
                  <a:pt x="496" y="402"/>
                </a:lnTo>
                <a:lnTo>
                  <a:pt x="494" y="396"/>
                </a:lnTo>
                <a:lnTo>
                  <a:pt x="490" y="394"/>
                </a:lnTo>
                <a:lnTo>
                  <a:pt x="488" y="392"/>
                </a:lnTo>
                <a:lnTo>
                  <a:pt x="488" y="390"/>
                </a:lnTo>
                <a:lnTo>
                  <a:pt x="494" y="388"/>
                </a:lnTo>
                <a:lnTo>
                  <a:pt x="496" y="386"/>
                </a:lnTo>
                <a:lnTo>
                  <a:pt x="498" y="382"/>
                </a:lnTo>
                <a:lnTo>
                  <a:pt x="500" y="376"/>
                </a:lnTo>
                <a:lnTo>
                  <a:pt x="508" y="376"/>
                </a:lnTo>
                <a:lnTo>
                  <a:pt x="514" y="370"/>
                </a:lnTo>
                <a:lnTo>
                  <a:pt x="516" y="364"/>
                </a:lnTo>
                <a:lnTo>
                  <a:pt x="522" y="354"/>
                </a:lnTo>
                <a:lnTo>
                  <a:pt x="526" y="350"/>
                </a:lnTo>
                <a:lnTo>
                  <a:pt x="528" y="346"/>
                </a:lnTo>
                <a:lnTo>
                  <a:pt x="530" y="338"/>
                </a:lnTo>
                <a:lnTo>
                  <a:pt x="538" y="338"/>
                </a:lnTo>
                <a:lnTo>
                  <a:pt x="544" y="336"/>
                </a:lnTo>
                <a:lnTo>
                  <a:pt x="548" y="332"/>
                </a:lnTo>
                <a:lnTo>
                  <a:pt x="558" y="330"/>
                </a:lnTo>
                <a:lnTo>
                  <a:pt x="564" y="324"/>
                </a:lnTo>
                <a:lnTo>
                  <a:pt x="556" y="318"/>
                </a:lnTo>
                <a:lnTo>
                  <a:pt x="548" y="314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 w="6350">
            <a:solidFill>
              <a:schemeClr val="tx2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457200">
              <a:defRPr/>
            </a:pPr>
            <a:endParaRPr lang="en-US" kern="0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40" name="Freeform 18">
            <a:extLst>
              <a:ext uri="{FF2B5EF4-FFF2-40B4-BE49-F238E27FC236}">
                <a16:creationId xmlns:a16="http://schemas.microsoft.com/office/drawing/2014/main" id="{3C88AB43-3B8C-49D5-41FC-5CB108233D05}"/>
              </a:ext>
            </a:extLst>
          </p:cNvPr>
          <p:cNvSpPr>
            <a:spLocks/>
          </p:cNvSpPr>
          <p:nvPr/>
        </p:nvSpPr>
        <p:spPr bwMode="auto">
          <a:xfrm>
            <a:off x="3098800" y="4790440"/>
            <a:ext cx="779780" cy="701040"/>
          </a:xfrm>
          <a:custGeom>
            <a:avLst/>
            <a:gdLst>
              <a:gd name="T0" fmla="*/ 2147483646 w 614"/>
              <a:gd name="T1" fmla="*/ 2147483646 h 552"/>
              <a:gd name="T2" fmla="*/ 2147483646 w 614"/>
              <a:gd name="T3" fmla="*/ 2147483646 h 552"/>
              <a:gd name="T4" fmla="*/ 2147483646 w 614"/>
              <a:gd name="T5" fmla="*/ 2147483646 h 552"/>
              <a:gd name="T6" fmla="*/ 2147483646 w 614"/>
              <a:gd name="T7" fmla="*/ 2147483646 h 552"/>
              <a:gd name="T8" fmla="*/ 2147483646 w 614"/>
              <a:gd name="T9" fmla="*/ 2147483646 h 552"/>
              <a:gd name="T10" fmla="*/ 2147483646 w 614"/>
              <a:gd name="T11" fmla="*/ 2147483646 h 552"/>
              <a:gd name="T12" fmla="*/ 2147483646 w 614"/>
              <a:gd name="T13" fmla="*/ 2147483646 h 552"/>
              <a:gd name="T14" fmla="*/ 2147483646 w 614"/>
              <a:gd name="T15" fmla="*/ 2147483646 h 552"/>
              <a:gd name="T16" fmla="*/ 2147483646 w 614"/>
              <a:gd name="T17" fmla="*/ 2147483646 h 552"/>
              <a:gd name="T18" fmla="*/ 2147483646 w 614"/>
              <a:gd name="T19" fmla="*/ 2147483646 h 552"/>
              <a:gd name="T20" fmla="*/ 2147483646 w 614"/>
              <a:gd name="T21" fmla="*/ 2147483646 h 552"/>
              <a:gd name="T22" fmla="*/ 2147483646 w 614"/>
              <a:gd name="T23" fmla="*/ 2147483646 h 552"/>
              <a:gd name="T24" fmla="*/ 2147483646 w 614"/>
              <a:gd name="T25" fmla="*/ 2147483646 h 552"/>
              <a:gd name="T26" fmla="*/ 2147483646 w 614"/>
              <a:gd name="T27" fmla="*/ 2147483646 h 552"/>
              <a:gd name="T28" fmla="*/ 2147483646 w 614"/>
              <a:gd name="T29" fmla="*/ 2147483646 h 552"/>
              <a:gd name="T30" fmla="*/ 2147483646 w 614"/>
              <a:gd name="T31" fmla="*/ 2147483646 h 552"/>
              <a:gd name="T32" fmla="*/ 2147483646 w 614"/>
              <a:gd name="T33" fmla="*/ 2147483646 h 552"/>
              <a:gd name="T34" fmla="*/ 2147483646 w 614"/>
              <a:gd name="T35" fmla="*/ 2147483646 h 552"/>
              <a:gd name="T36" fmla="*/ 2147483646 w 614"/>
              <a:gd name="T37" fmla="*/ 2147483646 h 552"/>
              <a:gd name="T38" fmla="*/ 2147483646 w 614"/>
              <a:gd name="T39" fmla="*/ 2147483646 h 552"/>
              <a:gd name="T40" fmla="*/ 2147483646 w 614"/>
              <a:gd name="T41" fmla="*/ 2147483646 h 552"/>
              <a:gd name="T42" fmla="*/ 2147483646 w 614"/>
              <a:gd name="T43" fmla="*/ 2147483646 h 552"/>
              <a:gd name="T44" fmla="*/ 2147483646 w 614"/>
              <a:gd name="T45" fmla="*/ 2147483646 h 552"/>
              <a:gd name="T46" fmla="*/ 2147483646 w 614"/>
              <a:gd name="T47" fmla="*/ 2147483646 h 552"/>
              <a:gd name="T48" fmla="*/ 2147483646 w 614"/>
              <a:gd name="T49" fmla="*/ 2147483646 h 552"/>
              <a:gd name="T50" fmla="*/ 2147483646 w 614"/>
              <a:gd name="T51" fmla="*/ 2147483646 h 552"/>
              <a:gd name="T52" fmla="*/ 2147483646 w 614"/>
              <a:gd name="T53" fmla="*/ 2147483646 h 552"/>
              <a:gd name="T54" fmla="*/ 2147483646 w 614"/>
              <a:gd name="T55" fmla="*/ 2147483646 h 552"/>
              <a:gd name="T56" fmla="*/ 2147483646 w 614"/>
              <a:gd name="T57" fmla="*/ 2147483646 h 552"/>
              <a:gd name="T58" fmla="*/ 2147483646 w 614"/>
              <a:gd name="T59" fmla="*/ 2147483646 h 552"/>
              <a:gd name="T60" fmla="*/ 2147483646 w 614"/>
              <a:gd name="T61" fmla="*/ 2147483646 h 552"/>
              <a:gd name="T62" fmla="*/ 2147483646 w 614"/>
              <a:gd name="T63" fmla="*/ 2147483646 h 552"/>
              <a:gd name="T64" fmla="*/ 2147483646 w 614"/>
              <a:gd name="T65" fmla="*/ 2147483646 h 552"/>
              <a:gd name="T66" fmla="*/ 2147483646 w 614"/>
              <a:gd name="T67" fmla="*/ 2147483646 h 552"/>
              <a:gd name="T68" fmla="*/ 2147483646 w 614"/>
              <a:gd name="T69" fmla="*/ 2147483646 h 552"/>
              <a:gd name="T70" fmla="*/ 2147483646 w 614"/>
              <a:gd name="T71" fmla="*/ 2147483646 h 552"/>
              <a:gd name="T72" fmla="*/ 2147483646 w 614"/>
              <a:gd name="T73" fmla="*/ 2147483646 h 552"/>
              <a:gd name="T74" fmla="*/ 2147483646 w 614"/>
              <a:gd name="T75" fmla="*/ 2147483646 h 552"/>
              <a:gd name="T76" fmla="*/ 2147483646 w 614"/>
              <a:gd name="T77" fmla="*/ 2147483646 h 552"/>
              <a:gd name="T78" fmla="*/ 2147483646 w 614"/>
              <a:gd name="T79" fmla="*/ 2147483646 h 552"/>
              <a:gd name="T80" fmla="*/ 2147483646 w 614"/>
              <a:gd name="T81" fmla="*/ 2147483646 h 552"/>
              <a:gd name="T82" fmla="*/ 2147483646 w 614"/>
              <a:gd name="T83" fmla="*/ 2147483646 h 552"/>
              <a:gd name="T84" fmla="*/ 2147483646 w 614"/>
              <a:gd name="T85" fmla="*/ 2147483646 h 552"/>
              <a:gd name="T86" fmla="*/ 2147483646 w 614"/>
              <a:gd name="T87" fmla="*/ 2147483646 h 552"/>
              <a:gd name="T88" fmla="*/ 2147483646 w 614"/>
              <a:gd name="T89" fmla="*/ 2147483646 h 552"/>
              <a:gd name="T90" fmla="*/ 2147483646 w 614"/>
              <a:gd name="T91" fmla="*/ 2147483646 h 552"/>
              <a:gd name="T92" fmla="*/ 2147483646 w 614"/>
              <a:gd name="T93" fmla="*/ 2147483646 h 552"/>
              <a:gd name="T94" fmla="*/ 2147483646 w 614"/>
              <a:gd name="T95" fmla="*/ 2147483646 h 552"/>
              <a:gd name="T96" fmla="*/ 2147483646 w 614"/>
              <a:gd name="T97" fmla="*/ 2147483646 h 552"/>
              <a:gd name="T98" fmla="*/ 2147483646 w 614"/>
              <a:gd name="T99" fmla="*/ 2147483646 h 552"/>
              <a:gd name="T100" fmla="*/ 2147483646 w 614"/>
              <a:gd name="T101" fmla="*/ 2147483646 h 552"/>
              <a:gd name="T102" fmla="*/ 2147483646 w 614"/>
              <a:gd name="T103" fmla="*/ 2147483646 h 552"/>
              <a:gd name="T104" fmla="*/ 2147483646 w 614"/>
              <a:gd name="T105" fmla="*/ 2147483646 h 552"/>
              <a:gd name="T106" fmla="*/ 2147483646 w 614"/>
              <a:gd name="T107" fmla="*/ 2147483646 h 552"/>
              <a:gd name="T108" fmla="*/ 2147483646 w 614"/>
              <a:gd name="T109" fmla="*/ 2147483646 h 552"/>
              <a:gd name="T110" fmla="*/ 2147483646 w 614"/>
              <a:gd name="T111" fmla="*/ 2147483646 h 552"/>
              <a:gd name="T112" fmla="*/ 2147483646 w 614"/>
              <a:gd name="T113" fmla="*/ 2147483646 h 552"/>
              <a:gd name="T114" fmla="*/ 2147483646 w 614"/>
              <a:gd name="T115" fmla="*/ 2147483646 h 552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w 614"/>
              <a:gd name="T175" fmla="*/ 0 h 552"/>
              <a:gd name="T176" fmla="*/ 614 w 614"/>
              <a:gd name="T177" fmla="*/ 552 h 552"/>
            </a:gdLst>
            <a:ahLst/>
            <a:cxnLst>
              <a:cxn ang="T116">
                <a:pos x="T0" y="T1"/>
              </a:cxn>
              <a:cxn ang="T117">
                <a:pos x="T2" y="T3"/>
              </a:cxn>
              <a:cxn ang="T118">
                <a:pos x="T4" y="T5"/>
              </a:cxn>
              <a:cxn ang="T119">
                <a:pos x="T6" y="T7"/>
              </a:cxn>
              <a:cxn ang="T120">
                <a:pos x="T8" y="T9"/>
              </a:cxn>
              <a:cxn ang="T121">
                <a:pos x="T10" y="T11"/>
              </a:cxn>
              <a:cxn ang="T122">
                <a:pos x="T12" y="T13"/>
              </a:cxn>
              <a:cxn ang="T123">
                <a:pos x="T14" y="T15"/>
              </a:cxn>
              <a:cxn ang="T124">
                <a:pos x="T16" y="T17"/>
              </a:cxn>
              <a:cxn ang="T125">
                <a:pos x="T18" y="T19"/>
              </a:cxn>
              <a:cxn ang="T126">
                <a:pos x="T20" y="T21"/>
              </a:cxn>
              <a:cxn ang="T127">
                <a:pos x="T22" y="T23"/>
              </a:cxn>
              <a:cxn ang="T128">
                <a:pos x="T24" y="T25"/>
              </a:cxn>
              <a:cxn ang="T129">
                <a:pos x="T26" y="T27"/>
              </a:cxn>
              <a:cxn ang="T130">
                <a:pos x="T28" y="T29"/>
              </a:cxn>
              <a:cxn ang="T131">
                <a:pos x="T30" y="T31"/>
              </a:cxn>
              <a:cxn ang="T132">
                <a:pos x="T32" y="T33"/>
              </a:cxn>
              <a:cxn ang="T133">
                <a:pos x="T34" y="T35"/>
              </a:cxn>
              <a:cxn ang="T134">
                <a:pos x="T36" y="T37"/>
              </a:cxn>
              <a:cxn ang="T135">
                <a:pos x="T38" y="T39"/>
              </a:cxn>
              <a:cxn ang="T136">
                <a:pos x="T40" y="T41"/>
              </a:cxn>
              <a:cxn ang="T137">
                <a:pos x="T42" y="T43"/>
              </a:cxn>
              <a:cxn ang="T138">
                <a:pos x="T44" y="T45"/>
              </a:cxn>
              <a:cxn ang="T139">
                <a:pos x="T46" y="T47"/>
              </a:cxn>
              <a:cxn ang="T140">
                <a:pos x="T48" y="T49"/>
              </a:cxn>
              <a:cxn ang="T141">
                <a:pos x="T50" y="T51"/>
              </a:cxn>
              <a:cxn ang="T142">
                <a:pos x="T52" y="T53"/>
              </a:cxn>
              <a:cxn ang="T143">
                <a:pos x="T54" y="T55"/>
              </a:cxn>
              <a:cxn ang="T144">
                <a:pos x="T56" y="T57"/>
              </a:cxn>
              <a:cxn ang="T145">
                <a:pos x="T58" y="T59"/>
              </a:cxn>
              <a:cxn ang="T146">
                <a:pos x="T60" y="T61"/>
              </a:cxn>
              <a:cxn ang="T147">
                <a:pos x="T62" y="T63"/>
              </a:cxn>
              <a:cxn ang="T148">
                <a:pos x="T64" y="T65"/>
              </a:cxn>
              <a:cxn ang="T149">
                <a:pos x="T66" y="T67"/>
              </a:cxn>
              <a:cxn ang="T150">
                <a:pos x="T68" y="T69"/>
              </a:cxn>
              <a:cxn ang="T151">
                <a:pos x="T70" y="T71"/>
              </a:cxn>
              <a:cxn ang="T152">
                <a:pos x="T72" y="T73"/>
              </a:cxn>
              <a:cxn ang="T153">
                <a:pos x="T74" y="T75"/>
              </a:cxn>
              <a:cxn ang="T154">
                <a:pos x="T76" y="T77"/>
              </a:cxn>
              <a:cxn ang="T155">
                <a:pos x="T78" y="T79"/>
              </a:cxn>
              <a:cxn ang="T156">
                <a:pos x="T80" y="T81"/>
              </a:cxn>
              <a:cxn ang="T157">
                <a:pos x="T82" y="T83"/>
              </a:cxn>
              <a:cxn ang="T158">
                <a:pos x="T84" y="T85"/>
              </a:cxn>
              <a:cxn ang="T159">
                <a:pos x="T86" y="T87"/>
              </a:cxn>
              <a:cxn ang="T160">
                <a:pos x="T88" y="T89"/>
              </a:cxn>
              <a:cxn ang="T161">
                <a:pos x="T90" y="T91"/>
              </a:cxn>
              <a:cxn ang="T162">
                <a:pos x="T92" y="T93"/>
              </a:cxn>
              <a:cxn ang="T163">
                <a:pos x="T94" y="T95"/>
              </a:cxn>
              <a:cxn ang="T164">
                <a:pos x="T96" y="T97"/>
              </a:cxn>
              <a:cxn ang="T165">
                <a:pos x="T98" y="T99"/>
              </a:cxn>
              <a:cxn ang="T166">
                <a:pos x="T100" y="T101"/>
              </a:cxn>
              <a:cxn ang="T167">
                <a:pos x="T102" y="T103"/>
              </a:cxn>
              <a:cxn ang="T168">
                <a:pos x="T104" y="T105"/>
              </a:cxn>
              <a:cxn ang="T169">
                <a:pos x="T106" y="T107"/>
              </a:cxn>
              <a:cxn ang="T170">
                <a:pos x="T108" y="T109"/>
              </a:cxn>
              <a:cxn ang="T171">
                <a:pos x="T110" y="T111"/>
              </a:cxn>
              <a:cxn ang="T172">
                <a:pos x="T112" y="T113"/>
              </a:cxn>
              <a:cxn ang="T173">
                <a:pos x="T114" y="T115"/>
              </a:cxn>
            </a:cxnLst>
            <a:rect l="T174" t="T175" r="T176" b="T177"/>
            <a:pathLst>
              <a:path w="614" h="552">
                <a:moveTo>
                  <a:pt x="540" y="186"/>
                </a:moveTo>
                <a:lnTo>
                  <a:pt x="534" y="180"/>
                </a:lnTo>
                <a:lnTo>
                  <a:pt x="480" y="184"/>
                </a:lnTo>
                <a:lnTo>
                  <a:pt x="474" y="182"/>
                </a:lnTo>
                <a:lnTo>
                  <a:pt x="458" y="180"/>
                </a:lnTo>
                <a:lnTo>
                  <a:pt x="450" y="178"/>
                </a:lnTo>
                <a:lnTo>
                  <a:pt x="452" y="170"/>
                </a:lnTo>
                <a:lnTo>
                  <a:pt x="458" y="166"/>
                </a:lnTo>
                <a:lnTo>
                  <a:pt x="462" y="162"/>
                </a:lnTo>
                <a:lnTo>
                  <a:pt x="464" y="158"/>
                </a:lnTo>
                <a:lnTo>
                  <a:pt x="456" y="156"/>
                </a:lnTo>
                <a:lnTo>
                  <a:pt x="448" y="158"/>
                </a:lnTo>
                <a:lnTo>
                  <a:pt x="428" y="162"/>
                </a:lnTo>
                <a:lnTo>
                  <a:pt x="424" y="160"/>
                </a:lnTo>
                <a:lnTo>
                  <a:pt x="418" y="158"/>
                </a:lnTo>
                <a:lnTo>
                  <a:pt x="416" y="152"/>
                </a:lnTo>
                <a:lnTo>
                  <a:pt x="418" y="150"/>
                </a:lnTo>
                <a:lnTo>
                  <a:pt x="426" y="150"/>
                </a:lnTo>
                <a:lnTo>
                  <a:pt x="436" y="150"/>
                </a:lnTo>
                <a:lnTo>
                  <a:pt x="440" y="150"/>
                </a:lnTo>
                <a:lnTo>
                  <a:pt x="444" y="146"/>
                </a:lnTo>
                <a:lnTo>
                  <a:pt x="444" y="144"/>
                </a:lnTo>
                <a:lnTo>
                  <a:pt x="444" y="134"/>
                </a:lnTo>
                <a:lnTo>
                  <a:pt x="428" y="132"/>
                </a:lnTo>
                <a:lnTo>
                  <a:pt x="416" y="132"/>
                </a:lnTo>
                <a:lnTo>
                  <a:pt x="400" y="132"/>
                </a:lnTo>
                <a:lnTo>
                  <a:pt x="348" y="126"/>
                </a:lnTo>
                <a:lnTo>
                  <a:pt x="328" y="126"/>
                </a:lnTo>
                <a:lnTo>
                  <a:pt x="282" y="124"/>
                </a:lnTo>
                <a:lnTo>
                  <a:pt x="260" y="120"/>
                </a:lnTo>
                <a:lnTo>
                  <a:pt x="248" y="116"/>
                </a:lnTo>
                <a:lnTo>
                  <a:pt x="242" y="116"/>
                </a:lnTo>
                <a:lnTo>
                  <a:pt x="240" y="116"/>
                </a:lnTo>
                <a:lnTo>
                  <a:pt x="240" y="110"/>
                </a:lnTo>
                <a:lnTo>
                  <a:pt x="242" y="108"/>
                </a:lnTo>
                <a:lnTo>
                  <a:pt x="244" y="104"/>
                </a:lnTo>
                <a:lnTo>
                  <a:pt x="244" y="98"/>
                </a:lnTo>
                <a:lnTo>
                  <a:pt x="242" y="96"/>
                </a:lnTo>
                <a:lnTo>
                  <a:pt x="242" y="90"/>
                </a:lnTo>
                <a:lnTo>
                  <a:pt x="242" y="80"/>
                </a:lnTo>
                <a:lnTo>
                  <a:pt x="238" y="70"/>
                </a:lnTo>
                <a:lnTo>
                  <a:pt x="242" y="60"/>
                </a:lnTo>
                <a:lnTo>
                  <a:pt x="242" y="58"/>
                </a:lnTo>
                <a:lnTo>
                  <a:pt x="238" y="54"/>
                </a:lnTo>
                <a:lnTo>
                  <a:pt x="230" y="50"/>
                </a:lnTo>
                <a:lnTo>
                  <a:pt x="224" y="50"/>
                </a:lnTo>
                <a:lnTo>
                  <a:pt x="220" y="48"/>
                </a:lnTo>
                <a:lnTo>
                  <a:pt x="216" y="44"/>
                </a:lnTo>
                <a:lnTo>
                  <a:pt x="218" y="40"/>
                </a:lnTo>
                <a:lnTo>
                  <a:pt x="216" y="36"/>
                </a:lnTo>
                <a:lnTo>
                  <a:pt x="216" y="32"/>
                </a:lnTo>
                <a:lnTo>
                  <a:pt x="210" y="30"/>
                </a:lnTo>
                <a:lnTo>
                  <a:pt x="204" y="26"/>
                </a:lnTo>
                <a:lnTo>
                  <a:pt x="200" y="22"/>
                </a:lnTo>
                <a:lnTo>
                  <a:pt x="198" y="20"/>
                </a:lnTo>
                <a:lnTo>
                  <a:pt x="192" y="22"/>
                </a:lnTo>
                <a:lnTo>
                  <a:pt x="190" y="26"/>
                </a:lnTo>
                <a:lnTo>
                  <a:pt x="186" y="26"/>
                </a:lnTo>
                <a:lnTo>
                  <a:pt x="178" y="26"/>
                </a:lnTo>
                <a:lnTo>
                  <a:pt x="170" y="30"/>
                </a:lnTo>
                <a:lnTo>
                  <a:pt x="162" y="30"/>
                </a:lnTo>
                <a:lnTo>
                  <a:pt x="150" y="26"/>
                </a:lnTo>
                <a:lnTo>
                  <a:pt x="148" y="24"/>
                </a:lnTo>
                <a:lnTo>
                  <a:pt x="144" y="22"/>
                </a:lnTo>
                <a:lnTo>
                  <a:pt x="140" y="22"/>
                </a:lnTo>
                <a:lnTo>
                  <a:pt x="138" y="24"/>
                </a:lnTo>
                <a:lnTo>
                  <a:pt x="138" y="26"/>
                </a:lnTo>
                <a:lnTo>
                  <a:pt x="136" y="30"/>
                </a:lnTo>
                <a:lnTo>
                  <a:pt x="134" y="30"/>
                </a:lnTo>
                <a:lnTo>
                  <a:pt x="132" y="30"/>
                </a:lnTo>
                <a:lnTo>
                  <a:pt x="130" y="26"/>
                </a:lnTo>
                <a:lnTo>
                  <a:pt x="128" y="24"/>
                </a:lnTo>
                <a:lnTo>
                  <a:pt x="126" y="24"/>
                </a:lnTo>
                <a:lnTo>
                  <a:pt x="122" y="26"/>
                </a:lnTo>
                <a:lnTo>
                  <a:pt x="120" y="26"/>
                </a:lnTo>
                <a:lnTo>
                  <a:pt x="120" y="30"/>
                </a:lnTo>
                <a:lnTo>
                  <a:pt x="118" y="24"/>
                </a:lnTo>
                <a:lnTo>
                  <a:pt x="114" y="22"/>
                </a:lnTo>
                <a:lnTo>
                  <a:pt x="114" y="20"/>
                </a:lnTo>
                <a:lnTo>
                  <a:pt x="106" y="18"/>
                </a:lnTo>
                <a:lnTo>
                  <a:pt x="104" y="18"/>
                </a:lnTo>
                <a:lnTo>
                  <a:pt x="104" y="14"/>
                </a:lnTo>
                <a:lnTo>
                  <a:pt x="104" y="8"/>
                </a:lnTo>
                <a:lnTo>
                  <a:pt x="102" y="6"/>
                </a:lnTo>
                <a:lnTo>
                  <a:pt x="96" y="4"/>
                </a:lnTo>
                <a:lnTo>
                  <a:pt x="92" y="6"/>
                </a:lnTo>
                <a:lnTo>
                  <a:pt x="84" y="4"/>
                </a:lnTo>
                <a:lnTo>
                  <a:pt x="76" y="14"/>
                </a:lnTo>
                <a:lnTo>
                  <a:pt x="74" y="12"/>
                </a:lnTo>
                <a:lnTo>
                  <a:pt x="68" y="8"/>
                </a:lnTo>
                <a:lnTo>
                  <a:pt x="66" y="8"/>
                </a:lnTo>
                <a:lnTo>
                  <a:pt x="62" y="6"/>
                </a:lnTo>
                <a:lnTo>
                  <a:pt x="60" y="2"/>
                </a:lnTo>
                <a:lnTo>
                  <a:pt x="60" y="0"/>
                </a:lnTo>
                <a:lnTo>
                  <a:pt x="54" y="2"/>
                </a:lnTo>
                <a:lnTo>
                  <a:pt x="50" y="6"/>
                </a:lnTo>
                <a:lnTo>
                  <a:pt x="48" y="8"/>
                </a:lnTo>
                <a:lnTo>
                  <a:pt x="44" y="18"/>
                </a:lnTo>
                <a:lnTo>
                  <a:pt x="36" y="22"/>
                </a:lnTo>
                <a:lnTo>
                  <a:pt x="32" y="24"/>
                </a:lnTo>
                <a:lnTo>
                  <a:pt x="28" y="26"/>
                </a:lnTo>
                <a:lnTo>
                  <a:pt x="26" y="32"/>
                </a:lnTo>
                <a:lnTo>
                  <a:pt x="22" y="38"/>
                </a:lnTo>
                <a:lnTo>
                  <a:pt x="14" y="42"/>
                </a:lnTo>
                <a:lnTo>
                  <a:pt x="12" y="52"/>
                </a:lnTo>
                <a:lnTo>
                  <a:pt x="10" y="54"/>
                </a:lnTo>
                <a:lnTo>
                  <a:pt x="10" y="56"/>
                </a:lnTo>
                <a:lnTo>
                  <a:pt x="10" y="58"/>
                </a:lnTo>
                <a:lnTo>
                  <a:pt x="8" y="62"/>
                </a:lnTo>
                <a:lnTo>
                  <a:pt x="2" y="68"/>
                </a:lnTo>
                <a:lnTo>
                  <a:pt x="2" y="72"/>
                </a:lnTo>
                <a:lnTo>
                  <a:pt x="0" y="74"/>
                </a:lnTo>
                <a:lnTo>
                  <a:pt x="6" y="78"/>
                </a:lnTo>
                <a:lnTo>
                  <a:pt x="8" y="80"/>
                </a:lnTo>
                <a:lnTo>
                  <a:pt x="10" y="86"/>
                </a:lnTo>
                <a:lnTo>
                  <a:pt x="10" y="90"/>
                </a:lnTo>
                <a:lnTo>
                  <a:pt x="12" y="96"/>
                </a:lnTo>
                <a:lnTo>
                  <a:pt x="10" y="102"/>
                </a:lnTo>
                <a:lnTo>
                  <a:pt x="12" y="106"/>
                </a:lnTo>
                <a:lnTo>
                  <a:pt x="14" y="106"/>
                </a:lnTo>
                <a:lnTo>
                  <a:pt x="16" y="108"/>
                </a:lnTo>
                <a:lnTo>
                  <a:pt x="16" y="110"/>
                </a:lnTo>
                <a:lnTo>
                  <a:pt x="14" y="112"/>
                </a:lnTo>
                <a:lnTo>
                  <a:pt x="10" y="116"/>
                </a:lnTo>
                <a:lnTo>
                  <a:pt x="10" y="120"/>
                </a:lnTo>
                <a:lnTo>
                  <a:pt x="10" y="122"/>
                </a:lnTo>
                <a:lnTo>
                  <a:pt x="12" y="126"/>
                </a:lnTo>
                <a:lnTo>
                  <a:pt x="10" y="130"/>
                </a:lnTo>
                <a:lnTo>
                  <a:pt x="8" y="132"/>
                </a:lnTo>
                <a:lnTo>
                  <a:pt x="6" y="138"/>
                </a:lnTo>
                <a:lnTo>
                  <a:pt x="10" y="148"/>
                </a:lnTo>
                <a:lnTo>
                  <a:pt x="10" y="156"/>
                </a:lnTo>
                <a:lnTo>
                  <a:pt x="8" y="166"/>
                </a:lnTo>
                <a:lnTo>
                  <a:pt x="12" y="174"/>
                </a:lnTo>
                <a:lnTo>
                  <a:pt x="14" y="180"/>
                </a:lnTo>
                <a:lnTo>
                  <a:pt x="14" y="184"/>
                </a:lnTo>
                <a:lnTo>
                  <a:pt x="16" y="186"/>
                </a:lnTo>
                <a:lnTo>
                  <a:pt x="22" y="186"/>
                </a:lnTo>
                <a:lnTo>
                  <a:pt x="26" y="186"/>
                </a:lnTo>
                <a:lnTo>
                  <a:pt x="30" y="186"/>
                </a:lnTo>
                <a:lnTo>
                  <a:pt x="34" y="186"/>
                </a:lnTo>
                <a:lnTo>
                  <a:pt x="40" y="192"/>
                </a:lnTo>
                <a:lnTo>
                  <a:pt x="44" y="194"/>
                </a:lnTo>
                <a:lnTo>
                  <a:pt x="46" y="194"/>
                </a:lnTo>
                <a:lnTo>
                  <a:pt x="44" y="206"/>
                </a:lnTo>
                <a:lnTo>
                  <a:pt x="42" y="212"/>
                </a:lnTo>
                <a:lnTo>
                  <a:pt x="40" y="216"/>
                </a:lnTo>
                <a:lnTo>
                  <a:pt x="44" y="224"/>
                </a:lnTo>
                <a:lnTo>
                  <a:pt x="48" y="224"/>
                </a:lnTo>
                <a:lnTo>
                  <a:pt x="50" y="224"/>
                </a:lnTo>
                <a:lnTo>
                  <a:pt x="52" y="224"/>
                </a:lnTo>
                <a:lnTo>
                  <a:pt x="64" y="230"/>
                </a:lnTo>
                <a:lnTo>
                  <a:pt x="68" y="230"/>
                </a:lnTo>
                <a:lnTo>
                  <a:pt x="74" y="238"/>
                </a:lnTo>
                <a:lnTo>
                  <a:pt x="76" y="238"/>
                </a:lnTo>
                <a:lnTo>
                  <a:pt x="80" y="238"/>
                </a:lnTo>
                <a:lnTo>
                  <a:pt x="84" y="238"/>
                </a:lnTo>
                <a:lnTo>
                  <a:pt x="86" y="236"/>
                </a:lnTo>
                <a:lnTo>
                  <a:pt x="92" y="234"/>
                </a:lnTo>
                <a:lnTo>
                  <a:pt x="96" y="234"/>
                </a:lnTo>
                <a:lnTo>
                  <a:pt x="98" y="236"/>
                </a:lnTo>
                <a:lnTo>
                  <a:pt x="100" y="238"/>
                </a:lnTo>
                <a:lnTo>
                  <a:pt x="104" y="250"/>
                </a:lnTo>
                <a:lnTo>
                  <a:pt x="110" y="256"/>
                </a:lnTo>
                <a:lnTo>
                  <a:pt x="112" y="264"/>
                </a:lnTo>
                <a:lnTo>
                  <a:pt x="116" y="270"/>
                </a:lnTo>
                <a:lnTo>
                  <a:pt x="122" y="274"/>
                </a:lnTo>
                <a:lnTo>
                  <a:pt x="128" y="276"/>
                </a:lnTo>
                <a:lnTo>
                  <a:pt x="130" y="282"/>
                </a:lnTo>
                <a:lnTo>
                  <a:pt x="136" y="290"/>
                </a:lnTo>
                <a:lnTo>
                  <a:pt x="174" y="364"/>
                </a:lnTo>
                <a:lnTo>
                  <a:pt x="190" y="392"/>
                </a:lnTo>
                <a:lnTo>
                  <a:pt x="204" y="416"/>
                </a:lnTo>
                <a:lnTo>
                  <a:pt x="218" y="450"/>
                </a:lnTo>
                <a:lnTo>
                  <a:pt x="226" y="458"/>
                </a:lnTo>
                <a:lnTo>
                  <a:pt x="226" y="464"/>
                </a:lnTo>
                <a:lnTo>
                  <a:pt x="230" y="472"/>
                </a:lnTo>
                <a:lnTo>
                  <a:pt x="224" y="488"/>
                </a:lnTo>
                <a:lnTo>
                  <a:pt x="230" y="500"/>
                </a:lnTo>
                <a:lnTo>
                  <a:pt x="232" y="506"/>
                </a:lnTo>
                <a:lnTo>
                  <a:pt x="234" y="508"/>
                </a:lnTo>
                <a:lnTo>
                  <a:pt x="240" y="508"/>
                </a:lnTo>
                <a:lnTo>
                  <a:pt x="244" y="510"/>
                </a:lnTo>
                <a:lnTo>
                  <a:pt x="250" y="516"/>
                </a:lnTo>
                <a:lnTo>
                  <a:pt x="260" y="522"/>
                </a:lnTo>
                <a:lnTo>
                  <a:pt x="262" y="524"/>
                </a:lnTo>
                <a:lnTo>
                  <a:pt x="266" y="524"/>
                </a:lnTo>
                <a:lnTo>
                  <a:pt x="276" y="524"/>
                </a:lnTo>
                <a:lnTo>
                  <a:pt x="282" y="526"/>
                </a:lnTo>
                <a:lnTo>
                  <a:pt x="286" y="526"/>
                </a:lnTo>
                <a:lnTo>
                  <a:pt x="290" y="536"/>
                </a:lnTo>
                <a:lnTo>
                  <a:pt x="292" y="538"/>
                </a:lnTo>
                <a:lnTo>
                  <a:pt x="300" y="542"/>
                </a:lnTo>
                <a:lnTo>
                  <a:pt x="308" y="548"/>
                </a:lnTo>
                <a:lnTo>
                  <a:pt x="310" y="552"/>
                </a:lnTo>
                <a:lnTo>
                  <a:pt x="312" y="552"/>
                </a:lnTo>
                <a:lnTo>
                  <a:pt x="318" y="546"/>
                </a:lnTo>
                <a:lnTo>
                  <a:pt x="318" y="542"/>
                </a:lnTo>
                <a:lnTo>
                  <a:pt x="322" y="534"/>
                </a:lnTo>
                <a:lnTo>
                  <a:pt x="322" y="528"/>
                </a:lnTo>
                <a:lnTo>
                  <a:pt x="324" y="524"/>
                </a:lnTo>
                <a:lnTo>
                  <a:pt x="328" y="518"/>
                </a:lnTo>
                <a:lnTo>
                  <a:pt x="328" y="512"/>
                </a:lnTo>
                <a:lnTo>
                  <a:pt x="326" y="506"/>
                </a:lnTo>
                <a:lnTo>
                  <a:pt x="326" y="502"/>
                </a:lnTo>
                <a:lnTo>
                  <a:pt x="324" y="494"/>
                </a:lnTo>
                <a:lnTo>
                  <a:pt x="324" y="490"/>
                </a:lnTo>
                <a:lnTo>
                  <a:pt x="330" y="484"/>
                </a:lnTo>
                <a:lnTo>
                  <a:pt x="330" y="476"/>
                </a:lnTo>
                <a:lnTo>
                  <a:pt x="330" y="472"/>
                </a:lnTo>
                <a:lnTo>
                  <a:pt x="336" y="470"/>
                </a:lnTo>
                <a:lnTo>
                  <a:pt x="340" y="470"/>
                </a:lnTo>
                <a:lnTo>
                  <a:pt x="346" y="470"/>
                </a:lnTo>
                <a:lnTo>
                  <a:pt x="348" y="468"/>
                </a:lnTo>
                <a:lnTo>
                  <a:pt x="352" y="464"/>
                </a:lnTo>
                <a:lnTo>
                  <a:pt x="360" y="462"/>
                </a:lnTo>
                <a:lnTo>
                  <a:pt x="364" y="456"/>
                </a:lnTo>
                <a:lnTo>
                  <a:pt x="372" y="458"/>
                </a:lnTo>
                <a:lnTo>
                  <a:pt x="374" y="454"/>
                </a:lnTo>
                <a:lnTo>
                  <a:pt x="378" y="452"/>
                </a:lnTo>
                <a:lnTo>
                  <a:pt x="380" y="452"/>
                </a:lnTo>
                <a:lnTo>
                  <a:pt x="388" y="454"/>
                </a:lnTo>
                <a:lnTo>
                  <a:pt x="394" y="456"/>
                </a:lnTo>
                <a:lnTo>
                  <a:pt x="400" y="458"/>
                </a:lnTo>
                <a:lnTo>
                  <a:pt x="406" y="454"/>
                </a:lnTo>
                <a:lnTo>
                  <a:pt x="416" y="456"/>
                </a:lnTo>
                <a:lnTo>
                  <a:pt x="422" y="458"/>
                </a:lnTo>
                <a:lnTo>
                  <a:pt x="428" y="452"/>
                </a:lnTo>
                <a:lnTo>
                  <a:pt x="430" y="448"/>
                </a:lnTo>
                <a:lnTo>
                  <a:pt x="442" y="444"/>
                </a:lnTo>
                <a:lnTo>
                  <a:pt x="446" y="436"/>
                </a:lnTo>
                <a:lnTo>
                  <a:pt x="446" y="430"/>
                </a:lnTo>
                <a:lnTo>
                  <a:pt x="448" y="418"/>
                </a:lnTo>
                <a:lnTo>
                  <a:pt x="450" y="410"/>
                </a:lnTo>
                <a:lnTo>
                  <a:pt x="448" y="404"/>
                </a:lnTo>
                <a:lnTo>
                  <a:pt x="450" y="400"/>
                </a:lnTo>
                <a:lnTo>
                  <a:pt x="462" y="394"/>
                </a:lnTo>
                <a:lnTo>
                  <a:pt x="474" y="384"/>
                </a:lnTo>
                <a:lnTo>
                  <a:pt x="484" y="372"/>
                </a:lnTo>
                <a:lnTo>
                  <a:pt x="494" y="364"/>
                </a:lnTo>
                <a:lnTo>
                  <a:pt x="496" y="364"/>
                </a:lnTo>
                <a:lnTo>
                  <a:pt x="500" y="358"/>
                </a:lnTo>
                <a:lnTo>
                  <a:pt x="502" y="356"/>
                </a:lnTo>
                <a:lnTo>
                  <a:pt x="508" y="354"/>
                </a:lnTo>
                <a:lnTo>
                  <a:pt x="514" y="350"/>
                </a:lnTo>
                <a:lnTo>
                  <a:pt x="518" y="342"/>
                </a:lnTo>
                <a:lnTo>
                  <a:pt x="526" y="340"/>
                </a:lnTo>
                <a:lnTo>
                  <a:pt x="528" y="338"/>
                </a:lnTo>
                <a:lnTo>
                  <a:pt x="526" y="336"/>
                </a:lnTo>
                <a:lnTo>
                  <a:pt x="520" y="330"/>
                </a:lnTo>
                <a:lnTo>
                  <a:pt x="518" y="326"/>
                </a:lnTo>
                <a:lnTo>
                  <a:pt x="518" y="322"/>
                </a:lnTo>
                <a:lnTo>
                  <a:pt x="520" y="318"/>
                </a:lnTo>
                <a:lnTo>
                  <a:pt x="528" y="318"/>
                </a:lnTo>
                <a:lnTo>
                  <a:pt x="536" y="320"/>
                </a:lnTo>
                <a:lnTo>
                  <a:pt x="544" y="318"/>
                </a:lnTo>
                <a:lnTo>
                  <a:pt x="550" y="318"/>
                </a:lnTo>
                <a:lnTo>
                  <a:pt x="560" y="320"/>
                </a:lnTo>
                <a:lnTo>
                  <a:pt x="564" y="324"/>
                </a:lnTo>
                <a:lnTo>
                  <a:pt x="570" y="330"/>
                </a:lnTo>
                <a:lnTo>
                  <a:pt x="574" y="330"/>
                </a:lnTo>
                <a:lnTo>
                  <a:pt x="582" y="330"/>
                </a:lnTo>
                <a:lnTo>
                  <a:pt x="582" y="332"/>
                </a:lnTo>
                <a:lnTo>
                  <a:pt x="586" y="336"/>
                </a:lnTo>
                <a:lnTo>
                  <a:pt x="588" y="340"/>
                </a:lnTo>
                <a:lnTo>
                  <a:pt x="592" y="346"/>
                </a:lnTo>
                <a:lnTo>
                  <a:pt x="592" y="358"/>
                </a:lnTo>
                <a:lnTo>
                  <a:pt x="592" y="362"/>
                </a:lnTo>
                <a:lnTo>
                  <a:pt x="596" y="362"/>
                </a:lnTo>
                <a:lnTo>
                  <a:pt x="598" y="362"/>
                </a:lnTo>
                <a:lnTo>
                  <a:pt x="608" y="356"/>
                </a:lnTo>
                <a:lnTo>
                  <a:pt x="614" y="350"/>
                </a:lnTo>
                <a:lnTo>
                  <a:pt x="614" y="342"/>
                </a:lnTo>
                <a:lnTo>
                  <a:pt x="604" y="332"/>
                </a:lnTo>
                <a:lnTo>
                  <a:pt x="600" y="318"/>
                </a:lnTo>
                <a:lnTo>
                  <a:pt x="596" y="306"/>
                </a:lnTo>
                <a:lnTo>
                  <a:pt x="588" y="300"/>
                </a:lnTo>
                <a:lnTo>
                  <a:pt x="578" y="294"/>
                </a:lnTo>
                <a:lnTo>
                  <a:pt x="572" y="288"/>
                </a:lnTo>
                <a:lnTo>
                  <a:pt x="572" y="282"/>
                </a:lnTo>
                <a:lnTo>
                  <a:pt x="582" y="274"/>
                </a:lnTo>
                <a:lnTo>
                  <a:pt x="590" y="270"/>
                </a:lnTo>
                <a:lnTo>
                  <a:pt x="596" y="264"/>
                </a:lnTo>
                <a:lnTo>
                  <a:pt x="600" y="256"/>
                </a:lnTo>
                <a:lnTo>
                  <a:pt x="600" y="248"/>
                </a:lnTo>
                <a:lnTo>
                  <a:pt x="592" y="240"/>
                </a:lnTo>
                <a:lnTo>
                  <a:pt x="582" y="234"/>
                </a:lnTo>
                <a:lnTo>
                  <a:pt x="574" y="228"/>
                </a:lnTo>
                <a:lnTo>
                  <a:pt x="574" y="218"/>
                </a:lnTo>
                <a:lnTo>
                  <a:pt x="572" y="210"/>
                </a:lnTo>
                <a:lnTo>
                  <a:pt x="564" y="200"/>
                </a:lnTo>
                <a:lnTo>
                  <a:pt x="556" y="196"/>
                </a:lnTo>
                <a:lnTo>
                  <a:pt x="550" y="194"/>
                </a:lnTo>
                <a:lnTo>
                  <a:pt x="540" y="186"/>
                </a:lnTo>
                <a:close/>
              </a:path>
            </a:pathLst>
          </a:custGeom>
          <a:solidFill>
            <a:srgbClr val="666766"/>
          </a:solidFill>
          <a:ln w="6350">
            <a:solidFill>
              <a:schemeClr val="tx1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457200">
              <a:defRPr/>
            </a:pPr>
            <a:endParaRPr lang="en-US" kern="0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41" name="Freeform 19">
            <a:extLst>
              <a:ext uri="{FF2B5EF4-FFF2-40B4-BE49-F238E27FC236}">
                <a16:creationId xmlns:a16="http://schemas.microsoft.com/office/drawing/2014/main" id="{34DBBA1E-4E44-A980-9D0B-60223E09D3EA}"/>
              </a:ext>
            </a:extLst>
          </p:cNvPr>
          <p:cNvSpPr>
            <a:spLocks/>
          </p:cNvSpPr>
          <p:nvPr/>
        </p:nvSpPr>
        <p:spPr bwMode="auto">
          <a:xfrm>
            <a:off x="2720340" y="3876040"/>
            <a:ext cx="807720" cy="952500"/>
          </a:xfrm>
          <a:custGeom>
            <a:avLst/>
            <a:gdLst>
              <a:gd name="T0" fmla="*/ 2147483646 w 636"/>
              <a:gd name="T1" fmla="*/ 2147483646 h 750"/>
              <a:gd name="T2" fmla="*/ 2147483646 w 636"/>
              <a:gd name="T3" fmla="*/ 2147483646 h 750"/>
              <a:gd name="T4" fmla="*/ 2147483646 w 636"/>
              <a:gd name="T5" fmla="*/ 2147483646 h 750"/>
              <a:gd name="T6" fmla="*/ 2147483646 w 636"/>
              <a:gd name="T7" fmla="*/ 2147483646 h 750"/>
              <a:gd name="T8" fmla="*/ 2147483646 w 636"/>
              <a:gd name="T9" fmla="*/ 2147483646 h 750"/>
              <a:gd name="T10" fmla="*/ 2147483646 w 636"/>
              <a:gd name="T11" fmla="*/ 2147483646 h 750"/>
              <a:gd name="T12" fmla="*/ 0 w 636"/>
              <a:gd name="T13" fmla="*/ 2147483646 h 750"/>
              <a:gd name="T14" fmla="*/ 2147483646 w 636"/>
              <a:gd name="T15" fmla="*/ 2147483646 h 750"/>
              <a:gd name="T16" fmla="*/ 2147483646 w 636"/>
              <a:gd name="T17" fmla="*/ 2147483646 h 750"/>
              <a:gd name="T18" fmla="*/ 2147483646 w 636"/>
              <a:gd name="T19" fmla="*/ 2147483646 h 750"/>
              <a:gd name="T20" fmla="*/ 2147483646 w 636"/>
              <a:gd name="T21" fmla="*/ 2147483646 h 750"/>
              <a:gd name="T22" fmla="*/ 2147483646 w 636"/>
              <a:gd name="T23" fmla="*/ 2147483646 h 750"/>
              <a:gd name="T24" fmla="*/ 2147483646 w 636"/>
              <a:gd name="T25" fmla="*/ 2147483646 h 750"/>
              <a:gd name="T26" fmla="*/ 2147483646 w 636"/>
              <a:gd name="T27" fmla="*/ 2147483646 h 750"/>
              <a:gd name="T28" fmla="*/ 2147483646 w 636"/>
              <a:gd name="T29" fmla="*/ 2147483646 h 750"/>
              <a:gd name="T30" fmla="*/ 2147483646 w 636"/>
              <a:gd name="T31" fmla="*/ 2147483646 h 750"/>
              <a:gd name="T32" fmla="*/ 2147483646 w 636"/>
              <a:gd name="T33" fmla="*/ 2147483646 h 750"/>
              <a:gd name="T34" fmla="*/ 2147483646 w 636"/>
              <a:gd name="T35" fmla="*/ 2147483646 h 750"/>
              <a:gd name="T36" fmla="*/ 2147483646 w 636"/>
              <a:gd name="T37" fmla="*/ 2147483646 h 750"/>
              <a:gd name="T38" fmla="*/ 2147483646 w 636"/>
              <a:gd name="T39" fmla="*/ 2147483646 h 750"/>
              <a:gd name="T40" fmla="*/ 2147483646 w 636"/>
              <a:gd name="T41" fmla="*/ 2147483646 h 750"/>
              <a:gd name="T42" fmla="*/ 2147483646 w 636"/>
              <a:gd name="T43" fmla="*/ 2147483646 h 750"/>
              <a:gd name="T44" fmla="*/ 2147483646 w 636"/>
              <a:gd name="T45" fmla="*/ 2147483646 h 750"/>
              <a:gd name="T46" fmla="*/ 2147483646 w 636"/>
              <a:gd name="T47" fmla="*/ 2147483646 h 750"/>
              <a:gd name="T48" fmla="*/ 2147483646 w 636"/>
              <a:gd name="T49" fmla="*/ 2147483646 h 750"/>
              <a:gd name="T50" fmla="*/ 2147483646 w 636"/>
              <a:gd name="T51" fmla="*/ 2147483646 h 750"/>
              <a:gd name="T52" fmla="*/ 2147483646 w 636"/>
              <a:gd name="T53" fmla="*/ 2147483646 h 750"/>
              <a:gd name="T54" fmla="*/ 2147483646 w 636"/>
              <a:gd name="T55" fmla="*/ 2147483646 h 750"/>
              <a:gd name="T56" fmla="*/ 2147483646 w 636"/>
              <a:gd name="T57" fmla="*/ 2147483646 h 750"/>
              <a:gd name="T58" fmla="*/ 2147483646 w 636"/>
              <a:gd name="T59" fmla="*/ 2147483646 h 750"/>
              <a:gd name="T60" fmla="*/ 2147483646 w 636"/>
              <a:gd name="T61" fmla="*/ 2147483646 h 750"/>
              <a:gd name="T62" fmla="*/ 2147483646 w 636"/>
              <a:gd name="T63" fmla="*/ 2147483646 h 750"/>
              <a:gd name="T64" fmla="*/ 2147483646 w 636"/>
              <a:gd name="T65" fmla="*/ 2147483646 h 750"/>
              <a:gd name="T66" fmla="*/ 2147483646 w 636"/>
              <a:gd name="T67" fmla="*/ 2147483646 h 750"/>
              <a:gd name="T68" fmla="*/ 2147483646 w 636"/>
              <a:gd name="T69" fmla="*/ 2147483646 h 750"/>
              <a:gd name="T70" fmla="*/ 2147483646 w 636"/>
              <a:gd name="T71" fmla="*/ 2147483646 h 750"/>
              <a:gd name="T72" fmla="*/ 2147483646 w 636"/>
              <a:gd name="T73" fmla="*/ 2147483646 h 750"/>
              <a:gd name="T74" fmla="*/ 2147483646 w 636"/>
              <a:gd name="T75" fmla="*/ 2147483646 h 750"/>
              <a:gd name="T76" fmla="*/ 2147483646 w 636"/>
              <a:gd name="T77" fmla="*/ 2147483646 h 750"/>
              <a:gd name="T78" fmla="*/ 2147483646 w 636"/>
              <a:gd name="T79" fmla="*/ 2147483646 h 750"/>
              <a:gd name="T80" fmla="*/ 2147483646 w 636"/>
              <a:gd name="T81" fmla="*/ 2147483646 h 750"/>
              <a:gd name="T82" fmla="*/ 2147483646 w 636"/>
              <a:gd name="T83" fmla="*/ 2147483646 h 750"/>
              <a:gd name="T84" fmla="*/ 2147483646 w 636"/>
              <a:gd name="T85" fmla="*/ 2147483646 h 750"/>
              <a:gd name="T86" fmla="*/ 2147483646 w 636"/>
              <a:gd name="T87" fmla="*/ 2147483646 h 750"/>
              <a:gd name="T88" fmla="*/ 2147483646 w 636"/>
              <a:gd name="T89" fmla="*/ 2147483646 h 750"/>
              <a:gd name="T90" fmla="*/ 2147483646 w 636"/>
              <a:gd name="T91" fmla="*/ 2147483646 h 750"/>
              <a:gd name="T92" fmla="*/ 2147483646 w 636"/>
              <a:gd name="T93" fmla="*/ 2147483646 h 750"/>
              <a:gd name="T94" fmla="*/ 2147483646 w 636"/>
              <a:gd name="T95" fmla="*/ 2147483646 h 750"/>
              <a:gd name="T96" fmla="*/ 2147483646 w 636"/>
              <a:gd name="T97" fmla="*/ 2147483646 h 750"/>
              <a:gd name="T98" fmla="*/ 2147483646 w 636"/>
              <a:gd name="T99" fmla="*/ 2147483646 h 750"/>
              <a:gd name="T100" fmla="*/ 2147483646 w 636"/>
              <a:gd name="T101" fmla="*/ 2147483646 h 750"/>
              <a:gd name="T102" fmla="*/ 2147483646 w 636"/>
              <a:gd name="T103" fmla="*/ 2147483646 h 750"/>
              <a:gd name="T104" fmla="*/ 2147483646 w 636"/>
              <a:gd name="T105" fmla="*/ 2147483646 h 750"/>
              <a:gd name="T106" fmla="*/ 2147483646 w 636"/>
              <a:gd name="T107" fmla="*/ 2147483646 h 750"/>
              <a:gd name="T108" fmla="*/ 2147483646 w 636"/>
              <a:gd name="T109" fmla="*/ 2147483646 h 750"/>
              <a:gd name="T110" fmla="*/ 2147483646 w 636"/>
              <a:gd name="T111" fmla="*/ 2147483646 h 750"/>
              <a:gd name="T112" fmla="*/ 2147483646 w 636"/>
              <a:gd name="T113" fmla="*/ 2147483646 h 750"/>
              <a:gd name="T114" fmla="*/ 2147483646 w 636"/>
              <a:gd name="T115" fmla="*/ 2147483646 h 750"/>
              <a:gd name="T116" fmla="*/ 2147483646 w 636"/>
              <a:gd name="T117" fmla="*/ 2147483646 h 750"/>
              <a:gd name="T118" fmla="*/ 2147483646 w 636"/>
              <a:gd name="T119" fmla="*/ 2147483646 h 750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w 636"/>
              <a:gd name="T181" fmla="*/ 0 h 750"/>
              <a:gd name="T182" fmla="*/ 636 w 636"/>
              <a:gd name="T183" fmla="*/ 750 h 750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T180" t="T181" r="T182" b="T183"/>
            <a:pathLst>
              <a:path w="636" h="750">
                <a:moveTo>
                  <a:pt x="178" y="20"/>
                </a:moveTo>
                <a:lnTo>
                  <a:pt x="170" y="32"/>
                </a:lnTo>
                <a:lnTo>
                  <a:pt x="168" y="32"/>
                </a:lnTo>
                <a:lnTo>
                  <a:pt x="158" y="30"/>
                </a:lnTo>
                <a:lnTo>
                  <a:pt x="156" y="32"/>
                </a:lnTo>
                <a:lnTo>
                  <a:pt x="156" y="38"/>
                </a:lnTo>
                <a:lnTo>
                  <a:pt x="152" y="40"/>
                </a:lnTo>
                <a:lnTo>
                  <a:pt x="150" y="42"/>
                </a:lnTo>
                <a:lnTo>
                  <a:pt x="148" y="48"/>
                </a:lnTo>
                <a:lnTo>
                  <a:pt x="148" y="52"/>
                </a:lnTo>
                <a:lnTo>
                  <a:pt x="150" y="58"/>
                </a:lnTo>
                <a:lnTo>
                  <a:pt x="150" y="74"/>
                </a:lnTo>
                <a:lnTo>
                  <a:pt x="152" y="84"/>
                </a:lnTo>
                <a:lnTo>
                  <a:pt x="148" y="88"/>
                </a:lnTo>
                <a:lnTo>
                  <a:pt x="150" y="92"/>
                </a:lnTo>
                <a:lnTo>
                  <a:pt x="148" y="96"/>
                </a:lnTo>
                <a:lnTo>
                  <a:pt x="148" y="102"/>
                </a:lnTo>
                <a:lnTo>
                  <a:pt x="148" y="106"/>
                </a:lnTo>
                <a:lnTo>
                  <a:pt x="146" y="110"/>
                </a:lnTo>
                <a:lnTo>
                  <a:pt x="148" y="114"/>
                </a:lnTo>
                <a:lnTo>
                  <a:pt x="148" y="120"/>
                </a:lnTo>
                <a:lnTo>
                  <a:pt x="152" y="122"/>
                </a:lnTo>
                <a:lnTo>
                  <a:pt x="154" y="122"/>
                </a:lnTo>
                <a:lnTo>
                  <a:pt x="156" y="126"/>
                </a:lnTo>
                <a:lnTo>
                  <a:pt x="156" y="132"/>
                </a:lnTo>
                <a:lnTo>
                  <a:pt x="158" y="134"/>
                </a:lnTo>
                <a:lnTo>
                  <a:pt x="160" y="138"/>
                </a:lnTo>
                <a:lnTo>
                  <a:pt x="164" y="140"/>
                </a:lnTo>
                <a:lnTo>
                  <a:pt x="164" y="150"/>
                </a:lnTo>
                <a:lnTo>
                  <a:pt x="168" y="162"/>
                </a:lnTo>
                <a:lnTo>
                  <a:pt x="170" y="168"/>
                </a:lnTo>
                <a:lnTo>
                  <a:pt x="170" y="180"/>
                </a:lnTo>
                <a:lnTo>
                  <a:pt x="60" y="230"/>
                </a:lnTo>
                <a:lnTo>
                  <a:pt x="16" y="254"/>
                </a:lnTo>
                <a:lnTo>
                  <a:pt x="0" y="340"/>
                </a:lnTo>
                <a:lnTo>
                  <a:pt x="4" y="342"/>
                </a:lnTo>
                <a:lnTo>
                  <a:pt x="8" y="342"/>
                </a:lnTo>
                <a:lnTo>
                  <a:pt x="14" y="342"/>
                </a:lnTo>
                <a:lnTo>
                  <a:pt x="22" y="350"/>
                </a:lnTo>
                <a:lnTo>
                  <a:pt x="60" y="350"/>
                </a:lnTo>
                <a:lnTo>
                  <a:pt x="64" y="346"/>
                </a:lnTo>
                <a:lnTo>
                  <a:pt x="68" y="346"/>
                </a:lnTo>
                <a:lnTo>
                  <a:pt x="70" y="342"/>
                </a:lnTo>
                <a:lnTo>
                  <a:pt x="78" y="342"/>
                </a:lnTo>
                <a:lnTo>
                  <a:pt x="88" y="348"/>
                </a:lnTo>
                <a:lnTo>
                  <a:pt x="90" y="356"/>
                </a:lnTo>
                <a:lnTo>
                  <a:pt x="94" y="368"/>
                </a:lnTo>
                <a:lnTo>
                  <a:pt x="98" y="374"/>
                </a:lnTo>
                <a:lnTo>
                  <a:pt x="98" y="384"/>
                </a:lnTo>
                <a:lnTo>
                  <a:pt x="102" y="390"/>
                </a:lnTo>
                <a:lnTo>
                  <a:pt x="102" y="398"/>
                </a:lnTo>
                <a:lnTo>
                  <a:pt x="96" y="402"/>
                </a:lnTo>
                <a:lnTo>
                  <a:pt x="100" y="412"/>
                </a:lnTo>
                <a:lnTo>
                  <a:pt x="100" y="414"/>
                </a:lnTo>
                <a:lnTo>
                  <a:pt x="94" y="414"/>
                </a:lnTo>
                <a:lnTo>
                  <a:pt x="94" y="416"/>
                </a:lnTo>
                <a:lnTo>
                  <a:pt x="102" y="426"/>
                </a:lnTo>
                <a:lnTo>
                  <a:pt x="100" y="426"/>
                </a:lnTo>
                <a:lnTo>
                  <a:pt x="90" y="432"/>
                </a:lnTo>
                <a:lnTo>
                  <a:pt x="88" y="434"/>
                </a:lnTo>
                <a:lnTo>
                  <a:pt x="88" y="438"/>
                </a:lnTo>
                <a:lnTo>
                  <a:pt x="94" y="440"/>
                </a:lnTo>
                <a:lnTo>
                  <a:pt x="94" y="444"/>
                </a:lnTo>
                <a:lnTo>
                  <a:pt x="94" y="450"/>
                </a:lnTo>
                <a:lnTo>
                  <a:pt x="98" y="452"/>
                </a:lnTo>
                <a:lnTo>
                  <a:pt x="100" y="454"/>
                </a:lnTo>
                <a:lnTo>
                  <a:pt x="100" y="456"/>
                </a:lnTo>
                <a:lnTo>
                  <a:pt x="96" y="458"/>
                </a:lnTo>
                <a:lnTo>
                  <a:pt x="94" y="456"/>
                </a:lnTo>
                <a:lnTo>
                  <a:pt x="88" y="452"/>
                </a:lnTo>
                <a:lnTo>
                  <a:pt x="88" y="450"/>
                </a:lnTo>
                <a:lnTo>
                  <a:pt x="86" y="448"/>
                </a:lnTo>
                <a:lnTo>
                  <a:pt x="82" y="448"/>
                </a:lnTo>
                <a:lnTo>
                  <a:pt x="82" y="450"/>
                </a:lnTo>
                <a:lnTo>
                  <a:pt x="84" y="454"/>
                </a:lnTo>
                <a:lnTo>
                  <a:pt x="84" y="458"/>
                </a:lnTo>
                <a:lnTo>
                  <a:pt x="82" y="458"/>
                </a:lnTo>
                <a:lnTo>
                  <a:pt x="80" y="456"/>
                </a:lnTo>
                <a:lnTo>
                  <a:pt x="72" y="452"/>
                </a:lnTo>
                <a:lnTo>
                  <a:pt x="70" y="454"/>
                </a:lnTo>
                <a:lnTo>
                  <a:pt x="68" y="458"/>
                </a:lnTo>
                <a:lnTo>
                  <a:pt x="72" y="466"/>
                </a:lnTo>
                <a:lnTo>
                  <a:pt x="72" y="468"/>
                </a:lnTo>
                <a:lnTo>
                  <a:pt x="74" y="472"/>
                </a:lnTo>
                <a:lnTo>
                  <a:pt x="80" y="482"/>
                </a:lnTo>
                <a:lnTo>
                  <a:pt x="80" y="488"/>
                </a:lnTo>
                <a:lnTo>
                  <a:pt x="80" y="492"/>
                </a:lnTo>
                <a:lnTo>
                  <a:pt x="84" y="498"/>
                </a:lnTo>
                <a:lnTo>
                  <a:pt x="90" y="504"/>
                </a:lnTo>
                <a:lnTo>
                  <a:pt x="98" y="504"/>
                </a:lnTo>
                <a:lnTo>
                  <a:pt x="100" y="504"/>
                </a:lnTo>
                <a:lnTo>
                  <a:pt x="100" y="502"/>
                </a:lnTo>
                <a:lnTo>
                  <a:pt x="98" y="500"/>
                </a:lnTo>
                <a:lnTo>
                  <a:pt x="96" y="498"/>
                </a:lnTo>
                <a:lnTo>
                  <a:pt x="88" y="490"/>
                </a:lnTo>
                <a:lnTo>
                  <a:pt x="88" y="484"/>
                </a:lnTo>
                <a:lnTo>
                  <a:pt x="88" y="476"/>
                </a:lnTo>
                <a:lnTo>
                  <a:pt x="88" y="474"/>
                </a:lnTo>
                <a:lnTo>
                  <a:pt x="88" y="472"/>
                </a:lnTo>
                <a:lnTo>
                  <a:pt x="90" y="472"/>
                </a:lnTo>
                <a:lnTo>
                  <a:pt x="98" y="472"/>
                </a:lnTo>
                <a:lnTo>
                  <a:pt x="102" y="472"/>
                </a:lnTo>
                <a:lnTo>
                  <a:pt x="108" y="470"/>
                </a:lnTo>
                <a:lnTo>
                  <a:pt x="114" y="466"/>
                </a:lnTo>
                <a:lnTo>
                  <a:pt x="114" y="464"/>
                </a:lnTo>
                <a:lnTo>
                  <a:pt x="114" y="454"/>
                </a:lnTo>
                <a:lnTo>
                  <a:pt x="114" y="450"/>
                </a:lnTo>
                <a:lnTo>
                  <a:pt x="116" y="448"/>
                </a:lnTo>
                <a:lnTo>
                  <a:pt x="124" y="448"/>
                </a:lnTo>
                <a:lnTo>
                  <a:pt x="136" y="456"/>
                </a:lnTo>
                <a:lnTo>
                  <a:pt x="140" y="462"/>
                </a:lnTo>
                <a:lnTo>
                  <a:pt x="140" y="474"/>
                </a:lnTo>
                <a:lnTo>
                  <a:pt x="142" y="482"/>
                </a:lnTo>
                <a:lnTo>
                  <a:pt x="154" y="484"/>
                </a:lnTo>
                <a:lnTo>
                  <a:pt x="156" y="484"/>
                </a:lnTo>
                <a:lnTo>
                  <a:pt x="164" y="480"/>
                </a:lnTo>
                <a:lnTo>
                  <a:pt x="166" y="474"/>
                </a:lnTo>
                <a:lnTo>
                  <a:pt x="168" y="470"/>
                </a:lnTo>
                <a:lnTo>
                  <a:pt x="168" y="468"/>
                </a:lnTo>
                <a:lnTo>
                  <a:pt x="166" y="468"/>
                </a:lnTo>
                <a:lnTo>
                  <a:pt x="166" y="466"/>
                </a:lnTo>
                <a:lnTo>
                  <a:pt x="166" y="462"/>
                </a:lnTo>
                <a:lnTo>
                  <a:pt x="168" y="458"/>
                </a:lnTo>
                <a:lnTo>
                  <a:pt x="170" y="456"/>
                </a:lnTo>
                <a:lnTo>
                  <a:pt x="172" y="454"/>
                </a:lnTo>
                <a:lnTo>
                  <a:pt x="178" y="452"/>
                </a:lnTo>
                <a:lnTo>
                  <a:pt x="182" y="452"/>
                </a:lnTo>
                <a:lnTo>
                  <a:pt x="190" y="450"/>
                </a:lnTo>
                <a:lnTo>
                  <a:pt x="196" y="462"/>
                </a:lnTo>
                <a:lnTo>
                  <a:pt x="206" y="458"/>
                </a:lnTo>
                <a:lnTo>
                  <a:pt x="210" y="458"/>
                </a:lnTo>
                <a:lnTo>
                  <a:pt x="212" y="458"/>
                </a:lnTo>
                <a:lnTo>
                  <a:pt x="222" y="458"/>
                </a:lnTo>
                <a:lnTo>
                  <a:pt x="226" y="456"/>
                </a:lnTo>
                <a:lnTo>
                  <a:pt x="234" y="458"/>
                </a:lnTo>
                <a:lnTo>
                  <a:pt x="236" y="458"/>
                </a:lnTo>
                <a:lnTo>
                  <a:pt x="236" y="464"/>
                </a:lnTo>
                <a:lnTo>
                  <a:pt x="238" y="468"/>
                </a:lnTo>
                <a:lnTo>
                  <a:pt x="238" y="470"/>
                </a:lnTo>
                <a:lnTo>
                  <a:pt x="234" y="474"/>
                </a:lnTo>
                <a:lnTo>
                  <a:pt x="234" y="480"/>
                </a:lnTo>
                <a:lnTo>
                  <a:pt x="236" y="486"/>
                </a:lnTo>
                <a:lnTo>
                  <a:pt x="238" y="488"/>
                </a:lnTo>
                <a:lnTo>
                  <a:pt x="238" y="492"/>
                </a:lnTo>
                <a:lnTo>
                  <a:pt x="236" y="498"/>
                </a:lnTo>
                <a:lnTo>
                  <a:pt x="234" y="500"/>
                </a:lnTo>
                <a:lnTo>
                  <a:pt x="238" y="502"/>
                </a:lnTo>
                <a:lnTo>
                  <a:pt x="240" y="502"/>
                </a:lnTo>
                <a:lnTo>
                  <a:pt x="242" y="504"/>
                </a:lnTo>
                <a:lnTo>
                  <a:pt x="240" y="508"/>
                </a:lnTo>
                <a:lnTo>
                  <a:pt x="238" y="510"/>
                </a:lnTo>
                <a:lnTo>
                  <a:pt x="240" y="510"/>
                </a:lnTo>
                <a:lnTo>
                  <a:pt x="242" y="510"/>
                </a:lnTo>
                <a:lnTo>
                  <a:pt x="244" y="510"/>
                </a:lnTo>
                <a:lnTo>
                  <a:pt x="246" y="512"/>
                </a:lnTo>
                <a:lnTo>
                  <a:pt x="248" y="516"/>
                </a:lnTo>
                <a:lnTo>
                  <a:pt x="248" y="512"/>
                </a:lnTo>
                <a:lnTo>
                  <a:pt x="252" y="510"/>
                </a:lnTo>
                <a:lnTo>
                  <a:pt x="258" y="508"/>
                </a:lnTo>
                <a:lnTo>
                  <a:pt x="260" y="508"/>
                </a:lnTo>
                <a:lnTo>
                  <a:pt x="264" y="510"/>
                </a:lnTo>
                <a:lnTo>
                  <a:pt x="272" y="510"/>
                </a:lnTo>
                <a:lnTo>
                  <a:pt x="274" y="512"/>
                </a:lnTo>
                <a:lnTo>
                  <a:pt x="272" y="516"/>
                </a:lnTo>
                <a:lnTo>
                  <a:pt x="270" y="516"/>
                </a:lnTo>
                <a:lnTo>
                  <a:pt x="272" y="520"/>
                </a:lnTo>
                <a:lnTo>
                  <a:pt x="274" y="520"/>
                </a:lnTo>
                <a:lnTo>
                  <a:pt x="276" y="520"/>
                </a:lnTo>
                <a:lnTo>
                  <a:pt x="276" y="522"/>
                </a:lnTo>
                <a:lnTo>
                  <a:pt x="276" y="524"/>
                </a:lnTo>
                <a:lnTo>
                  <a:pt x="276" y="526"/>
                </a:lnTo>
                <a:lnTo>
                  <a:pt x="278" y="528"/>
                </a:lnTo>
                <a:lnTo>
                  <a:pt x="280" y="530"/>
                </a:lnTo>
                <a:lnTo>
                  <a:pt x="282" y="530"/>
                </a:lnTo>
                <a:lnTo>
                  <a:pt x="282" y="536"/>
                </a:lnTo>
                <a:lnTo>
                  <a:pt x="286" y="538"/>
                </a:lnTo>
                <a:lnTo>
                  <a:pt x="286" y="542"/>
                </a:lnTo>
                <a:lnTo>
                  <a:pt x="290" y="544"/>
                </a:lnTo>
                <a:lnTo>
                  <a:pt x="294" y="548"/>
                </a:lnTo>
                <a:lnTo>
                  <a:pt x="298" y="552"/>
                </a:lnTo>
                <a:lnTo>
                  <a:pt x="304" y="552"/>
                </a:lnTo>
                <a:lnTo>
                  <a:pt x="306" y="552"/>
                </a:lnTo>
                <a:lnTo>
                  <a:pt x="312" y="552"/>
                </a:lnTo>
                <a:lnTo>
                  <a:pt x="320" y="552"/>
                </a:lnTo>
                <a:lnTo>
                  <a:pt x="326" y="556"/>
                </a:lnTo>
                <a:lnTo>
                  <a:pt x="326" y="560"/>
                </a:lnTo>
                <a:lnTo>
                  <a:pt x="324" y="566"/>
                </a:lnTo>
                <a:lnTo>
                  <a:pt x="324" y="570"/>
                </a:lnTo>
                <a:lnTo>
                  <a:pt x="322" y="574"/>
                </a:lnTo>
                <a:lnTo>
                  <a:pt x="324" y="576"/>
                </a:lnTo>
                <a:lnTo>
                  <a:pt x="328" y="576"/>
                </a:lnTo>
                <a:lnTo>
                  <a:pt x="330" y="574"/>
                </a:lnTo>
                <a:lnTo>
                  <a:pt x="332" y="574"/>
                </a:lnTo>
                <a:lnTo>
                  <a:pt x="334" y="576"/>
                </a:lnTo>
                <a:lnTo>
                  <a:pt x="338" y="576"/>
                </a:lnTo>
                <a:lnTo>
                  <a:pt x="340" y="578"/>
                </a:lnTo>
                <a:lnTo>
                  <a:pt x="342" y="580"/>
                </a:lnTo>
                <a:lnTo>
                  <a:pt x="342" y="582"/>
                </a:lnTo>
                <a:lnTo>
                  <a:pt x="344" y="582"/>
                </a:lnTo>
                <a:lnTo>
                  <a:pt x="348" y="582"/>
                </a:lnTo>
                <a:lnTo>
                  <a:pt x="348" y="584"/>
                </a:lnTo>
                <a:lnTo>
                  <a:pt x="348" y="590"/>
                </a:lnTo>
                <a:lnTo>
                  <a:pt x="348" y="592"/>
                </a:lnTo>
                <a:lnTo>
                  <a:pt x="346" y="594"/>
                </a:lnTo>
                <a:lnTo>
                  <a:pt x="344" y="596"/>
                </a:lnTo>
                <a:lnTo>
                  <a:pt x="342" y="596"/>
                </a:lnTo>
                <a:lnTo>
                  <a:pt x="338" y="598"/>
                </a:lnTo>
                <a:lnTo>
                  <a:pt x="334" y="600"/>
                </a:lnTo>
                <a:lnTo>
                  <a:pt x="332" y="602"/>
                </a:lnTo>
                <a:lnTo>
                  <a:pt x="330" y="606"/>
                </a:lnTo>
                <a:lnTo>
                  <a:pt x="330" y="610"/>
                </a:lnTo>
                <a:lnTo>
                  <a:pt x="328" y="610"/>
                </a:lnTo>
                <a:lnTo>
                  <a:pt x="328" y="620"/>
                </a:lnTo>
                <a:lnTo>
                  <a:pt x="328" y="624"/>
                </a:lnTo>
                <a:lnTo>
                  <a:pt x="330" y="626"/>
                </a:lnTo>
                <a:lnTo>
                  <a:pt x="332" y="626"/>
                </a:lnTo>
                <a:lnTo>
                  <a:pt x="334" y="626"/>
                </a:lnTo>
                <a:lnTo>
                  <a:pt x="340" y="628"/>
                </a:lnTo>
                <a:lnTo>
                  <a:pt x="344" y="632"/>
                </a:lnTo>
                <a:lnTo>
                  <a:pt x="344" y="638"/>
                </a:lnTo>
                <a:lnTo>
                  <a:pt x="346" y="642"/>
                </a:lnTo>
                <a:lnTo>
                  <a:pt x="350" y="642"/>
                </a:lnTo>
                <a:lnTo>
                  <a:pt x="356" y="638"/>
                </a:lnTo>
                <a:lnTo>
                  <a:pt x="356" y="642"/>
                </a:lnTo>
                <a:lnTo>
                  <a:pt x="358" y="642"/>
                </a:lnTo>
                <a:lnTo>
                  <a:pt x="360" y="644"/>
                </a:lnTo>
                <a:lnTo>
                  <a:pt x="366" y="638"/>
                </a:lnTo>
                <a:lnTo>
                  <a:pt x="368" y="636"/>
                </a:lnTo>
                <a:lnTo>
                  <a:pt x="374" y="636"/>
                </a:lnTo>
                <a:lnTo>
                  <a:pt x="376" y="644"/>
                </a:lnTo>
                <a:lnTo>
                  <a:pt x="380" y="644"/>
                </a:lnTo>
                <a:lnTo>
                  <a:pt x="384" y="646"/>
                </a:lnTo>
                <a:lnTo>
                  <a:pt x="386" y="648"/>
                </a:lnTo>
                <a:lnTo>
                  <a:pt x="384" y="652"/>
                </a:lnTo>
                <a:lnTo>
                  <a:pt x="384" y="656"/>
                </a:lnTo>
                <a:lnTo>
                  <a:pt x="390" y="662"/>
                </a:lnTo>
                <a:lnTo>
                  <a:pt x="390" y="668"/>
                </a:lnTo>
                <a:lnTo>
                  <a:pt x="392" y="670"/>
                </a:lnTo>
                <a:lnTo>
                  <a:pt x="396" y="672"/>
                </a:lnTo>
                <a:lnTo>
                  <a:pt x="396" y="678"/>
                </a:lnTo>
                <a:lnTo>
                  <a:pt x="396" y="682"/>
                </a:lnTo>
                <a:lnTo>
                  <a:pt x="394" y="684"/>
                </a:lnTo>
                <a:lnTo>
                  <a:pt x="392" y="688"/>
                </a:lnTo>
                <a:lnTo>
                  <a:pt x="392" y="692"/>
                </a:lnTo>
                <a:lnTo>
                  <a:pt x="394" y="696"/>
                </a:lnTo>
                <a:lnTo>
                  <a:pt x="398" y="700"/>
                </a:lnTo>
                <a:lnTo>
                  <a:pt x="402" y="700"/>
                </a:lnTo>
                <a:lnTo>
                  <a:pt x="402" y="702"/>
                </a:lnTo>
                <a:lnTo>
                  <a:pt x="404" y="708"/>
                </a:lnTo>
                <a:lnTo>
                  <a:pt x="404" y="714"/>
                </a:lnTo>
                <a:lnTo>
                  <a:pt x="404" y="720"/>
                </a:lnTo>
                <a:lnTo>
                  <a:pt x="404" y="726"/>
                </a:lnTo>
                <a:lnTo>
                  <a:pt x="402" y="728"/>
                </a:lnTo>
                <a:lnTo>
                  <a:pt x="402" y="734"/>
                </a:lnTo>
                <a:lnTo>
                  <a:pt x="402" y="738"/>
                </a:lnTo>
                <a:lnTo>
                  <a:pt x="404" y="738"/>
                </a:lnTo>
                <a:lnTo>
                  <a:pt x="412" y="740"/>
                </a:lnTo>
                <a:lnTo>
                  <a:pt x="412" y="742"/>
                </a:lnTo>
                <a:lnTo>
                  <a:pt x="416" y="744"/>
                </a:lnTo>
                <a:lnTo>
                  <a:pt x="418" y="750"/>
                </a:lnTo>
                <a:lnTo>
                  <a:pt x="418" y="746"/>
                </a:lnTo>
                <a:lnTo>
                  <a:pt x="420" y="746"/>
                </a:lnTo>
                <a:lnTo>
                  <a:pt x="424" y="744"/>
                </a:lnTo>
                <a:lnTo>
                  <a:pt x="426" y="744"/>
                </a:lnTo>
                <a:lnTo>
                  <a:pt x="428" y="746"/>
                </a:lnTo>
                <a:lnTo>
                  <a:pt x="430" y="750"/>
                </a:lnTo>
                <a:lnTo>
                  <a:pt x="432" y="750"/>
                </a:lnTo>
                <a:lnTo>
                  <a:pt x="434" y="750"/>
                </a:lnTo>
                <a:lnTo>
                  <a:pt x="436" y="746"/>
                </a:lnTo>
                <a:lnTo>
                  <a:pt x="436" y="744"/>
                </a:lnTo>
                <a:lnTo>
                  <a:pt x="438" y="742"/>
                </a:lnTo>
                <a:lnTo>
                  <a:pt x="442" y="742"/>
                </a:lnTo>
                <a:lnTo>
                  <a:pt x="446" y="744"/>
                </a:lnTo>
                <a:lnTo>
                  <a:pt x="448" y="746"/>
                </a:lnTo>
                <a:lnTo>
                  <a:pt x="460" y="750"/>
                </a:lnTo>
                <a:lnTo>
                  <a:pt x="468" y="750"/>
                </a:lnTo>
                <a:lnTo>
                  <a:pt x="476" y="718"/>
                </a:lnTo>
                <a:lnTo>
                  <a:pt x="486" y="648"/>
                </a:lnTo>
                <a:lnTo>
                  <a:pt x="516" y="506"/>
                </a:lnTo>
                <a:lnTo>
                  <a:pt x="516" y="502"/>
                </a:lnTo>
                <a:lnTo>
                  <a:pt x="522" y="502"/>
                </a:lnTo>
                <a:lnTo>
                  <a:pt x="528" y="502"/>
                </a:lnTo>
                <a:lnTo>
                  <a:pt x="530" y="502"/>
                </a:lnTo>
                <a:lnTo>
                  <a:pt x="554" y="472"/>
                </a:lnTo>
                <a:lnTo>
                  <a:pt x="580" y="438"/>
                </a:lnTo>
                <a:lnTo>
                  <a:pt x="592" y="422"/>
                </a:lnTo>
                <a:lnTo>
                  <a:pt x="600" y="414"/>
                </a:lnTo>
                <a:lnTo>
                  <a:pt x="558" y="180"/>
                </a:lnTo>
                <a:lnTo>
                  <a:pt x="636" y="116"/>
                </a:lnTo>
                <a:lnTo>
                  <a:pt x="620" y="112"/>
                </a:lnTo>
                <a:lnTo>
                  <a:pt x="604" y="112"/>
                </a:lnTo>
                <a:lnTo>
                  <a:pt x="568" y="122"/>
                </a:lnTo>
                <a:lnTo>
                  <a:pt x="556" y="116"/>
                </a:lnTo>
                <a:lnTo>
                  <a:pt x="540" y="106"/>
                </a:lnTo>
                <a:lnTo>
                  <a:pt x="516" y="102"/>
                </a:lnTo>
                <a:lnTo>
                  <a:pt x="400" y="88"/>
                </a:lnTo>
                <a:lnTo>
                  <a:pt x="392" y="92"/>
                </a:lnTo>
                <a:lnTo>
                  <a:pt x="364" y="58"/>
                </a:lnTo>
                <a:lnTo>
                  <a:pt x="348" y="16"/>
                </a:lnTo>
                <a:lnTo>
                  <a:pt x="300" y="56"/>
                </a:lnTo>
                <a:lnTo>
                  <a:pt x="252" y="84"/>
                </a:lnTo>
                <a:lnTo>
                  <a:pt x="194" y="0"/>
                </a:lnTo>
                <a:lnTo>
                  <a:pt x="184" y="16"/>
                </a:lnTo>
                <a:lnTo>
                  <a:pt x="178" y="20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 w="6350">
            <a:solidFill>
              <a:schemeClr val="tx2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457200">
              <a:defRPr/>
            </a:pPr>
            <a:endParaRPr lang="en-US" kern="0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42" name="Freeform 20">
            <a:extLst>
              <a:ext uri="{FF2B5EF4-FFF2-40B4-BE49-F238E27FC236}">
                <a16:creationId xmlns:a16="http://schemas.microsoft.com/office/drawing/2014/main" id="{671EF537-7860-8E9C-54CF-D1921D9D4869}"/>
              </a:ext>
            </a:extLst>
          </p:cNvPr>
          <p:cNvSpPr>
            <a:spLocks/>
          </p:cNvSpPr>
          <p:nvPr/>
        </p:nvSpPr>
        <p:spPr bwMode="auto">
          <a:xfrm>
            <a:off x="3136900" y="3426460"/>
            <a:ext cx="513080" cy="604520"/>
          </a:xfrm>
          <a:custGeom>
            <a:avLst/>
            <a:gdLst>
              <a:gd name="T0" fmla="*/ 2147483646 w 404"/>
              <a:gd name="T1" fmla="*/ 2147483646 h 476"/>
              <a:gd name="T2" fmla="*/ 2147483646 w 404"/>
              <a:gd name="T3" fmla="*/ 2147483646 h 476"/>
              <a:gd name="T4" fmla="*/ 2147483646 w 404"/>
              <a:gd name="T5" fmla="*/ 2147483646 h 476"/>
              <a:gd name="T6" fmla="*/ 2147483646 w 404"/>
              <a:gd name="T7" fmla="*/ 2147483646 h 476"/>
              <a:gd name="T8" fmla="*/ 2147483646 w 404"/>
              <a:gd name="T9" fmla="*/ 2147483646 h 476"/>
              <a:gd name="T10" fmla="*/ 2147483646 w 404"/>
              <a:gd name="T11" fmla="*/ 2147483646 h 476"/>
              <a:gd name="T12" fmla="*/ 2147483646 w 404"/>
              <a:gd name="T13" fmla="*/ 2147483646 h 476"/>
              <a:gd name="T14" fmla="*/ 2147483646 w 404"/>
              <a:gd name="T15" fmla="*/ 2147483646 h 476"/>
              <a:gd name="T16" fmla="*/ 2147483646 w 404"/>
              <a:gd name="T17" fmla="*/ 2147483646 h 476"/>
              <a:gd name="T18" fmla="*/ 2147483646 w 404"/>
              <a:gd name="T19" fmla="*/ 2147483646 h 476"/>
              <a:gd name="T20" fmla="*/ 2147483646 w 404"/>
              <a:gd name="T21" fmla="*/ 2147483646 h 476"/>
              <a:gd name="T22" fmla="*/ 2147483646 w 404"/>
              <a:gd name="T23" fmla="*/ 2147483646 h 476"/>
              <a:gd name="T24" fmla="*/ 2147483646 w 404"/>
              <a:gd name="T25" fmla="*/ 2147483646 h 476"/>
              <a:gd name="T26" fmla="*/ 2147483646 w 404"/>
              <a:gd name="T27" fmla="*/ 2147483646 h 476"/>
              <a:gd name="T28" fmla="*/ 2147483646 w 404"/>
              <a:gd name="T29" fmla="*/ 2147483646 h 476"/>
              <a:gd name="T30" fmla="*/ 2147483646 w 404"/>
              <a:gd name="T31" fmla="*/ 2147483646 h 476"/>
              <a:gd name="T32" fmla="*/ 2147483646 w 404"/>
              <a:gd name="T33" fmla="*/ 2147483646 h 476"/>
              <a:gd name="T34" fmla="*/ 2147483646 w 404"/>
              <a:gd name="T35" fmla="*/ 2147483646 h 476"/>
              <a:gd name="T36" fmla="*/ 2147483646 w 404"/>
              <a:gd name="T37" fmla="*/ 2147483646 h 476"/>
              <a:gd name="T38" fmla="*/ 2147483646 w 404"/>
              <a:gd name="T39" fmla="*/ 2147483646 h 476"/>
              <a:gd name="T40" fmla="*/ 2147483646 w 404"/>
              <a:gd name="T41" fmla="*/ 2147483646 h 476"/>
              <a:gd name="T42" fmla="*/ 2147483646 w 404"/>
              <a:gd name="T43" fmla="*/ 2147483646 h 476"/>
              <a:gd name="T44" fmla="*/ 2147483646 w 404"/>
              <a:gd name="T45" fmla="*/ 2147483646 h 476"/>
              <a:gd name="T46" fmla="*/ 2147483646 w 404"/>
              <a:gd name="T47" fmla="*/ 2147483646 h 476"/>
              <a:gd name="T48" fmla="*/ 2147483646 w 404"/>
              <a:gd name="T49" fmla="*/ 2147483646 h 476"/>
              <a:gd name="T50" fmla="*/ 2147483646 w 404"/>
              <a:gd name="T51" fmla="*/ 2147483646 h 476"/>
              <a:gd name="T52" fmla="*/ 2147483646 w 404"/>
              <a:gd name="T53" fmla="*/ 2147483646 h 476"/>
              <a:gd name="T54" fmla="*/ 2147483646 w 404"/>
              <a:gd name="T55" fmla="*/ 2147483646 h 476"/>
              <a:gd name="T56" fmla="*/ 2147483646 w 404"/>
              <a:gd name="T57" fmla="*/ 2147483646 h 476"/>
              <a:gd name="T58" fmla="*/ 2147483646 w 404"/>
              <a:gd name="T59" fmla="*/ 2147483646 h 476"/>
              <a:gd name="T60" fmla="*/ 2147483646 w 404"/>
              <a:gd name="T61" fmla="*/ 2147483646 h 476"/>
              <a:gd name="T62" fmla="*/ 2147483646 w 404"/>
              <a:gd name="T63" fmla="*/ 2147483646 h 476"/>
              <a:gd name="T64" fmla="*/ 2147483646 w 404"/>
              <a:gd name="T65" fmla="*/ 2147483646 h 476"/>
              <a:gd name="T66" fmla="*/ 2147483646 w 404"/>
              <a:gd name="T67" fmla="*/ 2147483646 h 476"/>
              <a:gd name="T68" fmla="*/ 2147483646 w 404"/>
              <a:gd name="T69" fmla="*/ 2147483646 h 476"/>
              <a:gd name="T70" fmla="*/ 2147483646 w 404"/>
              <a:gd name="T71" fmla="*/ 2147483646 h 476"/>
              <a:gd name="T72" fmla="*/ 2147483646 w 404"/>
              <a:gd name="T73" fmla="*/ 2147483646 h 476"/>
              <a:gd name="T74" fmla="*/ 2147483646 w 404"/>
              <a:gd name="T75" fmla="*/ 2147483646 h 476"/>
              <a:gd name="T76" fmla="*/ 2147483646 w 404"/>
              <a:gd name="T77" fmla="*/ 2147483646 h 476"/>
              <a:gd name="T78" fmla="*/ 2147483646 w 404"/>
              <a:gd name="T79" fmla="*/ 2147483646 h 476"/>
              <a:gd name="T80" fmla="*/ 2147483646 w 404"/>
              <a:gd name="T81" fmla="*/ 2147483646 h 476"/>
              <a:gd name="T82" fmla="*/ 2147483646 w 404"/>
              <a:gd name="T83" fmla="*/ 2147483646 h 476"/>
              <a:gd name="T84" fmla="*/ 2147483646 w 404"/>
              <a:gd name="T85" fmla="*/ 2147483646 h 476"/>
              <a:gd name="T86" fmla="*/ 2147483646 w 404"/>
              <a:gd name="T87" fmla="*/ 2147483646 h 476"/>
              <a:gd name="T88" fmla="*/ 2147483646 w 404"/>
              <a:gd name="T89" fmla="*/ 2147483646 h 476"/>
              <a:gd name="T90" fmla="*/ 2147483646 w 404"/>
              <a:gd name="T91" fmla="*/ 2147483646 h 476"/>
              <a:gd name="T92" fmla="*/ 2147483646 w 404"/>
              <a:gd name="T93" fmla="*/ 2147483646 h 476"/>
              <a:gd name="T94" fmla="*/ 2147483646 w 404"/>
              <a:gd name="T95" fmla="*/ 0 h 476"/>
              <a:gd name="T96" fmla="*/ 2147483646 w 404"/>
              <a:gd name="T97" fmla="*/ 2147483646 h 476"/>
              <a:gd name="T98" fmla="*/ 2147483646 w 404"/>
              <a:gd name="T99" fmla="*/ 2147483646 h 476"/>
              <a:gd name="T100" fmla="*/ 2147483646 w 404"/>
              <a:gd name="T101" fmla="*/ 2147483646 h 476"/>
              <a:gd name="T102" fmla="*/ 2147483646 w 404"/>
              <a:gd name="T103" fmla="*/ 2147483646 h 476"/>
              <a:gd name="T104" fmla="*/ 2147483646 w 404"/>
              <a:gd name="T105" fmla="*/ 2147483646 h 476"/>
              <a:gd name="T106" fmla="*/ 2147483646 w 404"/>
              <a:gd name="T107" fmla="*/ 2147483646 h 476"/>
              <a:gd name="T108" fmla="*/ 2147483646 w 404"/>
              <a:gd name="T109" fmla="*/ 2147483646 h 476"/>
              <a:gd name="T110" fmla="*/ 2147483646 w 404"/>
              <a:gd name="T111" fmla="*/ 2147483646 h 476"/>
              <a:gd name="T112" fmla="*/ 2147483646 w 404"/>
              <a:gd name="T113" fmla="*/ 2147483646 h 47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w 404"/>
              <a:gd name="T172" fmla="*/ 0 h 476"/>
              <a:gd name="T173" fmla="*/ 404 w 404"/>
              <a:gd name="T174" fmla="*/ 476 h 476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T171" t="T172" r="T173" b="T174"/>
            <a:pathLst>
              <a:path w="404" h="476">
                <a:moveTo>
                  <a:pt x="64" y="446"/>
                </a:moveTo>
                <a:lnTo>
                  <a:pt x="72" y="442"/>
                </a:lnTo>
                <a:lnTo>
                  <a:pt x="188" y="456"/>
                </a:lnTo>
                <a:lnTo>
                  <a:pt x="212" y="460"/>
                </a:lnTo>
                <a:lnTo>
                  <a:pt x="228" y="470"/>
                </a:lnTo>
                <a:lnTo>
                  <a:pt x="240" y="476"/>
                </a:lnTo>
                <a:lnTo>
                  <a:pt x="276" y="466"/>
                </a:lnTo>
                <a:lnTo>
                  <a:pt x="292" y="466"/>
                </a:lnTo>
                <a:lnTo>
                  <a:pt x="308" y="470"/>
                </a:lnTo>
                <a:lnTo>
                  <a:pt x="362" y="428"/>
                </a:lnTo>
                <a:lnTo>
                  <a:pt x="404" y="374"/>
                </a:lnTo>
                <a:lnTo>
                  <a:pt x="404" y="366"/>
                </a:lnTo>
                <a:lnTo>
                  <a:pt x="404" y="362"/>
                </a:lnTo>
                <a:lnTo>
                  <a:pt x="400" y="358"/>
                </a:lnTo>
                <a:lnTo>
                  <a:pt x="398" y="356"/>
                </a:lnTo>
                <a:lnTo>
                  <a:pt x="396" y="354"/>
                </a:lnTo>
                <a:lnTo>
                  <a:pt x="392" y="352"/>
                </a:lnTo>
                <a:lnTo>
                  <a:pt x="388" y="348"/>
                </a:lnTo>
                <a:lnTo>
                  <a:pt x="386" y="342"/>
                </a:lnTo>
                <a:lnTo>
                  <a:pt x="384" y="344"/>
                </a:lnTo>
                <a:lnTo>
                  <a:pt x="378" y="350"/>
                </a:lnTo>
                <a:lnTo>
                  <a:pt x="376" y="354"/>
                </a:lnTo>
                <a:lnTo>
                  <a:pt x="368" y="354"/>
                </a:lnTo>
                <a:lnTo>
                  <a:pt x="362" y="350"/>
                </a:lnTo>
                <a:lnTo>
                  <a:pt x="360" y="342"/>
                </a:lnTo>
                <a:lnTo>
                  <a:pt x="354" y="342"/>
                </a:lnTo>
                <a:lnTo>
                  <a:pt x="348" y="340"/>
                </a:lnTo>
                <a:lnTo>
                  <a:pt x="344" y="338"/>
                </a:lnTo>
                <a:lnTo>
                  <a:pt x="340" y="338"/>
                </a:lnTo>
                <a:lnTo>
                  <a:pt x="340" y="334"/>
                </a:lnTo>
                <a:lnTo>
                  <a:pt x="336" y="330"/>
                </a:lnTo>
                <a:lnTo>
                  <a:pt x="342" y="324"/>
                </a:lnTo>
                <a:lnTo>
                  <a:pt x="342" y="320"/>
                </a:lnTo>
                <a:lnTo>
                  <a:pt x="334" y="320"/>
                </a:lnTo>
                <a:lnTo>
                  <a:pt x="332" y="318"/>
                </a:lnTo>
                <a:lnTo>
                  <a:pt x="334" y="314"/>
                </a:lnTo>
                <a:lnTo>
                  <a:pt x="336" y="312"/>
                </a:lnTo>
                <a:lnTo>
                  <a:pt x="336" y="310"/>
                </a:lnTo>
                <a:lnTo>
                  <a:pt x="336" y="304"/>
                </a:lnTo>
                <a:lnTo>
                  <a:pt x="334" y="304"/>
                </a:lnTo>
                <a:lnTo>
                  <a:pt x="332" y="302"/>
                </a:lnTo>
                <a:lnTo>
                  <a:pt x="328" y="300"/>
                </a:lnTo>
                <a:lnTo>
                  <a:pt x="326" y="298"/>
                </a:lnTo>
                <a:lnTo>
                  <a:pt x="326" y="288"/>
                </a:lnTo>
                <a:lnTo>
                  <a:pt x="328" y="284"/>
                </a:lnTo>
                <a:lnTo>
                  <a:pt x="330" y="280"/>
                </a:lnTo>
                <a:lnTo>
                  <a:pt x="330" y="276"/>
                </a:lnTo>
                <a:lnTo>
                  <a:pt x="328" y="266"/>
                </a:lnTo>
                <a:lnTo>
                  <a:pt x="328" y="262"/>
                </a:lnTo>
                <a:lnTo>
                  <a:pt x="326" y="256"/>
                </a:lnTo>
                <a:lnTo>
                  <a:pt x="326" y="250"/>
                </a:lnTo>
                <a:lnTo>
                  <a:pt x="326" y="246"/>
                </a:lnTo>
                <a:lnTo>
                  <a:pt x="328" y="242"/>
                </a:lnTo>
                <a:lnTo>
                  <a:pt x="330" y="234"/>
                </a:lnTo>
                <a:lnTo>
                  <a:pt x="326" y="228"/>
                </a:lnTo>
                <a:lnTo>
                  <a:pt x="322" y="224"/>
                </a:lnTo>
                <a:lnTo>
                  <a:pt x="318" y="220"/>
                </a:lnTo>
                <a:lnTo>
                  <a:pt x="314" y="212"/>
                </a:lnTo>
                <a:lnTo>
                  <a:pt x="312" y="208"/>
                </a:lnTo>
                <a:lnTo>
                  <a:pt x="308" y="202"/>
                </a:lnTo>
                <a:lnTo>
                  <a:pt x="308" y="196"/>
                </a:lnTo>
                <a:lnTo>
                  <a:pt x="302" y="196"/>
                </a:lnTo>
                <a:lnTo>
                  <a:pt x="300" y="194"/>
                </a:lnTo>
                <a:lnTo>
                  <a:pt x="300" y="190"/>
                </a:lnTo>
                <a:lnTo>
                  <a:pt x="300" y="188"/>
                </a:lnTo>
                <a:lnTo>
                  <a:pt x="296" y="186"/>
                </a:lnTo>
                <a:lnTo>
                  <a:pt x="296" y="182"/>
                </a:lnTo>
                <a:lnTo>
                  <a:pt x="298" y="180"/>
                </a:lnTo>
                <a:lnTo>
                  <a:pt x="298" y="178"/>
                </a:lnTo>
                <a:lnTo>
                  <a:pt x="296" y="176"/>
                </a:lnTo>
                <a:lnTo>
                  <a:pt x="290" y="176"/>
                </a:lnTo>
                <a:lnTo>
                  <a:pt x="284" y="174"/>
                </a:lnTo>
                <a:lnTo>
                  <a:pt x="284" y="172"/>
                </a:lnTo>
                <a:lnTo>
                  <a:pt x="284" y="170"/>
                </a:lnTo>
                <a:lnTo>
                  <a:pt x="280" y="168"/>
                </a:lnTo>
                <a:lnTo>
                  <a:pt x="282" y="168"/>
                </a:lnTo>
                <a:lnTo>
                  <a:pt x="284" y="164"/>
                </a:lnTo>
                <a:lnTo>
                  <a:pt x="290" y="162"/>
                </a:lnTo>
                <a:lnTo>
                  <a:pt x="290" y="160"/>
                </a:lnTo>
                <a:lnTo>
                  <a:pt x="288" y="160"/>
                </a:lnTo>
                <a:lnTo>
                  <a:pt x="282" y="158"/>
                </a:lnTo>
                <a:lnTo>
                  <a:pt x="282" y="154"/>
                </a:lnTo>
                <a:lnTo>
                  <a:pt x="284" y="152"/>
                </a:lnTo>
                <a:lnTo>
                  <a:pt x="284" y="150"/>
                </a:lnTo>
                <a:lnTo>
                  <a:pt x="284" y="148"/>
                </a:lnTo>
                <a:lnTo>
                  <a:pt x="284" y="144"/>
                </a:lnTo>
                <a:lnTo>
                  <a:pt x="288" y="142"/>
                </a:lnTo>
                <a:lnTo>
                  <a:pt x="288" y="138"/>
                </a:lnTo>
                <a:lnTo>
                  <a:pt x="284" y="134"/>
                </a:lnTo>
                <a:lnTo>
                  <a:pt x="288" y="132"/>
                </a:lnTo>
                <a:lnTo>
                  <a:pt x="290" y="132"/>
                </a:lnTo>
                <a:lnTo>
                  <a:pt x="292" y="132"/>
                </a:lnTo>
                <a:lnTo>
                  <a:pt x="292" y="126"/>
                </a:lnTo>
                <a:lnTo>
                  <a:pt x="292" y="124"/>
                </a:lnTo>
                <a:lnTo>
                  <a:pt x="288" y="120"/>
                </a:lnTo>
                <a:lnTo>
                  <a:pt x="288" y="114"/>
                </a:lnTo>
                <a:lnTo>
                  <a:pt x="284" y="112"/>
                </a:lnTo>
                <a:lnTo>
                  <a:pt x="280" y="108"/>
                </a:lnTo>
                <a:lnTo>
                  <a:pt x="280" y="104"/>
                </a:lnTo>
                <a:lnTo>
                  <a:pt x="280" y="102"/>
                </a:lnTo>
                <a:lnTo>
                  <a:pt x="278" y="102"/>
                </a:lnTo>
                <a:lnTo>
                  <a:pt x="276" y="106"/>
                </a:lnTo>
                <a:lnTo>
                  <a:pt x="274" y="108"/>
                </a:lnTo>
                <a:lnTo>
                  <a:pt x="272" y="106"/>
                </a:lnTo>
                <a:lnTo>
                  <a:pt x="264" y="98"/>
                </a:lnTo>
                <a:lnTo>
                  <a:pt x="264" y="96"/>
                </a:lnTo>
                <a:lnTo>
                  <a:pt x="266" y="94"/>
                </a:lnTo>
                <a:lnTo>
                  <a:pt x="270" y="94"/>
                </a:lnTo>
                <a:lnTo>
                  <a:pt x="272" y="94"/>
                </a:lnTo>
                <a:lnTo>
                  <a:pt x="274" y="90"/>
                </a:lnTo>
                <a:lnTo>
                  <a:pt x="272" y="88"/>
                </a:lnTo>
                <a:lnTo>
                  <a:pt x="270" y="88"/>
                </a:lnTo>
                <a:lnTo>
                  <a:pt x="266" y="86"/>
                </a:lnTo>
                <a:lnTo>
                  <a:pt x="266" y="84"/>
                </a:lnTo>
                <a:lnTo>
                  <a:pt x="270" y="80"/>
                </a:lnTo>
                <a:lnTo>
                  <a:pt x="270" y="78"/>
                </a:lnTo>
                <a:lnTo>
                  <a:pt x="272" y="76"/>
                </a:lnTo>
                <a:lnTo>
                  <a:pt x="266" y="66"/>
                </a:lnTo>
                <a:lnTo>
                  <a:pt x="262" y="64"/>
                </a:lnTo>
                <a:lnTo>
                  <a:pt x="258" y="62"/>
                </a:lnTo>
                <a:lnTo>
                  <a:pt x="256" y="60"/>
                </a:lnTo>
                <a:lnTo>
                  <a:pt x="256" y="54"/>
                </a:lnTo>
                <a:lnTo>
                  <a:pt x="258" y="52"/>
                </a:lnTo>
                <a:lnTo>
                  <a:pt x="260" y="52"/>
                </a:lnTo>
                <a:lnTo>
                  <a:pt x="262" y="52"/>
                </a:lnTo>
                <a:lnTo>
                  <a:pt x="260" y="50"/>
                </a:lnTo>
                <a:lnTo>
                  <a:pt x="256" y="48"/>
                </a:lnTo>
                <a:lnTo>
                  <a:pt x="254" y="46"/>
                </a:lnTo>
                <a:lnTo>
                  <a:pt x="254" y="42"/>
                </a:lnTo>
                <a:lnTo>
                  <a:pt x="254" y="40"/>
                </a:lnTo>
                <a:lnTo>
                  <a:pt x="254" y="36"/>
                </a:lnTo>
                <a:lnTo>
                  <a:pt x="248" y="34"/>
                </a:lnTo>
                <a:lnTo>
                  <a:pt x="244" y="40"/>
                </a:lnTo>
                <a:lnTo>
                  <a:pt x="244" y="32"/>
                </a:lnTo>
                <a:lnTo>
                  <a:pt x="240" y="32"/>
                </a:lnTo>
                <a:lnTo>
                  <a:pt x="238" y="32"/>
                </a:lnTo>
                <a:lnTo>
                  <a:pt x="236" y="32"/>
                </a:lnTo>
                <a:lnTo>
                  <a:pt x="210" y="36"/>
                </a:lnTo>
                <a:lnTo>
                  <a:pt x="194" y="44"/>
                </a:lnTo>
                <a:lnTo>
                  <a:pt x="178" y="52"/>
                </a:lnTo>
                <a:lnTo>
                  <a:pt x="170" y="48"/>
                </a:lnTo>
                <a:lnTo>
                  <a:pt x="120" y="24"/>
                </a:lnTo>
                <a:lnTo>
                  <a:pt x="92" y="6"/>
                </a:lnTo>
                <a:lnTo>
                  <a:pt x="86" y="0"/>
                </a:lnTo>
                <a:lnTo>
                  <a:pt x="84" y="4"/>
                </a:lnTo>
                <a:lnTo>
                  <a:pt x="82" y="8"/>
                </a:lnTo>
                <a:lnTo>
                  <a:pt x="74" y="10"/>
                </a:lnTo>
                <a:lnTo>
                  <a:pt x="72" y="14"/>
                </a:lnTo>
                <a:lnTo>
                  <a:pt x="70" y="16"/>
                </a:lnTo>
                <a:lnTo>
                  <a:pt x="58" y="18"/>
                </a:lnTo>
                <a:lnTo>
                  <a:pt x="56" y="16"/>
                </a:lnTo>
                <a:lnTo>
                  <a:pt x="50" y="16"/>
                </a:lnTo>
                <a:lnTo>
                  <a:pt x="48" y="18"/>
                </a:lnTo>
                <a:lnTo>
                  <a:pt x="40" y="28"/>
                </a:lnTo>
                <a:lnTo>
                  <a:pt x="36" y="32"/>
                </a:lnTo>
                <a:lnTo>
                  <a:pt x="36" y="40"/>
                </a:lnTo>
                <a:lnTo>
                  <a:pt x="32" y="44"/>
                </a:lnTo>
                <a:lnTo>
                  <a:pt x="28" y="44"/>
                </a:lnTo>
                <a:lnTo>
                  <a:pt x="22" y="44"/>
                </a:lnTo>
                <a:lnTo>
                  <a:pt x="20" y="44"/>
                </a:lnTo>
                <a:lnTo>
                  <a:pt x="20" y="46"/>
                </a:lnTo>
                <a:lnTo>
                  <a:pt x="18" y="48"/>
                </a:lnTo>
                <a:lnTo>
                  <a:pt x="20" y="48"/>
                </a:lnTo>
                <a:lnTo>
                  <a:pt x="18" y="52"/>
                </a:lnTo>
                <a:lnTo>
                  <a:pt x="18" y="66"/>
                </a:lnTo>
                <a:lnTo>
                  <a:pt x="24" y="126"/>
                </a:lnTo>
                <a:lnTo>
                  <a:pt x="24" y="138"/>
                </a:lnTo>
                <a:lnTo>
                  <a:pt x="12" y="256"/>
                </a:lnTo>
                <a:lnTo>
                  <a:pt x="0" y="306"/>
                </a:lnTo>
                <a:lnTo>
                  <a:pt x="20" y="370"/>
                </a:lnTo>
                <a:lnTo>
                  <a:pt x="36" y="412"/>
                </a:lnTo>
                <a:lnTo>
                  <a:pt x="64" y="446"/>
                </a:lnTo>
                <a:close/>
              </a:path>
            </a:pathLst>
          </a:custGeom>
          <a:solidFill>
            <a:srgbClr val="F1B728"/>
          </a:solidFill>
          <a:ln w="6350">
            <a:solidFill>
              <a:schemeClr val="tx1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457200"/>
            <a:endParaRPr lang="en-US" kern="0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43" name="Freeform 21">
            <a:extLst>
              <a:ext uri="{FF2B5EF4-FFF2-40B4-BE49-F238E27FC236}">
                <a16:creationId xmlns:a16="http://schemas.microsoft.com/office/drawing/2014/main" id="{AE2A5CF6-F4D6-6AE7-4FDE-D3E750C5E105}"/>
              </a:ext>
            </a:extLst>
          </p:cNvPr>
          <p:cNvSpPr>
            <a:spLocks/>
          </p:cNvSpPr>
          <p:nvPr/>
        </p:nvSpPr>
        <p:spPr bwMode="auto">
          <a:xfrm>
            <a:off x="3380740" y="2786380"/>
            <a:ext cx="576580" cy="558800"/>
          </a:xfrm>
          <a:custGeom>
            <a:avLst/>
            <a:gdLst>
              <a:gd name="T0" fmla="*/ 2147483646 w 454"/>
              <a:gd name="T1" fmla="*/ 2147483646 h 440"/>
              <a:gd name="T2" fmla="*/ 2147483646 w 454"/>
              <a:gd name="T3" fmla="*/ 2147483646 h 440"/>
              <a:gd name="T4" fmla="*/ 2147483646 w 454"/>
              <a:gd name="T5" fmla="*/ 2147483646 h 440"/>
              <a:gd name="T6" fmla="*/ 2147483646 w 454"/>
              <a:gd name="T7" fmla="*/ 2147483646 h 440"/>
              <a:gd name="T8" fmla="*/ 2147483646 w 454"/>
              <a:gd name="T9" fmla="*/ 2147483646 h 440"/>
              <a:gd name="T10" fmla="*/ 2147483646 w 454"/>
              <a:gd name="T11" fmla="*/ 2147483646 h 440"/>
              <a:gd name="T12" fmla="*/ 2147483646 w 454"/>
              <a:gd name="T13" fmla="*/ 2147483646 h 440"/>
              <a:gd name="T14" fmla="*/ 2147483646 w 454"/>
              <a:gd name="T15" fmla="*/ 2147483646 h 440"/>
              <a:gd name="T16" fmla="*/ 2147483646 w 454"/>
              <a:gd name="T17" fmla="*/ 2147483646 h 440"/>
              <a:gd name="T18" fmla="*/ 2147483646 w 454"/>
              <a:gd name="T19" fmla="*/ 2147483646 h 440"/>
              <a:gd name="T20" fmla="*/ 2147483646 w 454"/>
              <a:gd name="T21" fmla="*/ 2147483646 h 440"/>
              <a:gd name="T22" fmla="*/ 2147483646 w 454"/>
              <a:gd name="T23" fmla="*/ 2147483646 h 440"/>
              <a:gd name="T24" fmla="*/ 2147483646 w 454"/>
              <a:gd name="T25" fmla="*/ 2147483646 h 440"/>
              <a:gd name="T26" fmla="*/ 2147483646 w 454"/>
              <a:gd name="T27" fmla="*/ 2147483646 h 440"/>
              <a:gd name="T28" fmla="*/ 2147483646 w 454"/>
              <a:gd name="T29" fmla="*/ 2147483646 h 440"/>
              <a:gd name="T30" fmla="*/ 2147483646 w 454"/>
              <a:gd name="T31" fmla="*/ 2147483646 h 440"/>
              <a:gd name="T32" fmla="*/ 2147483646 w 454"/>
              <a:gd name="T33" fmla="*/ 2147483646 h 440"/>
              <a:gd name="T34" fmla="*/ 2147483646 w 454"/>
              <a:gd name="T35" fmla="*/ 2147483646 h 440"/>
              <a:gd name="T36" fmla="*/ 2147483646 w 454"/>
              <a:gd name="T37" fmla="*/ 2147483646 h 440"/>
              <a:gd name="T38" fmla="*/ 2147483646 w 454"/>
              <a:gd name="T39" fmla="*/ 2147483646 h 440"/>
              <a:gd name="T40" fmla="*/ 2147483646 w 454"/>
              <a:gd name="T41" fmla="*/ 2147483646 h 440"/>
              <a:gd name="T42" fmla="*/ 2147483646 w 454"/>
              <a:gd name="T43" fmla="*/ 2147483646 h 440"/>
              <a:gd name="T44" fmla="*/ 2147483646 w 454"/>
              <a:gd name="T45" fmla="*/ 2147483646 h 440"/>
              <a:gd name="T46" fmla="*/ 2147483646 w 454"/>
              <a:gd name="T47" fmla="*/ 2147483646 h 440"/>
              <a:gd name="T48" fmla="*/ 2147483646 w 454"/>
              <a:gd name="T49" fmla="*/ 2147483646 h 440"/>
              <a:gd name="T50" fmla="*/ 2147483646 w 454"/>
              <a:gd name="T51" fmla="*/ 2147483646 h 440"/>
              <a:gd name="T52" fmla="*/ 2147483646 w 454"/>
              <a:gd name="T53" fmla="*/ 2147483646 h 440"/>
              <a:gd name="T54" fmla="*/ 2147483646 w 454"/>
              <a:gd name="T55" fmla="*/ 2147483646 h 440"/>
              <a:gd name="T56" fmla="*/ 2147483646 w 454"/>
              <a:gd name="T57" fmla="*/ 2147483646 h 440"/>
              <a:gd name="T58" fmla="*/ 2147483646 w 454"/>
              <a:gd name="T59" fmla="*/ 2147483646 h 440"/>
              <a:gd name="T60" fmla="*/ 2147483646 w 454"/>
              <a:gd name="T61" fmla="*/ 2147483646 h 440"/>
              <a:gd name="T62" fmla="*/ 2147483646 w 454"/>
              <a:gd name="T63" fmla="*/ 2147483646 h 440"/>
              <a:gd name="T64" fmla="*/ 2147483646 w 454"/>
              <a:gd name="T65" fmla="*/ 2147483646 h 440"/>
              <a:gd name="T66" fmla="*/ 2147483646 w 454"/>
              <a:gd name="T67" fmla="*/ 2147483646 h 440"/>
              <a:gd name="T68" fmla="*/ 2147483646 w 454"/>
              <a:gd name="T69" fmla="*/ 2147483646 h 440"/>
              <a:gd name="T70" fmla="*/ 2147483646 w 454"/>
              <a:gd name="T71" fmla="*/ 0 h 440"/>
              <a:gd name="T72" fmla="*/ 2147483646 w 454"/>
              <a:gd name="T73" fmla="*/ 2147483646 h 440"/>
              <a:gd name="T74" fmla="*/ 2147483646 w 454"/>
              <a:gd name="T75" fmla="*/ 2147483646 h 440"/>
              <a:gd name="T76" fmla="*/ 2147483646 w 454"/>
              <a:gd name="T77" fmla="*/ 2147483646 h 440"/>
              <a:gd name="T78" fmla="*/ 2147483646 w 454"/>
              <a:gd name="T79" fmla="*/ 2147483646 h 440"/>
              <a:gd name="T80" fmla="*/ 2147483646 w 454"/>
              <a:gd name="T81" fmla="*/ 2147483646 h 440"/>
              <a:gd name="T82" fmla="*/ 2147483646 w 454"/>
              <a:gd name="T83" fmla="*/ 2147483646 h 440"/>
              <a:gd name="T84" fmla="*/ 2147483646 w 454"/>
              <a:gd name="T85" fmla="*/ 2147483646 h 440"/>
              <a:gd name="T86" fmla="*/ 2147483646 w 454"/>
              <a:gd name="T87" fmla="*/ 2147483646 h 440"/>
              <a:gd name="T88" fmla="*/ 2147483646 w 454"/>
              <a:gd name="T89" fmla="*/ 2147483646 h 440"/>
              <a:gd name="T90" fmla="*/ 2147483646 w 454"/>
              <a:gd name="T91" fmla="*/ 2147483646 h 440"/>
              <a:gd name="T92" fmla="*/ 2147483646 w 454"/>
              <a:gd name="T93" fmla="*/ 2147483646 h 440"/>
              <a:gd name="T94" fmla="*/ 2147483646 w 454"/>
              <a:gd name="T95" fmla="*/ 2147483646 h 440"/>
              <a:gd name="T96" fmla="*/ 2147483646 w 454"/>
              <a:gd name="T97" fmla="*/ 2147483646 h 440"/>
              <a:gd name="T98" fmla="*/ 2147483646 w 454"/>
              <a:gd name="T99" fmla="*/ 2147483646 h 440"/>
              <a:gd name="T100" fmla="*/ 2147483646 w 454"/>
              <a:gd name="T101" fmla="*/ 2147483646 h 440"/>
              <a:gd name="T102" fmla="*/ 2147483646 w 454"/>
              <a:gd name="T103" fmla="*/ 2147483646 h 440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w 454"/>
              <a:gd name="T157" fmla="*/ 0 h 440"/>
              <a:gd name="T158" fmla="*/ 454 w 454"/>
              <a:gd name="T159" fmla="*/ 440 h 440"/>
            </a:gdLst>
            <a:ahLst/>
            <a:cxnLst>
              <a:cxn ang="T104">
                <a:pos x="T0" y="T1"/>
              </a:cxn>
              <a:cxn ang="T105">
                <a:pos x="T2" y="T3"/>
              </a:cxn>
              <a:cxn ang="T106">
                <a:pos x="T4" y="T5"/>
              </a:cxn>
              <a:cxn ang="T107">
                <a:pos x="T6" y="T7"/>
              </a:cxn>
              <a:cxn ang="T108">
                <a:pos x="T8" y="T9"/>
              </a:cxn>
              <a:cxn ang="T109">
                <a:pos x="T10" y="T11"/>
              </a:cxn>
              <a:cxn ang="T110">
                <a:pos x="T12" y="T13"/>
              </a:cxn>
              <a:cxn ang="T111">
                <a:pos x="T14" y="T15"/>
              </a:cxn>
              <a:cxn ang="T112">
                <a:pos x="T16" y="T17"/>
              </a:cxn>
              <a:cxn ang="T113">
                <a:pos x="T18" y="T19"/>
              </a:cxn>
              <a:cxn ang="T114">
                <a:pos x="T20" y="T21"/>
              </a:cxn>
              <a:cxn ang="T115">
                <a:pos x="T22" y="T23"/>
              </a:cxn>
              <a:cxn ang="T116">
                <a:pos x="T24" y="T25"/>
              </a:cxn>
              <a:cxn ang="T117">
                <a:pos x="T26" y="T27"/>
              </a:cxn>
              <a:cxn ang="T118">
                <a:pos x="T28" y="T29"/>
              </a:cxn>
              <a:cxn ang="T119">
                <a:pos x="T30" y="T31"/>
              </a:cxn>
              <a:cxn ang="T120">
                <a:pos x="T32" y="T33"/>
              </a:cxn>
              <a:cxn ang="T121">
                <a:pos x="T34" y="T35"/>
              </a:cxn>
              <a:cxn ang="T122">
                <a:pos x="T36" y="T37"/>
              </a:cxn>
              <a:cxn ang="T123">
                <a:pos x="T38" y="T39"/>
              </a:cxn>
              <a:cxn ang="T124">
                <a:pos x="T40" y="T41"/>
              </a:cxn>
              <a:cxn ang="T125">
                <a:pos x="T42" y="T43"/>
              </a:cxn>
              <a:cxn ang="T126">
                <a:pos x="T44" y="T45"/>
              </a:cxn>
              <a:cxn ang="T127">
                <a:pos x="T46" y="T47"/>
              </a:cxn>
              <a:cxn ang="T128">
                <a:pos x="T48" y="T49"/>
              </a:cxn>
              <a:cxn ang="T129">
                <a:pos x="T50" y="T51"/>
              </a:cxn>
              <a:cxn ang="T130">
                <a:pos x="T52" y="T53"/>
              </a:cxn>
              <a:cxn ang="T131">
                <a:pos x="T54" y="T55"/>
              </a:cxn>
              <a:cxn ang="T132">
                <a:pos x="T56" y="T57"/>
              </a:cxn>
              <a:cxn ang="T133">
                <a:pos x="T58" y="T59"/>
              </a:cxn>
              <a:cxn ang="T134">
                <a:pos x="T60" y="T61"/>
              </a:cxn>
              <a:cxn ang="T135">
                <a:pos x="T62" y="T63"/>
              </a:cxn>
              <a:cxn ang="T136">
                <a:pos x="T64" y="T65"/>
              </a:cxn>
              <a:cxn ang="T137">
                <a:pos x="T66" y="T67"/>
              </a:cxn>
              <a:cxn ang="T138">
                <a:pos x="T68" y="T69"/>
              </a:cxn>
              <a:cxn ang="T139">
                <a:pos x="T70" y="T71"/>
              </a:cxn>
              <a:cxn ang="T140">
                <a:pos x="T72" y="T73"/>
              </a:cxn>
              <a:cxn ang="T141">
                <a:pos x="T74" y="T75"/>
              </a:cxn>
              <a:cxn ang="T142">
                <a:pos x="T76" y="T77"/>
              </a:cxn>
              <a:cxn ang="T143">
                <a:pos x="T78" y="T79"/>
              </a:cxn>
              <a:cxn ang="T144">
                <a:pos x="T80" y="T81"/>
              </a:cxn>
              <a:cxn ang="T145">
                <a:pos x="T82" y="T83"/>
              </a:cxn>
              <a:cxn ang="T146">
                <a:pos x="T84" y="T85"/>
              </a:cxn>
              <a:cxn ang="T147">
                <a:pos x="T86" y="T87"/>
              </a:cxn>
              <a:cxn ang="T148">
                <a:pos x="T88" y="T89"/>
              </a:cxn>
              <a:cxn ang="T149">
                <a:pos x="T90" y="T91"/>
              </a:cxn>
              <a:cxn ang="T150">
                <a:pos x="T92" y="T93"/>
              </a:cxn>
              <a:cxn ang="T151">
                <a:pos x="T94" y="T95"/>
              </a:cxn>
              <a:cxn ang="T152">
                <a:pos x="T96" y="T97"/>
              </a:cxn>
              <a:cxn ang="T153">
                <a:pos x="T98" y="T99"/>
              </a:cxn>
              <a:cxn ang="T154">
                <a:pos x="T100" y="T101"/>
              </a:cxn>
              <a:cxn ang="T155">
                <a:pos x="T102" y="T103"/>
              </a:cxn>
            </a:cxnLst>
            <a:rect l="T156" t="T157" r="T158" b="T159"/>
            <a:pathLst>
              <a:path w="454" h="440">
                <a:moveTo>
                  <a:pt x="30" y="232"/>
                </a:moveTo>
                <a:lnTo>
                  <a:pt x="30" y="234"/>
                </a:lnTo>
                <a:lnTo>
                  <a:pt x="28" y="238"/>
                </a:lnTo>
                <a:lnTo>
                  <a:pt x="26" y="242"/>
                </a:lnTo>
                <a:lnTo>
                  <a:pt x="20" y="246"/>
                </a:lnTo>
                <a:lnTo>
                  <a:pt x="16" y="248"/>
                </a:lnTo>
                <a:lnTo>
                  <a:pt x="14" y="248"/>
                </a:lnTo>
                <a:lnTo>
                  <a:pt x="14" y="250"/>
                </a:lnTo>
                <a:lnTo>
                  <a:pt x="14" y="252"/>
                </a:lnTo>
                <a:lnTo>
                  <a:pt x="14" y="256"/>
                </a:lnTo>
                <a:lnTo>
                  <a:pt x="16" y="258"/>
                </a:lnTo>
                <a:lnTo>
                  <a:pt x="18" y="258"/>
                </a:lnTo>
                <a:lnTo>
                  <a:pt x="16" y="260"/>
                </a:lnTo>
                <a:lnTo>
                  <a:pt x="14" y="260"/>
                </a:lnTo>
                <a:lnTo>
                  <a:pt x="14" y="262"/>
                </a:lnTo>
                <a:lnTo>
                  <a:pt x="12" y="264"/>
                </a:lnTo>
                <a:lnTo>
                  <a:pt x="10" y="264"/>
                </a:lnTo>
                <a:lnTo>
                  <a:pt x="4" y="266"/>
                </a:lnTo>
                <a:lnTo>
                  <a:pt x="4" y="268"/>
                </a:lnTo>
                <a:lnTo>
                  <a:pt x="2" y="270"/>
                </a:lnTo>
                <a:lnTo>
                  <a:pt x="0" y="274"/>
                </a:lnTo>
                <a:lnTo>
                  <a:pt x="0" y="276"/>
                </a:lnTo>
                <a:lnTo>
                  <a:pt x="28" y="292"/>
                </a:lnTo>
                <a:lnTo>
                  <a:pt x="30" y="292"/>
                </a:lnTo>
                <a:lnTo>
                  <a:pt x="36" y="288"/>
                </a:lnTo>
                <a:lnTo>
                  <a:pt x="38" y="288"/>
                </a:lnTo>
                <a:lnTo>
                  <a:pt x="40" y="298"/>
                </a:lnTo>
                <a:lnTo>
                  <a:pt x="46" y="302"/>
                </a:lnTo>
                <a:lnTo>
                  <a:pt x="50" y="306"/>
                </a:lnTo>
                <a:lnTo>
                  <a:pt x="48" y="318"/>
                </a:lnTo>
                <a:lnTo>
                  <a:pt x="54" y="318"/>
                </a:lnTo>
                <a:lnTo>
                  <a:pt x="62" y="318"/>
                </a:lnTo>
                <a:lnTo>
                  <a:pt x="62" y="322"/>
                </a:lnTo>
                <a:lnTo>
                  <a:pt x="60" y="330"/>
                </a:lnTo>
                <a:lnTo>
                  <a:pt x="64" y="334"/>
                </a:lnTo>
                <a:lnTo>
                  <a:pt x="62" y="342"/>
                </a:lnTo>
                <a:lnTo>
                  <a:pt x="64" y="356"/>
                </a:lnTo>
                <a:lnTo>
                  <a:pt x="64" y="364"/>
                </a:lnTo>
                <a:lnTo>
                  <a:pt x="54" y="368"/>
                </a:lnTo>
                <a:lnTo>
                  <a:pt x="52" y="370"/>
                </a:lnTo>
                <a:lnTo>
                  <a:pt x="52" y="372"/>
                </a:lnTo>
                <a:lnTo>
                  <a:pt x="54" y="374"/>
                </a:lnTo>
                <a:lnTo>
                  <a:pt x="60" y="374"/>
                </a:lnTo>
                <a:lnTo>
                  <a:pt x="64" y="376"/>
                </a:lnTo>
                <a:lnTo>
                  <a:pt x="68" y="376"/>
                </a:lnTo>
                <a:lnTo>
                  <a:pt x="70" y="376"/>
                </a:lnTo>
                <a:lnTo>
                  <a:pt x="72" y="386"/>
                </a:lnTo>
                <a:lnTo>
                  <a:pt x="70" y="390"/>
                </a:lnTo>
                <a:lnTo>
                  <a:pt x="70" y="394"/>
                </a:lnTo>
                <a:lnTo>
                  <a:pt x="70" y="400"/>
                </a:lnTo>
                <a:lnTo>
                  <a:pt x="72" y="400"/>
                </a:lnTo>
                <a:lnTo>
                  <a:pt x="78" y="396"/>
                </a:lnTo>
                <a:lnTo>
                  <a:pt x="80" y="396"/>
                </a:lnTo>
                <a:lnTo>
                  <a:pt x="84" y="402"/>
                </a:lnTo>
                <a:lnTo>
                  <a:pt x="88" y="404"/>
                </a:lnTo>
                <a:lnTo>
                  <a:pt x="90" y="404"/>
                </a:lnTo>
                <a:lnTo>
                  <a:pt x="92" y="396"/>
                </a:lnTo>
                <a:lnTo>
                  <a:pt x="96" y="392"/>
                </a:lnTo>
                <a:lnTo>
                  <a:pt x="102" y="390"/>
                </a:lnTo>
                <a:lnTo>
                  <a:pt x="108" y="392"/>
                </a:lnTo>
                <a:lnTo>
                  <a:pt x="114" y="396"/>
                </a:lnTo>
                <a:lnTo>
                  <a:pt x="118" y="396"/>
                </a:lnTo>
                <a:lnTo>
                  <a:pt x="124" y="396"/>
                </a:lnTo>
                <a:lnTo>
                  <a:pt x="130" y="394"/>
                </a:lnTo>
                <a:lnTo>
                  <a:pt x="134" y="394"/>
                </a:lnTo>
                <a:lnTo>
                  <a:pt x="136" y="400"/>
                </a:lnTo>
                <a:lnTo>
                  <a:pt x="142" y="404"/>
                </a:lnTo>
                <a:lnTo>
                  <a:pt x="144" y="406"/>
                </a:lnTo>
                <a:lnTo>
                  <a:pt x="148" y="406"/>
                </a:lnTo>
                <a:lnTo>
                  <a:pt x="152" y="402"/>
                </a:lnTo>
                <a:lnTo>
                  <a:pt x="158" y="396"/>
                </a:lnTo>
                <a:lnTo>
                  <a:pt x="160" y="394"/>
                </a:lnTo>
                <a:lnTo>
                  <a:pt x="170" y="394"/>
                </a:lnTo>
                <a:lnTo>
                  <a:pt x="178" y="390"/>
                </a:lnTo>
                <a:lnTo>
                  <a:pt x="182" y="392"/>
                </a:lnTo>
                <a:lnTo>
                  <a:pt x="184" y="392"/>
                </a:lnTo>
                <a:lnTo>
                  <a:pt x="188" y="390"/>
                </a:lnTo>
                <a:lnTo>
                  <a:pt x="190" y="390"/>
                </a:lnTo>
                <a:lnTo>
                  <a:pt x="190" y="400"/>
                </a:lnTo>
                <a:lnTo>
                  <a:pt x="192" y="404"/>
                </a:lnTo>
                <a:lnTo>
                  <a:pt x="200" y="414"/>
                </a:lnTo>
                <a:lnTo>
                  <a:pt x="204" y="418"/>
                </a:lnTo>
                <a:lnTo>
                  <a:pt x="208" y="422"/>
                </a:lnTo>
                <a:lnTo>
                  <a:pt x="212" y="422"/>
                </a:lnTo>
                <a:lnTo>
                  <a:pt x="218" y="424"/>
                </a:lnTo>
                <a:lnTo>
                  <a:pt x="222" y="426"/>
                </a:lnTo>
                <a:lnTo>
                  <a:pt x="236" y="430"/>
                </a:lnTo>
                <a:lnTo>
                  <a:pt x="238" y="430"/>
                </a:lnTo>
                <a:lnTo>
                  <a:pt x="240" y="430"/>
                </a:lnTo>
                <a:lnTo>
                  <a:pt x="248" y="430"/>
                </a:lnTo>
                <a:lnTo>
                  <a:pt x="256" y="428"/>
                </a:lnTo>
                <a:lnTo>
                  <a:pt x="258" y="428"/>
                </a:lnTo>
                <a:lnTo>
                  <a:pt x="258" y="430"/>
                </a:lnTo>
                <a:lnTo>
                  <a:pt x="258" y="436"/>
                </a:lnTo>
                <a:lnTo>
                  <a:pt x="258" y="438"/>
                </a:lnTo>
                <a:lnTo>
                  <a:pt x="260" y="440"/>
                </a:lnTo>
                <a:lnTo>
                  <a:pt x="266" y="432"/>
                </a:lnTo>
                <a:lnTo>
                  <a:pt x="276" y="430"/>
                </a:lnTo>
                <a:lnTo>
                  <a:pt x="282" y="430"/>
                </a:lnTo>
                <a:lnTo>
                  <a:pt x="290" y="426"/>
                </a:lnTo>
                <a:lnTo>
                  <a:pt x="292" y="424"/>
                </a:lnTo>
                <a:lnTo>
                  <a:pt x="296" y="420"/>
                </a:lnTo>
                <a:lnTo>
                  <a:pt x="304" y="418"/>
                </a:lnTo>
                <a:lnTo>
                  <a:pt x="304" y="412"/>
                </a:lnTo>
                <a:lnTo>
                  <a:pt x="306" y="412"/>
                </a:lnTo>
                <a:lnTo>
                  <a:pt x="314" y="412"/>
                </a:lnTo>
                <a:lnTo>
                  <a:pt x="318" y="406"/>
                </a:lnTo>
                <a:lnTo>
                  <a:pt x="322" y="400"/>
                </a:lnTo>
                <a:lnTo>
                  <a:pt x="326" y="400"/>
                </a:lnTo>
                <a:lnTo>
                  <a:pt x="334" y="396"/>
                </a:lnTo>
                <a:lnTo>
                  <a:pt x="340" y="394"/>
                </a:lnTo>
                <a:lnTo>
                  <a:pt x="342" y="392"/>
                </a:lnTo>
                <a:lnTo>
                  <a:pt x="344" y="390"/>
                </a:lnTo>
                <a:lnTo>
                  <a:pt x="348" y="390"/>
                </a:lnTo>
                <a:lnTo>
                  <a:pt x="352" y="390"/>
                </a:lnTo>
                <a:lnTo>
                  <a:pt x="358" y="390"/>
                </a:lnTo>
                <a:lnTo>
                  <a:pt x="362" y="386"/>
                </a:lnTo>
                <a:lnTo>
                  <a:pt x="368" y="386"/>
                </a:lnTo>
                <a:lnTo>
                  <a:pt x="374" y="382"/>
                </a:lnTo>
                <a:lnTo>
                  <a:pt x="378" y="376"/>
                </a:lnTo>
                <a:lnTo>
                  <a:pt x="378" y="372"/>
                </a:lnTo>
                <a:lnTo>
                  <a:pt x="378" y="370"/>
                </a:lnTo>
                <a:lnTo>
                  <a:pt x="380" y="370"/>
                </a:lnTo>
                <a:lnTo>
                  <a:pt x="382" y="370"/>
                </a:lnTo>
                <a:lnTo>
                  <a:pt x="390" y="368"/>
                </a:lnTo>
                <a:lnTo>
                  <a:pt x="396" y="364"/>
                </a:lnTo>
                <a:lnTo>
                  <a:pt x="402" y="356"/>
                </a:lnTo>
                <a:lnTo>
                  <a:pt x="404" y="358"/>
                </a:lnTo>
                <a:lnTo>
                  <a:pt x="408" y="364"/>
                </a:lnTo>
                <a:lnTo>
                  <a:pt x="408" y="360"/>
                </a:lnTo>
                <a:lnTo>
                  <a:pt x="412" y="356"/>
                </a:lnTo>
                <a:lnTo>
                  <a:pt x="416" y="352"/>
                </a:lnTo>
                <a:lnTo>
                  <a:pt x="416" y="350"/>
                </a:lnTo>
                <a:lnTo>
                  <a:pt x="414" y="348"/>
                </a:lnTo>
                <a:lnTo>
                  <a:pt x="416" y="346"/>
                </a:lnTo>
                <a:lnTo>
                  <a:pt x="422" y="346"/>
                </a:lnTo>
                <a:lnTo>
                  <a:pt x="428" y="348"/>
                </a:lnTo>
                <a:lnTo>
                  <a:pt x="432" y="348"/>
                </a:lnTo>
                <a:lnTo>
                  <a:pt x="434" y="348"/>
                </a:lnTo>
                <a:lnTo>
                  <a:pt x="434" y="346"/>
                </a:lnTo>
                <a:lnTo>
                  <a:pt x="434" y="340"/>
                </a:lnTo>
                <a:lnTo>
                  <a:pt x="434" y="338"/>
                </a:lnTo>
                <a:lnTo>
                  <a:pt x="444" y="336"/>
                </a:lnTo>
                <a:lnTo>
                  <a:pt x="446" y="336"/>
                </a:lnTo>
                <a:lnTo>
                  <a:pt x="448" y="332"/>
                </a:lnTo>
                <a:lnTo>
                  <a:pt x="452" y="330"/>
                </a:lnTo>
                <a:lnTo>
                  <a:pt x="454" y="324"/>
                </a:lnTo>
                <a:lnTo>
                  <a:pt x="454" y="320"/>
                </a:lnTo>
                <a:lnTo>
                  <a:pt x="452" y="318"/>
                </a:lnTo>
                <a:lnTo>
                  <a:pt x="412" y="228"/>
                </a:lnTo>
                <a:lnTo>
                  <a:pt x="396" y="198"/>
                </a:lnTo>
                <a:lnTo>
                  <a:pt x="364" y="132"/>
                </a:lnTo>
                <a:lnTo>
                  <a:pt x="376" y="118"/>
                </a:lnTo>
                <a:lnTo>
                  <a:pt x="386" y="106"/>
                </a:lnTo>
                <a:lnTo>
                  <a:pt x="384" y="102"/>
                </a:lnTo>
                <a:lnTo>
                  <a:pt x="386" y="100"/>
                </a:lnTo>
                <a:lnTo>
                  <a:pt x="390" y="94"/>
                </a:lnTo>
                <a:lnTo>
                  <a:pt x="390" y="88"/>
                </a:lnTo>
                <a:lnTo>
                  <a:pt x="384" y="84"/>
                </a:lnTo>
                <a:lnTo>
                  <a:pt x="384" y="78"/>
                </a:lnTo>
                <a:lnTo>
                  <a:pt x="384" y="72"/>
                </a:lnTo>
                <a:lnTo>
                  <a:pt x="384" y="70"/>
                </a:lnTo>
                <a:lnTo>
                  <a:pt x="392" y="62"/>
                </a:lnTo>
                <a:lnTo>
                  <a:pt x="392" y="54"/>
                </a:lnTo>
                <a:lnTo>
                  <a:pt x="392" y="52"/>
                </a:lnTo>
                <a:lnTo>
                  <a:pt x="392" y="50"/>
                </a:lnTo>
                <a:lnTo>
                  <a:pt x="392" y="46"/>
                </a:lnTo>
                <a:lnTo>
                  <a:pt x="390" y="42"/>
                </a:lnTo>
                <a:lnTo>
                  <a:pt x="394" y="36"/>
                </a:lnTo>
                <a:lnTo>
                  <a:pt x="390" y="32"/>
                </a:lnTo>
                <a:lnTo>
                  <a:pt x="382" y="26"/>
                </a:lnTo>
                <a:lnTo>
                  <a:pt x="378" y="18"/>
                </a:lnTo>
                <a:lnTo>
                  <a:pt x="374" y="16"/>
                </a:lnTo>
                <a:lnTo>
                  <a:pt x="374" y="12"/>
                </a:lnTo>
                <a:lnTo>
                  <a:pt x="368" y="14"/>
                </a:lnTo>
                <a:lnTo>
                  <a:pt x="364" y="12"/>
                </a:lnTo>
                <a:lnTo>
                  <a:pt x="358" y="6"/>
                </a:lnTo>
                <a:lnTo>
                  <a:pt x="352" y="4"/>
                </a:lnTo>
                <a:lnTo>
                  <a:pt x="350" y="4"/>
                </a:lnTo>
                <a:lnTo>
                  <a:pt x="348" y="0"/>
                </a:lnTo>
                <a:lnTo>
                  <a:pt x="344" y="0"/>
                </a:lnTo>
                <a:lnTo>
                  <a:pt x="344" y="8"/>
                </a:lnTo>
                <a:lnTo>
                  <a:pt x="340" y="18"/>
                </a:lnTo>
                <a:lnTo>
                  <a:pt x="342" y="26"/>
                </a:lnTo>
                <a:lnTo>
                  <a:pt x="338" y="36"/>
                </a:lnTo>
                <a:lnTo>
                  <a:pt x="334" y="42"/>
                </a:lnTo>
                <a:lnTo>
                  <a:pt x="332" y="46"/>
                </a:lnTo>
                <a:lnTo>
                  <a:pt x="328" y="50"/>
                </a:lnTo>
                <a:lnTo>
                  <a:pt x="326" y="54"/>
                </a:lnTo>
                <a:lnTo>
                  <a:pt x="322" y="52"/>
                </a:lnTo>
                <a:lnTo>
                  <a:pt x="316" y="52"/>
                </a:lnTo>
                <a:lnTo>
                  <a:pt x="308" y="50"/>
                </a:lnTo>
                <a:lnTo>
                  <a:pt x="300" y="48"/>
                </a:lnTo>
                <a:lnTo>
                  <a:pt x="294" y="54"/>
                </a:lnTo>
                <a:lnTo>
                  <a:pt x="292" y="54"/>
                </a:lnTo>
                <a:lnTo>
                  <a:pt x="290" y="54"/>
                </a:lnTo>
                <a:lnTo>
                  <a:pt x="282" y="44"/>
                </a:lnTo>
                <a:lnTo>
                  <a:pt x="272" y="44"/>
                </a:lnTo>
                <a:lnTo>
                  <a:pt x="272" y="48"/>
                </a:lnTo>
                <a:lnTo>
                  <a:pt x="266" y="48"/>
                </a:lnTo>
                <a:lnTo>
                  <a:pt x="264" y="44"/>
                </a:lnTo>
                <a:lnTo>
                  <a:pt x="260" y="44"/>
                </a:lnTo>
                <a:lnTo>
                  <a:pt x="260" y="46"/>
                </a:lnTo>
                <a:lnTo>
                  <a:pt x="260" y="50"/>
                </a:lnTo>
                <a:lnTo>
                  <a:pt x="258" y="54"/>
                </a:lnTo>
                <a:lnTo>
                  <a:pt x="256" y="58"/>
                </a:lnTo>
                <a:lnTo>
                  <a:pt x="254" y="60"/>
                </a:lnTo>
                <a:lnTo>
                  <a:pt x="254" y="62"/>
                </a:lnTo>
                <a:lnTo>
                  <a:pt x="246" y="68"/>
                </a:lnTo>
                <a:lnTo>
                  <a:pt x="242" y="72"/>
                </a:lnTo>
                <a:lnTo>
                  <a:pt x="238" y="72"/>
                </a:lnTo>
                <a:lnTo>
                  <a:pt x="226" y="70"/>
                </a:lnTo>
                <a:lnTo>
                  <a:pt x="218" y="68"/>
                </a:lnTo>
                <a:lnTo>
                  <a:pt x="210" y="70"/>
                </a:lnTo>
                <a:lnTo>
                  <a:pt x="202" y="76"/>
                </a:lnTo>
                <a:lnTo>
                  <a:pt x="192" y="76"/>
                </a:lnTo>
                <a:lnTo>
                  <a:pt x="186" y="84"/>
                </a:lnTo>
                <a:lnTo>
                  <a:pt x="178" y="84"/>
                </a:lnTo>
                <a:lnTo>
                  <a:pt x="174" y="88"/>
                </a:lnTo>
                <a:lnTo>
                  <a:pt x="166" y="84"/>
                </a:lnTo>
                <a:lnTo>
                  <a:pt x="160" y="88"/>
                </a:lnTo>
                <a:lnTo>
                  <a:pt x="150" y="88"/>
                </a:lnTo>
                <a:lnTo>
                  <a:pt x="148" y="90"/>
                </a:lnTo>
                <a:lnTo>
                  <a:pt x="142" y="94"/>
                </a:lnTo>
                <a:lnTo>
                  <a:pt x="140" y="94"/>
                </a:lnTo>
                <a:lnTo>
                  <a:pt x="132" y="88"/>
                </a:lnTo>
                <a:lnTo>
                  <a:pt x="124" y="84"/>
                </a:lnTo>
                <a:lnTo>
                  <a:pt x="122" y="88"/>
                </a:lnTo>
                <a:lnTo>
                  <a:pt x="122" y="94"/>
                </a:lnTo>
                <a:lnTo>
                  <a:pt x="118" y="94"/>
                </a:lnTo>
                <a:lnTo>
                  <a:pt x="116" y="94"/>
                </a:lnTo>
                <a:lnTo>
                  <a:pt x="108" y="94"/>
                </a:lnTo>
                <a:lnTo>
                  <a:pt x="104" y="90"/>
                </a:lnTo>
                <a:lnTo>
                  <a:pt x="100" y="90"/>
                </a:lnTo>
                <a:lnTo>
                  <a:pt x="98" y="94"/>
                </a:lnTo>
                <a:lnTo>
                  <a:pt x="98" y="100"/>
                </a:lnTo>
                <a:lnTo>
                  <a:pt x="92" y="102"/>
                </a:lnTo>
                <a:lnTo>
                  <a:pt x="90" y="108"/>
                </a:lnTo>
                <a:lnTo>
                  <a:pt x="88" y="116"/>
                </a:lnTo>
                <a:lnTo>
                  <a:pt x="88" y="126"/>
                </a:lnTo>
                <a:lnTo>
                  <a:pt x="86" y="134"/>
                </a:lnTo>
                <a:lnTo>
                  <a:pt x="80" y="136"/>
                </a:lnTo>
                <a:lnTo>
                  <a:pt x="72" y="134"/>
                </a:lnTo>
                <a:lnTo>
                  <a:pt x="68" y="136"/>
                </a:lnTo>
                <a:lnTo>
                  <a:pt x="62" y="140"/>
                </a:lnTo>
                <a:lnTo>
                  <a:pt x="56" y="144"/>
                </a:lnTo>
                <a:lnTo>
                  <a:pt x="56" y="152"/>
                </a:lnTo>
                <a:lnTo>
                  <a:pt x="54" y="158"/>
                </a:lnTo>
                <a:lnTo>
                  <a:pt x="50" y="162"/>
                </a:lnTo>
                <a:lnTo>
                  <a:pt x="48" y="170"/>
                </a:lnTo>
                <a:lnTo>
                  <a:pt x="48" y="176"/>
                </a:lnTo>
                <a:lnTo>
                  <a:pt x="48" y="178"/>
                </a:lnTo>
                <a:lnTo>
                  <a:pt x="40" y="184"/>
                </a:lnTo>
                <a:lnTo>
                  <a:pt x="38" y="186"/>
                </a:lnTo>
                <a:lnTo>
                  <a:pt x="34" y="190"/>
                </a:lnTo>
                <a:lnTo>
                  <a:pt x="32" y="202"/>
                </a:lnTo>
                <a:lnTo>
                  <a:pt x="30" y="212"/>
                </a:lnTo>
                <a:lnTo>
                  <a:pt x="28" y="216"/>
                </a:lnTo>
                <a:lnTo>
                  <a:pt x="30" y="228"/>
                </a:lnTo>
                <a:lnTo>
                  <a:pt x="30" y="230"/>
                </a:lnTo>
                <a:lnTo>
                  <a:pt x="32" y="232"/>
                </a:lnTo>
                <a:lnTo>
                  <a:pt x="30" y="232"/>
                </a:lnTo>
                <a:close/>
              </a:path>
            </a:pathLst>
          </a:custGeom>
          <a:solidFill>
            <a:srgbClr val="F1B728"/>
          </a:solidFill>
          <a:ln w="6350">
            <a:solidFill>
              <a:schemeClr val="tx1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457200"/>
            <a:endParaRPr lang="en-US" kern="0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44" name="Freeform 22">
            <a:extLst>
              <a:ext uri="{FF2B5EF4-FFF2-40B4-BE49-F238E27FC236}">
                <a16:creationId xmlns:a16="http://schemas.microsoft.com/office/drawing/2014/main" id="{874B327F-6720-7AA6-DB18-8FF37BAB40B2}"/>
              </a:ext>
            </a:extLst>
          </p:cNvPr>
          <p:cNvSpPr>
            <a:spLocks/>
          </p:cNvSpPr>
          <p:nvPr/>
        </p:nvSpPr>
        <p:spPr bwMode="auto">
          <a:xfrm>
            <a:off x="6548120" y="2540000"/>
            <a:ext cx="2540" cy="2540"/>
          </a:xfrm>
          <a:custGeom>
            <a:avLst/>
            <a:gdLst>
              <a:gd name="T0" fmla="*/ 0 w 2"/>
              <a:gd name="T1" fmla="*/ 2147483646 h 2"/>
              <a:gd name="T2" fmla="*/ 2147483646 w 2"/>
              <a:gd name="T3" fmla="*/ 2147483646 h 2"/>
              <a:gd name="T4" fmla="*/ 0 w 2"/>
              <a:gd name="T5" fmla="*/ 0 h 2"/>
              <a:gd name="T6" fmla="*/ 0 w 2"/>
              <a:gd name="T7" fmla="*/ 2147483646 h 2"/>
              <a:gd name="T8" fmla="*/ 0 60000 65536"/>
              <a:gd name="T9" fmla="*/ 0 60000 65536"/>
              <a:gd name="T10" fmla="*/ 0 60000 65536"/>
              <a:gd name="T11" fmla="*/ 0 60000 65536"/>
              <a:gd name="T12" fmla="*/ 0 w 2"/>
              <a:gd name="T13" fmla="*/ 0 h 2"/>
              <a:gd name="T14" fmla="*/ 2 w 2"/>
              <a:gd name="T15" fmla="*/ 2 h 2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2" h="2">
                <a:moveTo>
                  <a:pt x="0" y="2"/>
                </a:move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close/>
              </a:path>
            </a:pathLst>
          </a:custGeom>
          <a:solidFill>
            <a:srgbClr val="FFF537"/>
          </a:solidFill>
          <a:ln w="6350">
            <a:solidFill>
              <a:srgbClr val="00B0F0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457200">
              <a:defRPr/>
            </a:pPr>
            <a:endParaRPr lang="en-US" kern="0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45" name="Freeform 24">
            <a:extLst>
              <a:ext uri="{FF2B5EF4-FFF2-40B4-BE49-F238E27FC236}">
                <a16:creationId xmlns:a16="http://schemas.microsoft.com/office/drawing/2014/main" id="{C8944E89-49A5-8E20-C7D4-D03257C8A1CB}"/>
              </a:ext>
            </a:extLst>
          </p:cNvPr>
          <p:cNvSpPr>
            <a:spLocks/>
          </p:cNvSpPr>
          <p:nvPr/>
        </p:nvSpPr>
        <p:spPr bwMode="auto">
          <a:xfrm>
            <a:off x="4599940" y="2910840"/>
            <a:ext cx="467360" cy="510540"/>
          </a:xfrm>
          <a:custGeom>
            <a:avLst/>
            <a:gdLst>
              <a:gd name="T0" fmla="*/ 2147483646 w 368"/>
              <a:gd name="T1" fmla="*/ 2147483646 h 402"/>
              <a:gd name="T2" fmla="*/ 2147483646 w 368"/>
              <a:gd name="T3" fmla="*/ 2147483646 h 402"/>
              <a:gd name="T4" fmla="*/ 2147483646 w 368"/>
              <a:gd name="T5" fmla="*/ 2147483646 h 402"/>
              <a:gd name="T6" fmla="*/ 2147483646 w 368"/>
              <a:gd name="T7" fmla="*/ 2147483646 h 402"/>
              <a:gd name="T8" fmla="*/ 2147483646 w 368"/>
              <a:gd name="T9" fmla="*/ 2147483646 h 402"/>
              <a:gd name="T10" fmla="*/ 2147483646 w 368"/>
              <a:gd name="T11" fmla="*/ 2147483646 h 402"/>
              <a:gd name="T12" fmla="*/ 2147483646 w 368"/>
              <a:gd name="T13" fmla="*/ 2147483646 h 402"/>
              <a:gd name="T14" fmla="*/ 2147483646 w 368"/>
              <a:gd name="T15" fmla="*/ 2147483646 h 402"/>
              <a:gd name="T16" fmla="*/ 2147483646 w 368"/>
              <a:gd name="T17" fmla="*/ 2147483646 h 402"/>
              <a:gd name="T18" fmla="*/ 2147483646 w 368"/>
              <a:gd name="T19" fmla="*/ 2147483646 h 402"/>
              <a:gd name="T20" fmla="*/ 2147483646 w 368"/>
              <a:gd name="T21" fmla="*/ 2147483646 h 402"/>
              <a:gd name="T22" fmla="*/ 0 w 368"/>
              <a:gd name="T23" fmla="*/ 2147483646 h 402"/>
              <a:gd name="T24" fmla="*/ 2147483646 w 368"/>
              <a:gd name="T25" fmla="*/ 2147483646 h 402"/>
              <a:gd name="T26" fmla="*/ 2147483646 w 368"/>
              <a:gd name="T27" fmla="*/ 2147483646 h 402"/>
              <a:gd name="T28" fmla="*/ 2147483646 w 368"/>
              <a:gd name="T29" fmla="*/ 2147483646 h 402"/>
              <a:gd name="T30" fmla="*/ 2147483646 w 368"/>
              <a:gd name="T31" fmla="*/ 2147483646 h 402"/>
              <a:gd name="T32" fmla="*/ 2147483646 w 368"/>
              <a:gd name="T33" fmla="*/ 2147483646 h 402"/>
              <a:gd name="T34" fmla="*/ 2147483646 w 368"/>
              <a:gd name="T35" fmla="*/ 2147483646 h 402"/>
              <a:gd name="T36" fmla="*/ 2147483646 w 368"/>
              <a:gd name="T37" fmla="*/ 2147483646 h 402"/>
              <a:gd name="T38" fmla="*/ 2147483646 w 368"/>
              <a:gd name="T39" fmla="*/ 2147483646 h 402"/>
              <a:gd name="T40" fmla="*/ 2147483646 w 368"/>
              <a:gd name="T41" fmla="*/ 2147483646 h 402"/>
              <a:gd name="T42" fmla="*/ 2147483646 w 368"/>
              <a:gd name="T43" fmla="*/ 2147483646 h 402"/>
              <a:gd name="T44" fmla="*/ 2147483646 w 368"/>
              <a:gd name="T45" fmla="*/ 2147483646 h 402"/>
              <a:gd name="T46" fmla="*/ 2147483646 w 368"/>
              <a:gd name="T47" fmla="*/ 2147483646 h 402"/>
              <a:gd name="T48" fmla="*/ 2147483646 w 368"/>
              <a:gd name="T49" fmla="*/ 2147483646 h 402"/>
              <a:gd name="T50" fmla="*/ 2147483646 w 368"/>
              <a:gd name="T51" fmla="*/ 2147483646 h 402"/>
              <a:gd name="T52" fmla="*/ 2147483646 w 368"/>
              <a:gd name="T53" fmla="*/ 2147483646 h 402"/>
              <a:gd name="T54" fmla="*/ 2147483646 w 368"/>
              <a:gd name="T55" fmla="*/ 2147483646 h 402"/>
              <a:gd name="T56" fmla="*/ 2147483646 w 368"/>
              <a:gd name="T57" fmla="*/ 2147483646 h 402"/>
              <a:gd name="T58" fmla="*/ 2147483646 w 368"/>
              <a:gd name="T59" fmla="*/ 2147483646 h 402"/>
              <a:gd name="T60" fmla="*/ 2147483646 w 368"/>
              <a:gd name="T61" fmla="*/ 2147483646 h 402"/>
              <a:gd name="T62" fmla="*/ 2147483646 w 368"/>
              <a:gd name="T63" fmla="*/ 2147483646 h 402"/>
              <a:gd name="T64" fmla="*/ 2147483646 w 368"/>
              <a:gd name="T65" fmla="*/ 2147483646 h 402"/>
              <a:gd name="T66" fmla="*/ 2147483646 w 368"/>
              <a:gd name="T67" fmla="*/ 2147483646 h 402"/>
              <a:gd name="T68" fmla="*/ 2147483646 w 368"/>
              <a:gd name="T69" fmla="*/ 2147483646 h 402"/>
              <a:gd name="T70" fmla="*/ 2147483646 w 368"/>
              <a:gd name="T71" fmla="*/ 2147483646 h 402"/>
              <a:gd name="T72" fmla="*/ 2147483646 w 368"/>
              <a:gd name="T73" fmla="*/ 2147483646 h 402"/>
              <a:gd name="T74" fmla="*/ 2147483646 w 368"/>
              <a:gd name="T75" fmla="*/ 2147483646 h 402"/>
              <a:gd name="T76" fmla="*/ 2147483646 w 368"/>
              <a:gd name="T77" fmla="*/ 2147483646 h 402"/>
              <a:gd name="T78" fmla="*/ 2147483646 w 368"/>
              <a:gd name="T79" fmla="*/ 2147483646 h 402"/>
              <a:gd name="T80" fmla="*/ 2147483646 w 368"/>
              <a:gd name="T81" fmla="*/ 2147483646 h 402"/>
              <a:gd name="T82" fmla="*/ 2147483646 w 368"/>
              <a:gd name="T83" fmla="*/ 2147483646 h 402"/>
              <a:gd name="T84" fmla="*/ 2147483646 w 368"/>
              <a:gd name="T85" fmla="*/ 2147483646 h 402"/>
              <a:gd name="T86" fmla="*/ 2147483646 w 368"/>
              <a:gd name="T87" fmla="*/ 2147483646 h 402"/>
              <a:gd name="T88" fmla="*/ 2147483646 w 368"/>
              <a:gd name="T89" fmla="*/ 2147483646 h 402"/>
              <a:gd name="T90" fmla="*/ 2147483646 w 368"/>
              <a:gd name="T91" fmla="*/ 2147483646 h 402"/>
              <a:gd name="T92" fmla="*/ 2147483646 w 368"/>
              <a:gd name="T93" fmla="*/ 2147483646 h 402"/>
              <a:gd name="T94" fmla="*/ 2147483646 w 368"/>
              <a:gd name="T95" fmla="*/ 2147483646 h 402"/>
              <a:gd name="T96" fmla="*/ 2147483646 w 368"/>
              <a:gd name="T97" fmla="*/ 0 h 402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w 368"/>
              <a:gd name="T148" fmla="*/ 0 h 402"/>
              <a:gd name="T149" fmla="*/ 368 w 368"/>
              <a:gd name="T150" fmla="*/ 402 h 402"/>
            </a:gdLst>
            <a:ahLst/>
            <a:cxnLst>
              <a:cxn ang="T98">
                <a:pos x="T0" y="T1"/>
              </a:cxn>
              <a:cxn ang="T99">
                <a:pos x="T2" y="T3"/>
              </a:cxn>
              <a:cxn ang="T100">
                <a:pos x="T4" y="T5"/>
              </a:cxn>
              <a:cxn ang="T101">
                <a:pos x="T6" y="T7"/>
              </a:cxn>
              <a:cxn ang="T102">
                <a:pos x="T8" y="T9"/>
              </a:cxn>
              <a:cxn ang="T103">
                <a:pos x="T10" y="T11"/>
              </a:cxn>
              <a:cxn ang="T104">
                <a:pos x="T12" y="T13"/>
              </a:cxn>
              <a:cxn ang="T105">
                <a:pos x="T14" y="T15"/>
              </a:cxn>
              <a:cxn ang="T106">
                <a:pos x="T16" y="T17"/>
              </a:cxn>
              <a:cxn ang="T107">
                <a:pos x="T18" y="T19"/>
              </a:cxn>
              <a:cxn ang="T108">
                <a:pos x="T20" y="T21"/>
              </a:cxn>
              <a:cxn ang="T109">
                <a:pos x="T22" y="T23"/>
              </a:cxn>
              <a:cxn ang="T110">
                <a:pos x="T24" y="T25"/>
              </a:cxn>
              <a:cxn ang="T111">
                <a:pos x="T26" y="T27"/>
              </a:cxn>
              <a:cxn ang="T112">
                <a:pos x="T28" y="T29"/>
              </a:cxn>
              <a:cxn ang="T113">
                <a:pos x="T30" y="T31"/>
              </a:cxn>
              <a:cxn ang="T114">
                <a:pos x="T32" y="T33"/>
              </a:cxn>
              <a:cxn ang="T115">
                <a:pos x="T34" y="T35"/>
              </a:cxn>
              <a:cxn ang="T116">
                <a:pos x="T36" y="T37"/>
              </a:cxn>
              <a:cxn ang="T117">
                <a:pos x="T38" y="T39"/>
              </a:cxn>
              <a:cxn ang="T118">
                <a:pos x="T40" y="T41"/>
              </a:cxn>
              <a:cxn ang="T119">
                <a:pos x="T42" y="T43"/>
              </a:cxn>
              <a:cxn ang="T120">
                <a:pos x="T44" y="T45"/>
              </a:cxn>
              <a:cxn ang="T121">
                <a:pos x="T46" y="T47"/>
              </a:cxn>
              <a:cxn ang="T122">
                <a:pos x="T48" y="T49"/>
              </a:cxn>
              <a:cxn ang="T123">
                <a:pos x="T50" y="T51"/>
              </a:cxn>
              <a:cxn ang="T124">
                <a:pos x="T52" y="T53"/>
              </a:cxn>
              <a:cxn ang="T125">
                <a:pos x="T54" y="T55"/>
              </a:cxn>
              <a:cxn ang="T126">
                <a:pos x="T56" y="T57"/>
              </a:cxn>
              <a:cxn ang="T127">
                <a:pos x="T58" y="T59"/>
              </a:cxn>
              <a:cxn ang="T128">
                <a:pos x="T60" y="T61"/>
              </a:cxn>
              <a:cxn ang="T129">
                <a:pos x="T62" y="T63"/>
              </a:cxn>
              <a:cxn ang="T130">
                <a:pos x="T64" y="T65"/>
              </a:cxn>
              <a:cxn ang="T131">
                <a:pos x="T66" y="T67"/>
              </a:cxn>
              <a:cxn ang="T132">
                <a:pos x="T68" y="T69"/>
              </a:cxn>
              <a:cxn ang="T133">
                <a:pos x="T70" y="T71"/>
              </a:cxn>
              <a:cxn ang="T134">
                <a:pos x="T72" y="T73"/>
              </a:cxn>
              <a:cxn ang="T135">
                <a:pos x="T74" y="T75"/>
              </a:cxn>
              <a:cxn ang="T136">
                <a:pos x="T76" y="T77"/>
              </a:cxn>
              <a:cxn ang="T137">
                <a:pos x="T78" y="T79"/>
              </a:cxn>
              <a:cxn ang="T138">
                <a:pos x="T80" y="T81"/>
              </a:cxn>
              <a:cxn ang="T139">
                <a:pos x="T82" y="T83"/>
              </a:cxn>
              <a:cxn ang="T140">
                <a:pos x="T84" y="T85"/>
              </a:cxn>
              <a:cxn ang="T141">
                <a:pos x="T86" y="T87"/>
              </a:cxn>
              <a:cxn ang="T142">
                <a:pos x="T88" y="T89"/>
              </a:cxn>
              <a:cxn ang="T143">
                <a:pos x="T90" y="T91"/>
              </a:cxn>
              <a:cxn ang="T144">
                <a:pos x="T92" y="T93"/>
              </a:cxn>
              <a:cxn ang="T145">
                <a:pos x="T94" y="T95"/>
              </a:cxn>
              <a:cxn ang="T146">
                <a:pos x="T96" y="T97"/>
              </a:cxn>
            </a:cxnLst>
            <a:rect l="T147" t="T148" r="T149" b="T150"/>
            <a:pathLst>
              <a:path w="368" h="402">
                <a:moveTo>
                  <a:pt x="282" y="0"/>
                </a:moveTo>
                <a:lnTo>
                  <a:pt x="278" y="0"/>
                </a:lnTo>
                <a:lnTo>
                  <a:pt x="278" y="4"/>
                </a:lnTo>
                <a:lnTo>
                  <a:pt x="282" y="10"/>
                </a:lnTo>
                <a:lnTo>
                  <a:pt x="282" y="14"/>
                </a:lnTo>
                <a:lnTo>
                  <a:pt x="278" y="16"/>
                </a:lnTo>
                <a:lnTo>
                  <a:pt x="276" y="14"/>
                </a:lnTo>
                <a:lnTo>
                  <a:pt x="276" y="8"/>
                </a:lnTo>
                <a:lnTo>
                  <a:pt x="274" y="6"/>
                </a:lnTo>
                <a:lnTo>
                  <a:pt x="272" y="8"/>
                </a:lnTo>
                <a:lnTo>
                  <a:pt x="268" y="14"/>
                </a:lnTo>
                <a:lnTo>
                  <a:pt x="264" y="14"/>
                </a:lnTo>
                <a:lnTo>
                  <a:pt x="258" y="10"/>
                </a:lnTo>
                <a:lnTo>
                  <a:pt x="258" y="6"/>
                </a:lnTo>
                <a:lnTo>
                  <a:pt x="252" y="4"/>
                </a:lnTo>
                <a:lnTo>
                  <a:pt x="250" y="6"/>
                </a:lnTo>
                <a:lnTo>
                  <a:pt x="242" y="22"/>
                </a:lnTo>
                <a:lnTo>
                  <a:pt x="240" y="22"/>
                </a:lnTo>
                <a:lnTo>
                  <a:pt x="236" y="22"/>
                </a:lnTo>
                <a:lnTo>
                  <a:pt x="236" y="34"/>
                </a:lnTo>
                <a:lnTo>
                  <a:pt x="222" y="40"/>
                </a:lnTo>
                <a:lnTo>
                  <a:pt x="218" y="42"/>
                </a:lnTo>
                <a:lnTo>
                  <a:pt x="212" y="46"/>
                </a:lnTo>
                <a:lnTo>
                  <a:pt x="202" y="52"/>
                </a:lnTo>
                <a:lnTo>
                  <a:pt x="200" y="54"/>
                </a:lnTo>
                <a:lnTo>
                  <a:pt x="198" y="54"/>
                </a:lnTo>
                <a:lnTo>
                  <a:pt x="196" y="56"/>
                </a:lnTo>
                <a:lnTo>
                  <a:pt x="184" y="60"/>
                </a:lnTo>
                <a:lnTo>
                  <a:pt x="182" y="60"/>
                </a:lnTo>
                <a:lnTo>
                  <a:pt x="180" y="60"/>
                </a:lnTo>
                <a:lnTo>
                  <a:pt x="168" y="62"/>
                </a:lnTo>
                <a:lnTo>
                  <a:pt x="150" y="64"/>
                </a:lnTo>
                <a:lnTo>
                  <a:pt x="100" y="72"/>
                </a:lnTo>
                <a:lnTo>
                  <a:pt x="68" y="76"/>
                </a:lnTo>
                <a:lnTo>
                  <a:pt x="56" y="70"/>
                </a:lnTo>
                <a:lnTo>
                  <a:pt x="0" y="150"/>
                </a:lnTo>
                <a:lnTo>
                  <a:pt x="4" y="218"/>
                </a:lnTo>
                <a:lnTo>
                  <a:pt x="10" y="224"/>
                </a:lnTo>
                <a:lnTo>
                  <a:pt x="12" y="226"/>
                </a:lnTo>
                <a:lnTo>
                  <a:pt x="14" y="234"/>
                </a:lnTo>
                <a:lnTo>
                  <a:pt x="26" y="234"/>
                </a:lnTo>
                <a:lnTo>
                  <a:pt x="44" y="240"/>
                </a:lnTo>
                <a:lnTo>
                  <a:pt x="52" y="242"/>
                </a:lnTo>
                <a:lnTo>
                  <a:pt x="62" y="256"/>
                </a:lnTo>
                <a:lnTo>
                  <a:pt x="74" y="276"/>
                </a:lnTo>
                <a:lnTo>
                  <a:pt x="78" y="288"/>
                </a:lnTo>
                <a:lnTo>
                  <a:pt x="90" y="302"/>
                </a:lnTo>
                <a:lnTo>
                  <a:pt x="136" y="302"/>
                </a:lnTo>
                <a:lnTo>
                  <a:pt x="142" y="302"/>
                </a:lnTo>
                <a:lnTo>
                  <a:pt x="148" y="306"/>
                </a:lnTo>
                <a:lnTo>
                  <a:pt x="150" y="310"/>
                </a:lnTo>
                <a:lnTo>
                  <a:pt x="150" y="314"/>
                </a:lnTo>
                <a:lnTo>
                  <a:pt x="148" y="320"/>
                </a:lnTo>
                <a:lnTo>
                  <a:pt x="160" y="330"/>
                </a:lnTo>
                <a:lnTo>
                  <a:pt x="160" y="332"/>
                </a:lnTo>
                <a:lnTo>
                  <a:pt x="152" y="338"/>
                </a:lnTo>
                <a:lnTo>
                  <a:pt x="150" y="340"/>
                </a:lnTo>
                <a:lnTo>
                  <a:pt x="152" y="342"/>
                </a:lnTo>
                <a:lnTo>
                  <a:pt x="154" y="348"/>
                </a:lnTo>
                <a:lnTo>
                  <a:pt x="152" y="358"/>
                </a:lnTo>
                <a:lnTo>
                  <a:pt x="152" y="368"/>
                </a:lnTo>
                <a:lnTo>
                  <a:pt x="150" y="370"/>
                </a:lnTo>
                <a:lnTo>
                  <a:pt x="146" y="374"/>
                </a:lnTo>
                <a:lnTo>
                  <a:pt x="142" y="380"/>
                </a:lnTo>
                <a:lnTo>
                  <a:pt x="136" y="378"/>
                </a:lnTo>
                <a:lnTo>
                  <a:pt x="136" y="380"/>
                </a:lnTo>
                <a:lnTo>
                  <a:pt x="136" y="382"/>
                </a:lnTo>
                <a:lnTo>
                  <a:pt x="142" y="384"/>
                </a:lnTo>
                <a:lnTo>
                  <a:pt x="144" y="384"/>
                </a:lnTo>
                <a:lnTo>
                  <a:pt x="144" y="386"/>
                </a:lnTo>
                <a:lnTo>
                  <a:pt x="136" y="394"/>
                </a:lnTo>
                <a:lnTo>
                  <a:pt x="134" y="396"/>
                </a:lnTo>
                <a:lnTo>
                  <a:pt x="128" y="396"/>
                </a:lnTo>
                <a:lnTo>
                  <a:pt x="126" y="398"/>
                </a:lnTo>
                <a:lnTo>
                  <a:pt x="128" y="402"/>
                </a:lnTo>
                <a:lnTo>
                  <a:pt x="292" y="368"/>
                </a:lnTo>
                <a:lnTo>
                  <a:pt x="294" y="360"/>
                </a:lnTo>
                <a:lnTo>
                  <a:pt x="298" y="352"/>
                </a:lnTo>
                <a:lnTo>
                  <a:pt x="298" y="344"/>
                </a:lnTo>
                <a:lnTo>
                  <a:pt x="300" y="340"/>
                </a:lnTo>
                <a:lnTo>
                  <a:pt x="304" y="328"/>
                </a:lnTo>
                <a:lnTo>
                  <a:pt x="308" y="316"/>
                </a:lnTo>
                <a:lnTo>
                  <a:pt x="308" y="312"/>
                </a:lnTo>
                <a:lnTo>
                  <a:pt x="310" y="308"/>
                </a:lnTo>
                <a:lnTo>
                  <a:pt x="312" y="296"/>
                </a:lnTo>
                <a:lnTo>
                  <a:pt x="312" y="288"/>
                </a:lnTo>
                <a:lnTo>
                  <a:pt x="316" y="280"/>
                </a:lnTo>
                <a:lnTo>
                  <a:pt x="320" y="272"/>
                </a:lnTo>
                <a:lnTo>
                  <a:pt x="322" y="266"/>
                </a:lnTo>
                <a:lnTo>
                  <a:pt x="322" y="260"/>
                </a:lnTo>
                <a:lnTo>
                  <a:pt x="322" y="254"/>
                </a:lnTo>
                <a:lnTo>
                  <a:pt x="326" y="244"/>
                </a:lnTo>
                <a:lnTo>
                  <a:pt x="328" y="240"/>
                </a:lnTo>
                <a:lnTo>
                  <a:pt x="330" y="236"/>
                </a:lnTo>
                <a:lnTo>
                  <a:pt x="336" y="234"/>
                </a:lnTo>
                <a:lnTo>
                  <a:pt x="342" y="232"/>
                </a:lnTo>
                <a:lnTo>
                  <a:pt x="344" y="230"/>
                </a:lnTo>
                <a:lnTo>
                  <a:pt x="350" y="224"/>
                </a:lnTo>
                <a:lnTo>
                  <a:pt x="352" y="220"/>
                </a:lnTo>
                <a:lnTo>
                  <a:pt x="352" y="216"/>
                </a:lnTo>
                <a:lnTo>
                  <a:pt x="352" y="208"/>
                </a:lnTo>
                <a:lnTo>
                  <a:pt x="350" y="206"/>
                </a:lnTo>
                <a:lnTo>
                  <a:pt x="346" y="198"/>
                </a:lnTo>
                <a:lnTo>
                  <a:pt x="344" y="196"/>
                </a:lnTo>
                <a:lnTo>
                  <a:pt x="342" y="194"/>
                </a:lnTo>
                <a:lnTo>
                  <a:pt x="344" y="186"/>
                </a:lnTo>
                <a:lnTo>
                  <a:pt x="346" y="182"/>
                </a:lnTo>
                <a:lnTo>
                  <a:pt x="344" y="172"/>
                </a:lnTo>
                <a:lnTo>
                  <a:pt x="346" y="166"/>
                </a:lnTo>
                <a:lnTo>
                  <a:pt x="352" y="158"/>
                </a:lnTo>
                <a:lnTo>
                  <a:pt x="352" y="148"/>
                </a:lnTo>
                <a:lnTo>
                  <a:pt x="350" y="140"/>
                </a:lnTo>
                <a:lnTo>
                  <a:pt x="354" y="134"/>
                </a:lnTo>
                <a:lnTo>
                  <a:pt x="354" y="132"/>
                </a:lnTo>
                <a:lnTo>
                  <a:pt x="352" y="126"/>
                </a:lnTo>
                <a:lnTo>
                  <a:pt x="350" y="124"/>
                </a:lnTo>
                <a:lnTo>
                  <a:pt x="352" y="116"/>
                </a:lnTo>
                <a:lnTo>
                  <a:pt x="358" y="112"/>
                </a:lnTo>
                <a:lnTo>
                  <a:pt x="360" y="108"/>
                </a:lnTo>
                <a:lnTo>
                  <a:pt x="360" y="100"/>
                </a:lnTo>
                <a:lnTo>
                  <a:pt x="360" y="96"/>
                </a:lnTo>
                <a:lnTo>
                  <a:pt x="358" y="94"/>
                </a:lnTo>
                <a:lnTo>
                  <a:pt x="360" y="92"/>
                </a:lnTo>
                <a:lnTo>
                  <a:pt x="362" y="90"/>
                </a:lnTo>
                <a:lnTo>
                  <a:pt x="364" y="88"/>
                </a:lnTo>
                <a:lnTo>
                  <a:pt x="364" y="86"/>
                </a:lnTo>
                <a:lnTo>
                  <a:pt x="364" y="80"/>
                </a:lnTo>
                <a:lnTo>
                  <a:pt x="368" y="78"/>
                </a:lnTo>
                <a:lnTo>
                  <a:pt x="362" y="70"/>
                </a:lnTo>
                <a:lnTo>
                  <a:pt x="354" y="68"/>
                </a:lnTo>
                <a:lnTo>
                  <a:pt x="344" y="68"/>
                </a:lnTo>
                <a:lnTo>
                  <a:pt x="338" y="62"/>
                </a:lnTo>
                <a:lnTo>
                  <a:pt x="336" y="64"/>
                </a:lnTo>
                <a:lnTo>
                  <a:pt x="328" y="58"/>
                </a:lnTo>
                <a:lnTo>
                  <a:pt x="330" y="44"/>
                </a:lnTo>
                <a:lnTo>
                  <a:pt x="328" y="42"/>
                </a:lnTo>
                <a:lnTo>
                  <a:pt x="328" y="34"/>
                </a:lnTo>
                <a:lnTo>
                  <a:pt x="324" y="32"/>
                </a:lnTo>
                <a:lnTo>
                  <a:pt x="324" y="24"/>
                </a:lnTo>
                <a:lnTo>
                  <a:pt x="320" y="22"/>
                </a:lnTo>
                <a:lnTo>
                  <a:pt x="318" y="16"/>
                </a:lnTo>
                <a:lnTo>
                  <a:pt x="316" y="14"/>
                </a:lnTo>
                <a:lnTo>
                  <a:pt x="310" y="6"/>
                </a:lnTo>
                <a:lnTo>
                  <a:pt x="302" y="4"/>
                </a:lnTo>
                <a:lnTo>
                  <a:pt x="294" y="2"/>
                </a:lnTo>
                <a:lnTo>
                  <a:pt x="288" y="2"/>
                </a:lnTo>
                <a:lnTo>
                  <a:pt x="284" y="0"/>
                </a:lnTo>
                <a:lnTo>
                  <a:pt x="282" y="0"/>
                </a:lnTo>
                <a:close/>
              </a:path>
            </a:pathLst>
          </a:custGeom>
          <a:solidFill>
            <a:srgbClr val="F1B728"/>
          </a:solidFill>
          <a:ln w="6350">
            <a:solidFill>
              <a:schemeClr val="tx1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457200"/>
            <a:endParaRPr lang="en-US" kern="0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46" name="Freeform 23">
            <a:extLst>
              <a:ext uri="{FF2B5EF4-FFF2-40B4-BE49-F238E27FC236}">
                <a16:creationId xmlns:a16="http://schemas.microsoft.com/office/drawing/2014/main" id="{C4756054-E4AF-96B6-BC42-B78B2A19D57B}"/>
              </a:ext>
            </a:extLst>
          </p:cNvPr>
          <p:cNvSpPr>
            <a:spLocks/>
          </p:cNvSpPr>
          <p:nvPr/>
        </p:nvSpPr>
        <p:spPr bwMode="auto">
          <a:xfrm>
            <a:off x="5529580" y="2954020"/>
            <a:ext cx="5080" cy="2540"/>
          </a:xfrm>
          <a:custGeom>
            <a:avLst/>
            <a:gdLst>
              <a:gd name="T0" fmla="*/ 2147483646 w 4"/>
              <a:gd name="T1" fmla="*/ 0 h 2"/>
              <a:gd name="T2" fmla="*/ 0 w 4"/>
              <a:gd name="T3" fmla="*/ 2147483646 h 2"/>
              <a:gd name="T4" fmla="*/ 2147483646 w 4"/>
              <a:gd name="T5" fmla="*/ 0 h 2"/>
              <a:gd name="T6" fmla="*/ 2147483646 w 4"/>
              <a:gd name="T7" fmla="*/ 0 h 2"/>
              <a:gd name="T8" fmla="*/ 0 60000 65536"/>
              <a:gd name="T9" fmla="*/ 0 60000 65536"/>
              <a:gd name="T10" fmla="*/ 0 60000 65536"/>
              <a:gd name="T11" fmla="*/ 0 60000 65536"/>
              <a:gd name="T12" fmla="*/ 0 w 4"/>
              <a:gd name="T13" fmla="*/ 0 h 2"/>
              <a:gd name="T14" fmla="*/ 4 w 4"/>
              <a:gd name="T15" fmla="*/ 2 h 2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4" h="2">
                <a:moveTo>
                  <a:pt x="2" y="0"/>
                </a:moveTo>
                <a:lnTo>
                  <a:pt x="0" y="2"/>
                </a:lnTo>
                <a:lnTo>
                  <a:pt x="4" y="0"/>
                </a:lnTo>
                <a:lnTo>
                  <a:pt x="2" y="0"/>
                </a:lnTo>
                <a:close/>
              </a:path>
            </a:pathLst>
          </a:custGeom>
          <a:solidFill>
            <a:srgbClr val="FFF537"/>
          </a:solidFill>
          <a:ln w="6350">
            <a:solidFill>
              <a:srgbClr val="00B0F0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457200">
              <a:defRPr/>
            </a:pPr>
            <a:endParaRPr lang="en-US" kern="0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47" name="Freeform 25">
            <a:extLst>
              <a:ext uri="{FF2B5EF4-FFF2-40B4-BE49-F238E27FC236}">
                <a16:creationId xmlns:a16="http://schemas.microsoft.com/office/drawing/2014/main" id="{299BB9CE-388E-54EB-F1D3-A323652FDF89}"/>
              </a:ext>
            </a:extLst>
          </p:cNvPr>
          <p:cNvSpPr>
            <a:spLocks/>
          </p:cNvSpPr>
          <p:nvPr/>
        </p:nvSpPr>
        <p:spPr bwMode="auto">
          <a:xfrm>
            <a:off x="4038604" y="1642110"/>
            <a:ext cx="241301" cy="241300"/>
          </a:xfrm>
          <a:custGeom>
            <a:avLst/>
            <a:gdLst>
              <a:gd name="T0" fmla="*/ 2147483646 w 190"/>
              <a:gd name="T1" fmla="*/ 2147483646 h 190"/>
              <a:gd name="T2" fmla="*/ 2147483646 w 190"/>
              <a:gd name="T3" fmla="*/ 2147483646 h 190"/>
              <a:gd name="T4" fmla="*/ 2147483646 w 190"/>
              <a:gd name="T5" fmla="*/ 2147483646 h 190"/>
              <a:gd name="T6" fmla="*/ 2147483646 w 190"/>
              <a:gd name="T7" fmla="*/ 2147483646 h 190"/>
              <a:gd name="T8" fmla="*/ 2147483646 w 190"/>
              <a:gd name="T9" fmla="*/ 2147483646 h 190"/>
              <a:gd name="T10" fmla="*/ 2147483646 w 190"/>
              <a:gd name="T11" fmla="*/ 2147483646 h 190"/>
              <a:gd name="T12" fmla="*/ 2147483646 w 190"/>
              <a:gd name="T13" fmla="*/ 2147483646 h 190"/>
              <a:gd name="T14" fmla="*/ 2147483646 w 190"/>
              <a:gd name="T15" fmla="*/ 2147483646 h 190"/>
              <a:gd name="T16" fmla="*/ 2147483646 w 190"/>
              <a:gd name="T17" fmla="*/ 2147483646 h 190"/>
              <a:gd name="T18" fmla="*/ 2147483646 w 190"/>
              <a:gd name="T19" fmla="*/ 2147483646 h 190"/>
              <a:gd name="T20" fmla="*/ 2147483646 w 190"/>
              <a:gd name="T21" fmla="*/ 2147483646 h 190"/>
              <a:gd name="T22" fmla="*/ 2147483646 w 190"/>
              <a:gd name="T23" fmla="*/ 2147483646 h 190"/>
              <a:gd name="T24" fmla="*/ 2147483646 w 190"/>
              <a:gd name="T25" fmla="*/ 2147483646 h 190"/>
              <a:gd name="T26" fmla="*/ 2147483646 w 190"/>
              <a:gd name="T27" fmla="*/ 2147483646 h 190"/>
              <a:gd name="T28" fmla="*/ 2147483646 w 190"/>
              <a:gd name="T29" fmla="*/ 2147483646 h 190"/>
              <a:gd name="T30" fmla="*/ 2147483646 w 190"/>
              <a:gd name="T31" fmla="*/ 2147483646 h 190"/>
              <a:gd name="T32" fmla="*/ 2147483646 w 190"/>
              <a:gd name="T33" fmla="*/ 2147483646 h 190"/>
              <a:gd name="T34" fmla="*/ 2147483646 w 190"/>
              <a:gd name="T35" fmla="*/ 2147483646 h 190"/>
              <a:gd name="T36" fmla="*/ 2147483646 w 190"/>
              <a:gd name="T37" fmla="*/ 2147483646 h 190"/>
              <a:gd name="T38" fmla="*/ 2147483646 w 190"/>
              <a:gd name="T39" fmla="*/ 2147483646 h 190"/>
              <a:gd name="T40" fmla="*/ 2147483646 w 190"/>
              <a:gd name="T41" fmla="*/ 2147483646 h 190"/>
              <a:gd name="T42" fmla="*/ 2147483646 w 190"/>
              <a:gd name="T43" fmla="*/ 2147483646 h 190"/>
              <a:gd name="T44" fmla="*/ 2147483646 w 190"/>
              <a:gd name="T45" fmla="*/ 2147483646 h 190"/>
              <a:gd name="T46" fmla="*/ 2147483646 w 190"/>
              <a:gd name="T47" fmla="*/ 2147483646 h 190"/>
              <a:gd name="T48" fmla="*/ 2147483646 w 190"/>
              <a:gd name="T49" fmla="*/ 2147483646 h 190"/>
              <a:gd name="T50" fmla="*/ 2147483646 w 190"/>
              <a:gd name="T51" fmla="*/ 2147483646 h 190"/>
              <a:gd name="T52" fmla="*/ 2147483646 w 190"/>
              <a:gd name="T53" fmla="*/ 2147483646 h 190"/>
              <a:gd name="T54" fmla="*/ 2147483646 w 190"/>
              <a:gd name="T55" fmla="*/ 2147483646 h 190"/>
              <a:gd name="T56" fmla="*/ 2147483646 w 190"/>
              <a:gd name="T57" fmla="*/ 2147483646 h 190"/>
              <a:gd name="T58" fmla="*/ 2147483646 w 190"/>
              <a:gd name="T59" fmla="*/ 2147483646 h 190"/>
              <a:gd name="T60" fmla="*/ 2147483646 w 190"/>
              <a:gd name="T61" fmla="*/ 2147483646 h 190"/>
              <a:gd name="T62" fmla="*/ 2147483646 w 190"/>
              <a:gd name="T63" fmla="*/ 2147483646 h 190"/>
              <a:gd name="T64" fmla="*/ 2147483646 w 190"/>
              <a:gd name="T65" fmla="*/ 2147483646 h 190"/>
              <a:gd name="T66" fmla="*/ 2147483646 w 190"/>
              <a:gd name="T67" fmla="*/ 2147483646 h 190"/>
              <a:gd name="T68" fmla="*/ 2147483646 w 190"/>
              <a:gd name="T69" fmla="*/ 2147483646 h 190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w 190"/>
              <a:gd name="T106" fmla="*/ 0 h 190"/>
              <a:gd name="T107" fmla="*/ 190 w 190"/>
              <a:gd name="T108" fmla="*/ 190 h 190"/>
            </a:gdLst>
            <a:ahLst/>
            <a:cxnLst>
              <a:cxn ang="T70">
                <a:pos x="T0" y="T1"/>
              </a:cxn>
              <a:cxn ang="T71">
                <a:pos x="T2" y="T3"/>
              </a:cxn>
              <a:cxn ang="T72">
                <a:pos x="T4" y="T5"/>
              </a:cxn>
              <a:cxn ang="T73">
                <a:pos x="T6" y="T7"/>
              </a:cxn>
              <a:cxn ang="T74">
                <a:pos x="T8" y="T9"/>
              </a:cxn>
              <a:cxn ang="T75">
                <a:pos x="T10" y="T11"/>
              </a:cxn>
              <a:cxn ang="T76">
                <a:pos x="T12" y="T13"/>
              </a:cxn>
              <a:cxn ang="T77">
                <a:pos x="T14" y="T15"/>
              </a:cxn>
              <a:cxn ang="T78">
                <a:pos x="T16" y="T17"/>
              </a:cxn>
              <a:cxn ang="T79">
                <a:pos x="T18" y="T19"/>
              </a:cxn>
              <a:cxn ang="T80">
                <a:pos x="T20" y="T21"/>
              </a:cxn>
              <a:cxn ang="T81">
                <a:pos x="T22" y="T23"/>
              </a:cxn>
              <a:cxn ang="T82">
                <a:pos x="T24" y="T25"/>
              </a:cxn>
              <a:cxn ang="T83">
                <a:pos x="T26" y="T27"/>
              </a:cxn>
              <a:cxn ang="T84">
                <a:pos x="T28" y="T29"/>
              </a:cxn>
              <a:cxn ang="T85">
                <a:pos x="T30" y="T31"/>
              </a:cxn>
              <a:cxn ang="T86">
                <a:pos x="T32" y="T33"/>
              </a:cxn>
              <a:cxn ang="T87">
                <a:pos x="T34" y="T35"/>
              </a:cxn>
              <a:cxn ang="T88">
                <a:pos x="T36" y="T37"/>
              </a:cxn>
              <a:cxn ang="T89">
                <a:pos x="T38" y="T39"/>
              </a:cxn>
              <a:cxn ang="T90">
                <a:pos x="T40" y="T41"/>
              </a:cxn>
              <a:cxn ang="T91">
                <a:pos x="T42" y="T43"/>
              </a:cxn>
              <a:cxn ang="T92">
                <a:pos x="T44" y="T45"/>
              </a:cxn>
              <a:cxn ang="T93">
                <a:pos x="T46" y="T47"/>
              </a:cxn>
              <a:cxn ang="T94">
                <a:pos x="T48" y="T49"/>
              </a:cxn>
              <a:cxn ang="T95">
                <a:pos x="T50" y="T51"/>
              </a:cxn>
              <a:cxn ang="T96">
                <a:pos x="T52" y="T53"/>
              </a:cxn>
              <a:cxn ang="T97">
                <a:pos x="T54" y="T55"/>
              </a:cxn>
              <a:cxn ang="T98">
                <a:pos x="T56" y="T57"/>
              </a:cxn>
              <a:cxn ang="T99">
                <a:pos x="T58" y="T59"/>
              </a:cxn>
              <a:cxn ang="T100">
                <a:pos x="T60" y="T61"/>
              </a:cxn>
              <a:cxn ang="T101">
                <a:pos x="T62" y="T63"/>
              </a:cxn>
              <a:cxn ang="T102">
                <a:pos x="T64" y="T65"/>
              </a:cxn>
              <a:cxn ang="T103">
                <a:pos x="T66" y="T67"/>
              </a:cxn>
              <a:cxn ang="T104">
                <a:pos x="T68" y="T69"/>
              </a:cxn>
            </a:cxnLst>
            <a:rect l="T105" t="T106" r="T107" b="T108"/>
            <a:pathLst>
              <a:path w="190" h="190">
                <a:moveTo>
                  <a:pt x="190" y="184"/>
                </a:moveTo>
                <a:lnTo>
                  <a:pt x="190" y="180"/>
                </a:lnTo>
                <a:lnTo>
                  <a:pt x="190" y="164"/>
                </a:lnTo>
                <a:lnTo>
                  <a:pt x="190" y="152"/>
                </a:lnTo>
                <a:lnTo>
                  <a:pt x="190" y="124"/>
                </a:lnTo>
                <a:lnTo>
                  <a:pt x="190" y="110"/>
                </a:lnTo>
                <a:lnTo>
                  <a:pt x="190" y="108"/>
                </a:lnTo>
                <a:lnTo>
                  <a:pt x="190" y="98"/>
                </a:lnTo>
                <a:lnTo>
                  <a:pt x="190" y="94"/>
                </a:lnTo>
                <a:lnTo>
                  <a:pt x="190" y="92"/>
                </a:lnTo>
                <a:lnTo>
                  <a:pt x="190" y="90"/>
                </a:lnTo>
                <a:lnTo>
                  <a:pt x="190" y="82"/>
                </a:lnTo>
                <a:lnTo>
                  <a:pt x="190" y="76"/>
                </a:lnTo>
                <a:lnTo>
                  <a:pt x="190" y="30"/>
                </a:lnTo>
                <a:lnTo>
                  <a:pt x="160" y="20"/>
                </a:lnTo>
                <a:lnTo>
                  <a:pt x="142" y="14"/>
                </a:lnTo>
                <a:lnTo>
                  <a:pt x="128" y="10"/>
                </a:lnTo>
                <a:lnTo>
                  <a:pt x="100" y="8"/>
                </a:lnTo>
                <a:lnTo>
                  <a:pt x="84" y="8"/>
                </a:lnTo>
                <a:lnTo>
                  <a:pt x="72" y="4"/>
                </a:lnTo>
                <a:lnTo>
                  <a:pt x="60" y="0"/>
                </a:lnTo>
                <a:lnTo>
                  <a:pt x="56" y="2"/>
                </a:lnTo>
                <a:lnTo>
                  <a:pt x="50" y="0"/>
                </a:lnTo>
                <a:lnTo>
                  <a:pt x="50" y="2"/>
                </a:lnTo>
                <a:lnTo>
                  <a:pt x="48" y="4"/>
                </a:lnTo>
                <a:lnTo>
                  <a:pt x="46" y="8"/>
                </a:lnTo>
                <a:lnTo>
                  <a:pt x="42" y="12"/>
                </a:lnTo>
                <a:lnTo>
                  <a:pt x="38" y="20"/>
                </a:lnTo>
                <a:lnTo>
                  <a:pt x="32" y="30"/>
                </a:lnTo>
                <a:lnTo>
                  <a:pt x="32" y="34"/>
                </a:lnTo>
                <a:lnTo>
                  <a:pt x="32" y="36"/>
                </a:lnTo>
                <a:lnTo>
                  <a:pt x="30" y="38"/>
                </a:lnTo>
                <a:lnTo>
                  <a:pt x="30" y="46"/>
                </a:lnTo>
                <a:lnTo>
                  <a:pt x="26" y="50"/>
                </a:lnTo>
                <a:lnTo>
                  <a:pt x="26" y="54"/>
                </a:lnTo>
                <a:lnTo>
                  <a:pt x="26" y="56"/>
                </a:lnTo>
                <a:lnTo>
                  <a:pt x="26" y="58"/>
                </a:lnTo>
                <a:lnTo>
                  <a:pt x="26" y="68"/>
                </a:lnTo>
                <a:lnTo>
                  <a:pt x="30" y="72"/>
                </a:lnTo>
                <a:lnTo>
                  <a:pt x="30" y="80"/>
                </a:lnTo>
                <a:lnTo>
                  <a:pt x="30" y="88"/>
                </a:lnTo>
                <a:lnTo>
                  <a:pt x="26" y="92"/>
                </a:lnTo>
                <a:lnTo>
                  <a:pt x="24" y="98"/>
                </a:lnTo>
                <a:lnTo>
                  <a:pt x="22" y="100"/>
                </a:lnTo>
                <a:lnTo>
                  <a:pt x="18" y="102"/>
                </a:lnTo>
                <a:lnTo>
                  <a:pt x="18" y="104"/>
                </a:lnTo>
                <a:lnTo>
                  <a:pt x="14" y="108"/>
                </a:lnTo>
                <a:lnTo>
                  <a:pt x="12" y="110"/>
                </a:lnTo>
                <a:lnTo>
                  <a:pt x="6" y="112"/>
                </a:lnTo>
                <a:lnTo>
                  <a:pt x="6" y="116"/>
                </a:lnTo>
                <a:lnTo>
                  <a:pt x="4" y="118"/>
                </a:lnTo>
                <a:lnTo>
                  <a:pt x="4" y="120"/>
                </a:lnTo>
                <a:lnTo>
                  <a:pt x="2" y="122"/>
                </a:lnTo>
                <a:lnTo>
                  <a:pt x="2" y="124"/>
                </a:lnTo>
                <a:lnTo>
                  <a:pt x="0" y="126"/>
                </a:lnTo>
                <a:lnTo>
                  <a:pt x="2" y="130"/>
                </a:lnTo>
                <a:lnTo>
                  <a:pt x="2" y="136"/>
                </a:lnTo>
                <a:lnTo>
                  <a:pt x="4" y="140"/>
                </a:lnTo>
                <a:lnTo>
                  <a:pt x="4" y="142"/>
                </a:lnTo>
                <a:lnTo>
                  <a:pt x="6" y="144"/>
                </a:lnTo>
                <a:lnTo>
                  <a:pt x="6" y="146"/>
                </a:lnTo>
                <a:lnTo>
                  <a:pt x="6" y="152"/>
                </a:lnTo>
                <a:lnTo>
                  <a:pt x="6" y="158"/>
                </a:lnTo>
                <a:lnTo>
                  <a:pt x="6" y="160"/>
                </a:lnTo>
                <a:lnTo>
                  <a:pt x="6" y="162"/>
                </a:lnTo>
                <a:lnTo>
                  <a:pt x="6" y="164"/>
                </a:lnTo>
                <a:lnTo>
                  <a:pt x="6" y="166"/>
                </a:lnTo>
                <a:lnTo>
                  <a:pt x="4" y="170"/>
                </a:lnTo>
                <a:lnTo>
                  <a:pt x="4" y="172"/>
                </a:lnTo>
                <a:lnTo>
                  <a:pt x="190" y="190"/>
                </a:lnTo>
                <a:lnTo>
                  <a:pt x="190" y="184"/>
                </a:lnTo>
                <a:close/>
              </a:path>
            </a:pathLst>
          </a:custGeom>
          <a:solidFill>
            <a:srgbClr val="F1B728"/>
          </a:solidFill>
          <a:ln w="6350">
            <a:solidFill>
              <a:schemeClr val="tx1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457200">
              <a:defRPr/>
            </a:pPr>
            <a:endParaRPr lang="en-US" kern="0" dirty="0">
              <a:solidFill>
                <a:prstClr val="black"/>
              </a:solidFill>
              <a:highlight>
                <a:srgbClr val="008000"/>
              </a:highlight>
              <a:latin typeface="Calibri" panose="020F0502020204030204"/>
            </a:endParaRPr>
          </a:p>
        </p:txBody>
      </p:sp>
      <p:sp>
        <p:nvSpPr>
          <p:cNvPr id="148" name="Freeform 26">
            <a:extLst>
              <a:ext uri="{FF2B5EF4-FFF2-40B4-BE49-F238E27FC236}">
                <a16:creationId xmlns:a16="http://schemas.microsoft.com/office/drawing/2014/main" id="{5505DE14-32DB-E268-B6BC-5A5084A682C6}"/>
              </a:ext>
            </a:extLst>
          </p:cNvPr>
          <p:cNvSpPr>
            <a:spLocks/>
          </p:cNvSpPr>
          <p:nvPr/>
        </p:nvSpPr>
        <p:spPr bwMode="auto">
          <a:xfrm>
            <a:off x="4119880" y="990600"/>
            <a:ext cx="160020" cy="347980"/>
          </a:xfrm>
          <a:custGeom>
            <a:avLst/>
            <a:gdLst>
              <a:gd name="T0" fmla="*/ 2147483646 w 126"/>
              <a:gd name="T1" fmla="*/ 2147483646 h 274"/>
              <a:gd name="T2" fmla="*/ 2147483646 w 126"/>
              <a:gd name="T3" fmla="*/ 2147483646 h 274"/>
              <a:gd name="T4" fmla="*/ 2147483646 w 126"/>
              <a:gd name="T5" fmla="*/ 2147483646 h 274"/>
              <a:gd name="T6" fmla="*/ 2147483646 w 126"/>
              <a:gd name="T7" fmla="*/ 2147483646 h 274"/>
              <a:gd name="T8" fmla="*/ 2147483646 w 126"/>
              <a:gd name="T9" fmla="*/ 2147483646 h 274"/>
              <a:gd name="T10" fmla="*/ 2147483646 w 126"/>
              <a:gd name="T11" fmla="*/ 0 h 274"/>
              <a:gd name="T12" fmla="*/ 2147483646 w 126"/>
              <a:gd name="T13" fmla="*/ 2147483646 h 274"/>
              <a:gd name="T14" fmla="*/ 2147483646 w 126"/>
              <a:gd name="T15" fmla="*/ 2147483646 h 274"/>
              <a:gd name="T16" fmla="*/ 2147483646 w 126"/>
              <a:gd name="T17" fmla="*/ 2147483646 h 274"/>
              <a:gd name="T18" fmla="*/ 2147483646 w 126"/>
              <a:gd name="T19" fmla="*/ 2147483646 h 274"/>
              <a:gd name="T20" fmla="*/ 2147483646 w 126"/>
              <a:gd name="T21" fmla="*/ 2147483646 h 274"/>
              <a:gd name="T22" fmla="*/ 2147483646 w 126"/>
              <a:gd name="T23" fmla="*/ 2147483646 h 274"/>
              <a:gd name="T24" fmla="*/ 2147483646 w 126"/>
              <a:gd name="T25" fmla="*/ 2147483646 h 274"/>
              <a:gd name="T26" fmla="*/ 2147483646 w 126"/>
              <a:gd name="T27" fmla="*/ 2147483646 h 274"/>
              <a:gd name="T28" fmla="*/ 2147483646 w 126"/>
              <a:gd name="T29" fmla="*/ 2147483646 h 274"/>
              <a:gd name="T30" fmla="*/ 2147483646 w 126"/>
              <a:gd name="T31" fmla="*/ 2147483646 h 274"/>
              <a:gd name="T32" fmla="*/ 2147483646 w 126"/>
              <a:gd name="T33" fmla="*/ 2147483646 h 274"/>
              <a:gd name="T34" fmla="*/ 2147483646 w 126"/>
              <a:gd name="T35" fmla="*/ 2147483646 h 274"/>
              <a:gd name="T36" fmla="*/ 2147483646 w 126"/>
              <a:gd name="T37" fmla="*/ 2147483646 h 274"/>
              <a:gd name="T38" fmla="*/ 2147483646 w 126"/>
              <a:gd name="T39" fmla="*/ 2147483646 h 274"/>
              <a:gd name="T40" fmla="*/ 2147483646 w 126"/>
              <a:gd name="T41" fmla="*/ 2147483646 h 274"/>
              <a:gd name="T42" fmla="*/ 2147483646 w 126"/>
              <a:gd name="T43" fmla="*/ 2147483646 h 274"/>
              <a:gd name="T44" fmla="*/ 2147483646 w 126"/>
              <a:gd name="T45" fmla="*/ 2147483646 h 274"/>
              <a:gd name="T46" fmla="*/ 2147483646 w 126"/>
              <a:gd name="T47" fmla="*/ 2147483646 h 274"/>
              <a:gd name="T48" fmla="*/ 0 w 126"/>
              <a:gd name="T49" fmla="*/ 2147483646 h 274"/>
              <a:gd name="T50" fmla="*/ 0 w 126"/>
              <a:gd name="T51" fmla="*/ 2147483646 h 274"/>
              <a:gd name="T52" fmla="*/ 2147483646 w 126"/>
              <a:gd name="T53" fmla="*/ 2147483646 h 274"/>
              <a:gd name="T54" fmla="*/ 2147483646 w 126"/>
              <a:gd name="T55" fmla="*/ 2147483646 h 274"/>
              <a:gd name="T56" fmla="*/ 2147483646 w 126"/>
              <a:gd name="T57" fmla="*/ 2147483646 h 274"/>
              <a:gd name="T58" fmla="*/ 2147483646 w 126"/>
              <a:gd name="T59" fmla="*/ 2147483646 h 274"/>
              <a:gd name="T60" fmla="*/ 2147483646 w 126"/>
              <a:gd name="T61" fmla="*/ 2147483646 h 274"/>
              <a:gd name="T62" fmla="*/ 2147483646 w 126"/>
              <a:gd name="T63" fmla="*/ 2147483646 h 274"/>
              <a:gd name="T64" fmla="*/ 2147483646 w 126"/>
              <a:gd name="T65" fmla="*/ 2147483646 h 274"/>
              <a:gd name="T66" fmla="*/ 2147483646 w 126"/>
              <a:gd name="T67" fmla="*/ 2147483646 h 274"/>
              <a:gd name="T68" fmla="*/ 2147483646 w 126"/>
              <a:gd name="T69" fmla="*/ 2147483646 h 274"/>
              <a:gd name="T70" fmla="*/ 2147483646 w 126"/>
              <a:gd name="T71" fmla="*/ 2147483646 h 274"/>
              <a:gd name="T72" fmla="*/ 2147483646 w 126"/>
              <a:gd name="T73" fmla="*/ 2147483646 h 274"/>
              <a:gd name="T74" fmla="*/ 2147483646 w 126"/>
              <a:gd name="T75" fmla="*/ 2147483646 h 274"/>
              <a:gd name="T76" fmla="*/ 2147483646 w 126"/>
              <a:gd name="T77" fmla="*/ 2147483646 h 274"/>
              <a:gd name="T78" fmla="*/ 2147483646 w 126"/>
              <a:gd name="T79" fmla="*/ 2147483646 h 274"/>
              <a:gd name="T80" fmla="*/ 2147483646 w 126"/>
              <a:gd name="T81" fmla="*/ 2147483646 h 274"/>
              <a:gd name="T82" fmla="*/ 2147483646 w 126"/>
              <a:gd name="T83" fmla="*/ 2147483646 h 274"/>
              <a:gd name="T84" fmla="*/ 2147483646 w 126"/>
              <a:gd name="T85" fmla="*/ 2147483646 h 274"/>
              <a:gd name="T86" fmla="*/ 2147483646 w 126"/>
              <a:gd name="T87" fmla="*/ 2147483646 h 274"/>
              <a:gd name="T88" fmla="*/ 2147483646 w 126"/>
              <a:gd name="T89" fmla="*/ 2147483646 h 274"/>
              <a:gd name="T90" fmla="*/ 2147483646 w 126"/>
              <a:gd name="T91" fmla="*/ 2147483646 h 274"/>
              <a:gd name="T92" fmla="*/ 2147483646 w 126"/>
              <a:gd name="T93" fmla="*/ 2147483646 h 274"/>
              <a:gd name="T94" fmla="*/ 2147483646 w 126"/>
              <a:gd name="T95" fmla="*/ 2147483646 h 274"/>
              <a:gd name="T96" fmla="*/ 2147483646 w 126"/>
              <a:gd name="T97" fmla="*/ 2147483646 h 274"/>
              <a:gd name="T98" fmla="*/ 2147483646 w 126"/>
              <a:gd name="T99" fmla="*/ 2147483646 h 274"/>
              <a:gd name="T100" fmla="*/ 2147483646 w 126"/>
              <a:gd name="T101" fmla="*/ 2147483646 h 274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w 126"/>
              <a:gd name="T154" fmla="*/ 0 h 274"/>
              <a:gd name="T155" fmla="*/ 126 w 126"/>
              <a:gd name="T156" fmla="*/ 274 h 274"/>
            </a:gdLst>
            <a:ahLst/>
            <a:cxnLst>
              <a:cxn ang="T102">
                <a:pos x="T0" y="T1"/>
              </a:cxn>
              <a:cxn ang="T103">
                <a:pos x="T2" y="T3"/>
              </a:cxn>
              <a:cxn ang="T104">
                <a:pos x="T4" y="T5"/>
              </a:cxn>
              <a:cxn ang="T105">
                <a:pos x="T6" y="T7"/>
              </a:cxn>
              <a:cxn ang="T106">
                <a:pos x="T8" y="T9"/>
              </a:cxn>
              <a:cxn ang="T107">
                <a:pos x="T10" y="T11"/>
              </a:cxn>
              <a:cxn ang="T108">
                <a:pos x="T12" y="T13"/>
              </a:cxn>
              <a:cxn ang="T109">
                <a:pos x="T14" y="T15"/>
              </a:cxn>
              <a:cxn ang="T110">
                <a:pos x="T16" y="T17"/>
              </a:cxn>
              <a:cxn ang="T111">
                <a:pos x="T18" y="T19"/>
              </a:cxn>
              <a:cxn ang="T112">
                <a:pos x="T20" y="T21"/>
              </a:cxn>
              <a:cxn ang="T113">
                <a:pos x="T22" y="T23"/>
              </a:cxn>
              <a:cxn ang="T114">
                <a:pos x="T24" y="T25"/>
              </a:cxn>
              <a:cxn ang="T115">
                <a:pos x="T26" y="T27"/>
              </a:cxn>
              <a:cxn ang="T116">
                <a:pos x="T28" y="T29"/>
              </a:cxn>
              <a:cxn ang="T117">
                <a:pos x="T30" y="T31"/>
              </a:cxn>
              <a:cxn ang="T118">
                <a:pos x="T32" y="T33"/>
              </a:cxn>
              <a:cxn ang="T119">
                <a:pos x="T34" y="T35"/>
              </a:cxn>
              <a:cxn ang="T120">
                <a:pos x="T36" y="T37"/>
              </a:cxn>
              <a:cxn ang="T121">
                <a:pos x="T38" y="T39"/>
              </a:cxn>
              <a:cxn ang="T122">
                <a:pos x="T40" y="T41"/>
              </a:cxn>
              <a:cxn ang="T123">
                <a:pos x="T42" y="T43"/>
              </a:cxn>
              <a:cxn ang="T124">
                <a:pos x="T44" y="T45"/>
              </a:cxn>
              <a:cxn ang="T125">
                <a:pos x="T46" y="T47"/>
              </a:cxn>
              <a:cxn ang="T126">
                <a:pos x="T48" y="T49"/>
              </a:cxn>
              <a:cxn ang="T127">
                <a:pos x="T50" y="T51"/>
              </a:cxn>
              <a:cxn ang="T128">
                <a:pos x="T52" y="T53"/>
              </a:cxn>
              <a:cxn ang="T129">
                <a:pos x="T54" y="T55"/>
              </a:cxn>
              <a:cxn ang="T130">
                <a:pos x="T56" y="T57"/>
              </a:cxn>
              <a:cxn ang="T131">
                <a:pos x="T58" y="T59"/>
              </a:cxn>
              <a:cxn ang="T132">
                <a:pos x="T60" y="T61"/>
              </a:cxn>
              <a:cxn ang="T133">
                <a:pos x="T62" y="T63"/>
              </a:cxn>
              <a:cxn ang="T134">
                <a:pos x="T64" y="T65"/>
              </a:cxn>
              <a:cxn ang="T135">
                <a:pos x="T66" y="T67"/>
              </a:cxn>
              <a:cxn ang="T136">
                <a:pos x="T68" y="T69"/>
              </a:cxn>
              <a:cxn ang="T137">
                <a:pos x="T70" y="T71"/>
              </a:cxn>
              <a:cxn ang="T138">
                <a:pos x="T72" y="T73"/>
              </a:cxn>
              <a:cxn ang="T139">
                <a:pos x="T74" y="T75"/>
              </a:cxn>
              <a:cxn ang="T140">
                <a:pos x="T76" y="T77"/>
              </a:cxn>
              <a:cxn ang="T141">
                <a:pos x="T78" y="T79"/>
              </a:cxn>
              <a:cxn ang="T142">
                <a:pos x="T80" y="T81"/>
              </a:cxn>
              <a:cxn ang="T143">
                <a:pos x="T82" y="T83"/>
              </a:cxn>
              <a:cxn ang="T144">
                <a:pos x="T84" y="T85"/>
              </a:cxn>
              <a:cxn ang="T145">
                <a:pos x="T86" y="T87"/>
              </a:cxn>
              <a:cxn ang="T146">
                <a:pos x="T88" y="T89"/>
              </a:cxn>
              <a:cxn ang="T147">
                <a:pos x="T90" y="T91"/>
              </a:cxn>
              <a:cxn ang="T148">
                <a:pos x="T92" y="T93"/>
              </a:cxn>
              <a:cxn ang="T149">
                <a:pos x="T94" y="T95"/>
              </a:cxn>
              <a:cxn ang="T150">
                <a:pos x="T96" y="T97"/>
              </a:cxn>
              <a:cxn ang="T151">
                <a:pos x="T98" y="T99"/>
              </a:cxn>
              <a:cxn ang="T152">
                <a:pos x="T100" y="T101"/>
              </a:cxn>
            </a:cxnLst>
            <a:rect l="T153" t="T154" r="T155" b="T156"/>
            <a:pathLst>
              <a:path w="126" h="274">
                <a:moveTo>
                  <a:pt x="126" y="268"/>
                </a:moveTo>
                <a:lnTo>
                  <a:pt x="126" y="190"/>
                </a:lnTo>
                <a:lnTo>
                  <a:pt x="126" y="186"/>
                </a:lnTo>
                <a:lnTo>
                  <a:pt x="126" y="182"/>
                </a:lnTo>
                <a:lnTo>
                  <a:pt x="126" y="178"/>
                </a:lnTo>
                <a:lnTo>
                  <a:pt x="124" y="132"/>
                </a:lnTo>
                <a:lnTo>
                  <a:pt x="124" y="92"/>
                </a:lnTo>
                <a:lnTo>
                  <a:pt x="124" y="64"/>
                </a:lnTo>
                <a:lnTo>
                  <a:pt x="124" y="54"/>
                </a:lnTo>
                <a:lnTo>
                  <a:pt x="124" y="52"/>
                </a:lnTo>
                <a:lnTo>
                  <a:pt x="124" y="20"/>
                </a:lnTo>
                <a:lnTo>
                  <a:pt x="124" y="0"/>
                </a:lnTo>
                <a:lnTo>
                  <a:pt x="122" y="0"/>
                </a:lnTo>
                <a:lnTo>
                  <a:pt x="118" y="2"/>
                </a:lnTo>
                <a:lnTo>
                  <a:pt x="114" y="4"/>
                </a:lnTo>
                <a:lnTo>
                  <a:pt x="108" y="6"/>
                </a:lnTo>
                <a:lnTo>
                  <a:pt x="106" y="6"/>
                </a:lnTo>
                <a:lnTo>
                  <a:pt x="100" y="8"/>
                </a:lnTo>
                <a:lnTo>
                  <a:pt x="98" y="8"/>
                </a:lnTo>
                <a:lnTo>
                  <a:pt x="94" y="14"/>
                </a:lnTo>
                <a:lnTo>
                  <a:pt x="90" y="16"/>
                </a:lnTo>
                <a:lnTo>
                  <a:pt x="86" y="20"/>
                </a:lnTo>
                <a:lnTo>
                  <a:pt x="80" y="22"/>
                </a:lnTo>
                <a:lnTo>
                  <a:pt x="78" y="24"/>
                </a:lnTo>
                <a:lnTo>
                  <a:pt x="76" y="24"/>
                </a:lnTo>
                <a:lnTo>
                  <a:pt x="74" y="24"/>
                </a:lnTo>
                <a:lnTo>
                  <a:pt x="70" y="24"/>
                </a:lnTo>
                <a:lnTo>
                  <a:pt x="66" y="20"/>
                </a:lnTo>
                <a:lnTo>
                  <a:pt x="64" y="18"/>
                </a:lnTo>
                <a:lnTo>
                  <a:pt x="60" y="16"/>
                </a:lnTo>
                <a:lnTo>
                  <a:pt x="56" y="14"/>
                </a:lnTo>
                <a:lnTo>
                  <a:pt x="54" y="14"/>
                </a:lnTo>
                <a:lnTo>
                  <a:pt x="46" y="14"/>
                </a:lnTo>
                <a:lnTo>
                  <a:pt x="44" y="16"/>
                </a:lnTo>
                <a:lnTo>
                  <a:pt x="40" y="18"/>
                </a:lnTo>
                <a:lnTo>
                  <a:pt x="36" y="20"/>
                </a:lnTo>
                <a:lnTo>
                  <a:pt x="30" y="22"/>
                </a:lnTo>
                <a:lnTo>
                  <a:pt x="28" y="24"/>
                </a:lnTo>
                <a:lnTo>
                  <a:pt x="24" y="26"/>
                </a:lnTo>
                <a:lnTo>
                  <a:pt x="22" y="28"/>
                </a:lnTo>
                <a:lnTo>
                  <a:pt x="22" y="32"/>
                </a:lnTo>
                <a:lnTo>
                  <a:pt x="20" y="36"/>
                </a:lnTo>
                <a:lnTo>
                  <a:pt x="16" y="40"/>
                </a:lnTo>
                <a:lnTo>
                  <a:pt x="12" y="42"/>
                </a:lnTo>
                <a:lnTo>
                  <a:pt x="8" y="46"/>
                </a:lnTo>
                <a:lnTo>
                  <a:pt x="4" y="50"/>
                </a:lnTo>
                <a:lnTo>
                  <a:pt x="4" y="52"/>
                </a:lnTo>
                <a:lnTo>
                  <a:pt x="4" y="54"/>
                </a:lnTo>
                <a:lnTo>
                  <a:pt x="2" y="56"/>
                </a:lnTo>
                <a:lnTo>
                  <a:pt x="0" y="58"/>
                </a:lnTo>
                <a:lnTo>
                  <a:pt x="0" y="62"/>
                </a:lnTo>
                <a:lnTo>
                  <a:pt x="0" y="64"/>
                </a:lnTo>
                <a:lnTo>
                  <a:pt x="2" y="72"/>
                </a:lnTo>
                <a:lnTo>
                  <a:pt x="6" y="76"/>
                </a:lnTo>
                <a:lnTo>
                  <a:pt x="18" y="86"/>
                </a:lnTo>
                <a:lnTo>
                  <a:pt x="20" y="90"/>
                </a:lnTo>
                <a:lnTo>
                  <a:pt x="22" y="94"/>
                </a:lnTo>
                <a:lnTo>
                  <a:pt x="24" y="98"/>
                </a:lnTo>
                <a:lnTo>
                  <a:pt x="26" y="104"/>
                </a:lnTo>
                <a:lnTo>
                  <a:pt x="28" y="108"/>
                </a:lnTo>
                <a:lnTo>
                  <a:pt x="28" y="110"/>
                </a:lnTo>
                <a:lnTo>
                  <a:pt x="30" y="110"/>
                </a:lnTo>
                <a:lnTo>
                  <a:pt x="34" y="114"/>
                </a:lnTo>
                <a:lnTo>
                  <a:pt x="34" y="118"/>
                </a:lnTo>
                <a:lnTo>
                  <a:pt x="36" y="122"/>
                </a:lnTo>
                <a:lnTo>
                  <a:pt x="36" y="124"/>
                </a:lnTo>
                <a:lnTo>
                  <a:pt x="36" y="128"/>
                </a:lnTo>
                <a:lnTo>
                  <a:pt x="38" y="132"/>
                </a:lnTo>
                <a:lnTo>
                  <a:pt x="38" y="136"/>
                </a:lnTo>
                <a:lnTo>
                  <a:pt x="40" y="146"/>
                </a:lnTo>
                <a:lnTo>
                  <a:pt x="44" y="154"/>
                </a:lnTo>
                <a:lnTo>
                  <a:pt x="46" y="160"/>
                </a:lnTo>
                <a:lnTo>
                  <a:pt x="48" y="162"/>
                </a:lnTo>
                <a:lnTo>
                  <a:pt x="54" y="168"/>
                </a:lnTo>
                <a:lnTo>
                  <a:pt x="56" y="170"/>
                </a:lnTo>
                <a:lnTo>
                  <a:pt x="58" y="176"/>
                </a:lnTo>
                <a:lnTo>
                  <a:pt x="58" y="178"/>
                </a:lnTo>
                <a:lnTo>
                  <a:pt x="58" y="180"/>
                </a:lnTo>
                <a:lnTo>
                  <a:pt x="58" y="184"/>
                </a:lnTo>
                <a:lnTo>
                  <a:pt x="60" y="184"/>
                </a:lnTo>
                <a:lnTo>
                  <a:pt x="60" y="190"/>
                </a:lnTo>
                <a:lnTo>
                  <a:pt x="58" y="196"/>
                </a:lnTo>
                <a:lnTo>
                  <a:pt x="56" y="204"/>
                </a:lnTo>
                <a:lnTo>
                  <a:pt x="52" y="212"/>
                </a:lnTo>
                <a:lnTo>
                  <a:pt x="48" y="218"/>
                </a:lnTo>
                <a:lnTo>
                  <a:pt x="46" y="224"/>
                </a:lnTo>
                <a:lnTo>
                  <a:pt x="46" y="226"/>
                </a:lnTo>
                <a:lnTo>
                  <a:pt x="44" y="230"/>
                </a:lnTo>
                <a:lnTo>
                  <a:pt x="44" y="236"/>
                </a:lnTo>
                <a:lnTo>
                  <a:pt x="44" y="238"/>
                </a:lnTo>
                <a:lnTo>
                  <a:pt x="44" y="240"/>
                </a:lnTo>
                <a:lnTo>
                  <a:pt x="44" y="250"/>
                </a:lnTo>
                <a:lnTo>
                  <a:pt x="44" y="256"/>
                </a:lnTo>
                <a:lnTo>
                  <a:pt x="44" y="258"/>
                </a:lnTo>
                <a:lnTo>
                  <a:pt x="44" y="260"/>
                </a:lnTo>
                <a:lnTo>
                  <a:pt x="42" y="262"/>
                </a:lnTo>
                <a:lnTo>
                  <a:pt x="42" y="266"/>
                </a:lnTo>
                <a:lnTo>
                  <a:pt x="38" y="268"/>
                </a:lnTo>
                <a:lnTo>
                  <a:pt x="34" y="272"/>
                </a:lnTo>
                <a:lnTo>
                  <a:pt x="30" y="274"/>
                </a:lnTo>
                <a:lnTo>
                  <a:pt x="74" y="268"/>
                </a:lnTo>
                <a:lnTo>
                  <a:pt x="126" y="268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 w="6350">
            <a:solidFill>
              <a:schemeClr val="tx2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457200">
              <a:defRPr/>
            </a:pPr>
            <a:endParaRPr lang="en-US" kern="0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49" name="Freeform 27">
            <a:extLst>
              <a:ext uri="{FF2B5EF4-FFF2-40B4-BE49-F238E27FC236}">
                <a16:creationId xmlns:a16="http://schemas.microsoft.com/office/drawing/2014/main" id="{041F394E-A1AC-BBB4-FE1E-9D65010F1933}"/>
              </a:ext>
            </a:extLst>
          </p:cNvPr>
          <p:cNvSpPr>
            <a:spLocks/>
          </p:cNvSpPr>
          <p:nvPr/>
        </p:nvSpPr>
        <p:spPr bwMode="auto">
          <a:xfrm>
            <a:off x="4102100" y="1330960"/>
            <a:ext cx="177800" cy="345440"/>
          </a:xfrm>
          <a:custGeom>
            <a:avLst/>
            <a:gdLst>
              <a:gd name="T0" fmla="*/ 2147483646 w 140"/>
              <a:gd name="T1" fmla="*/ 2147483646 h 272"/>
              <a:gd name="T2" fmla="*/ 2147483646 w 140"/>
              <a:gd name="T3" fmla="*/ 2147483646 h 272"/>
              <a:gd name="T4" fmla="*/ 2147483646 w 140"/>
              <a:gd name="T5" fmla="*/ 2147483646 h 272"/>
              <a:gd name="T6" fmla="*/ 2147483646 w 140"/>
              <a:gd name="T7" fmla="*/ 2147483646 h 272"/>
              <a:gd name="T8" fmla="*/ 2147483646 w 140"/>
              <a:gd name="T9" fmla="*/ 2147483646 h 272"/>
              <a:gd name="T10" fmla="*/ 2147483646 w 140"/>
              <a:gd name="T11" fmla="*/ 2147483646 h 272"/>
              <a:gd name="T12" fmla="*/ 2147483646 w 140"/>
              <a:gd name="T13" fmla="*/ 2147483646 h 272"/>
              <a:gd name="T14" fmla="*/ 2147483646 w 140"/>
              <a:gd name="T15" fmla="*/ 2147483646 h 272"/>
              <a:gd name="T16" fmla="*/ 2147483646 w 140"/>
              <a:gd name="T17" fmla="*/ 2147483646 h 272"/>
              <a:gd name="T18" fmla="*/ 2147483646 w 140"/>
              <a:gd name="T19" fmla="*/ 0 h 272"/>
              <a:gd name="T20" fmla="*/ 2147483646 w 140"/>
              <a:gd name="T21" fmla="*/ 2147483646 h 272"/>
              <a:gd name="T22" fmla="*/ 2147483646 w 140"/>
              <a:gd name="T23" fmla="*/ 2147483646 h 272"/>
              <a:gd name="T24" fmla="*/ 2147483646 w 140"/>
              <a:gd name="T25" fmla="*/ 2147483646 h 272"/>
              <a:gd name="T26" fmla="*/ 2147483646 w 140"/>
              <a:gd name="T27" fmla="*/ 2147483646 h 272"/>
              <a:gd name="T28" fmla="*/ 2147483646 w 140"/>
              <a:gd name="T29" fmla="*/ 2147483646 h 272"/>
              <a:gd name="T30" fmla="*/ 2147483646 w 140"/>
              <a:gd name="T31" fmla="*/ 2147483646 h 272"/>
              <a:gd name="T32" fmla="*/ 2147483646 w 140"/>
              <a:gd name="T33" fmla="*/ 2147483646 h 272"/>
              <a:gd name="T34" fmla="*/ 2147483646 w 140"/>
              <a:gd name="T35" fmla="*/ 2147483646 h 272"/>
              <a:gd name="T36" fmla="*/ 2147483646 w 140"/>
              <a:gd name="T37" fmla="*/ 2147483646 h 272"/>
              <a:gd name="T38" fmla="*/ 2147483646 w 140"/>
              <a:gd name="T39" fmla="*/ 2147483646 h 272"/>
              <a:gd name="T40" fmla="*/ 2147483646 w 140"/>
              <a:gd name="T41" fmla="*/ 2147483646 h 272"/>
              <a:gd name="T42" fmla="*/ 2147483646 w 140"/>
              <a:gd name="T43" fmla="*/ 2147483646 h 272"/>
              <a:gd name="T44" fmla="*/ 2147483646 w 140"/>
              <a:gd name="T45" fmla="*/ 2147483646 h 272"/>
              <a:gd name="T46" fmla="*/ 2147483646 w 140"/>
              <a:gd name="T47" fmla="*/ 2147483646 h 272"/>
              <a:gd name="T48" fmla="*/ 2147483646 w 140"/>
              <a:gd name="T49" fmla="*/ 2147483646 h 272"/>
              <a:gd name="T50" fmla="*/ 2147483646 w 140"/>
              <a:gd name="T51" fmla="*/ 2147483646 h 272"/>
              <a:gd name="T52" fmla="*/ 2147483646 w 140"/>
              <a:gd name="T53" fmla="*/ 2147483646 h 272"/>
              <a:gd name="T54" fmla="*/ 2147483646 w 140"/>
              <a:gd name="T55" fmla="*/ 2147483646 h 272"/>
              <a:gd name="T56" fmla="*/ 2147483646 w 140"/>
              <a:gd name="T57" fmla="*/ 2147483646 h 272"/>
              <a:gd name="T58" fmla="*/ 2147483646 w 140"/>
              <a:gd name="T59" fmla="*/ 2147483646 h 272"/>
              <a:gd name="T60" fmla="*/ 2147483646 w 140"/>
              <a:gd name="T61" fmla="*/ 2147483646 h 272"/>
              <a:gd name="T62" fmla="*/ 2147483646 w 140"/>
              <a:gd name="T63" fmla="*/ 2147483646 h 272"/>
              <a:gd name="T64" fmla="*/ 2147483646 w 140"/>
              <a:gd name="T65" fmla="*/ 2147483646 h 272"/>
              <a:gd name="T66" fmla="*/ 2147483646 w 140"/>
              <a:gd name="T67" fmla="*/ 2147483646 h 272"/>
              <a:gd name="T68" fmla="*/ 2147483646 w 140"/>
              <a:gd name="T69" fmla="*/ 2147483646 h 272"/>
              <a:gd name="T70" fmla="*/ 2147483646 w 140"/>
              <a:gd name="T71" fmla="*/ 2147483646 h 272"/>
              <a:gd name="T72" fmla="*/ 2147483646 w 140"/>
              <a:gd name="T73" fmla="*/ 2147483646 h 272"/>
              <a:gd name="T74" fmla="*/ 2147483646 w 140"/>
              <a:gd name="T75" fmla="*/ 2147483646 h 272"/>
              <a:gd name="T76" fmla="*/ 2147483646 w 140"/>
              <a:gd name="T77" fmla="*/ 2147483646 h 272"/>
              <a:gd name="T78" fmla="*/ 2147483646 w 140"/>
              <a:gd name="T79" fmla="*/ 2147483646 h 272"/>
              <a:gd name="T80" fmla="*/ 2147483646 w 140"/>
              <a:gd name="T81" fmla="*/ 2147483646 h 272"/>
              <a:gd name="T82" fmla="*/ 2147483646 w 140"/>
              <a:gd name="T83" fmla="*/ 2147483646 h 272"/>
              <a:gd name="T84" fmla="*/ 2147483646 w 140"/>
              <a:gd name="T85" fmla="*/ 2147483646 h 272"/>
              <a:gd name="T86" fmla="*/ 2147483646 w 140"/>
              <a:gd name="T87" fmla="*/ 2147483646 h 272"/>
              <a:gd name="T88" fmla="*/ 2147483646 w 140"/>
              <a:gd name="T89" fmla="*/ 2147483646 h 272"/>
              <a:gd name="T90" fmla="*/ 2147483646 w 140"/>
              <a:gd name="T91" fmla="*/ 2147483646 h 272"/>
              <a:gd name="T92" fmla="*/ 2147483646 w 140"/>
              <a:gd name="T93" fmla="*/ 2147483646 h 272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w 140"/>
              <a:gd name="T142" fmla="*/ 0 h 272"/>
              <a:gd name="T143" fmla="*/ 140 w 140"/>
              <a:gd name="T144" fmla="*/ 272 h 272"/>
            </a:gdLst>
            <a:ahLst/>
            <a:cxnLst>
              <a:cxn ang="T94">
                <a:pos x="T0" y="T1"/>
              </a:cxn>
              <a:cxn ang="T95">
                <a:pos x="T2" y="T3"/>
              </a:cxn>
              <a:cxn ang="T96">
                <a:pos x="T4" y="T5"/>
              </a:cxn>
              <a:cxn ang="T97">
                <a:pos x="T6" y="T7"/>
              </a:cxn>
              <a:cxn ang="T98">
                <a:pos x="T8" y="T9"/>
              </a:cxn>
              <a:cxn ang="T99">
                <a:pos x="T10" y="T11"/>
              </a:cxn>
              <a:cxn ang="T100">
                <a:pos x="T12" y="T13"/>
              </a:cxn>
              <a:cxn ang="T101">
                <a:pos x="T14" y="T15"/>
              </a:cxn>
              <a:cxn ang="T102">
                <a:pos x="T16" y="T17"/>
              </a:cxn>
              <a:cxn ang="T103">
                <a:pos x="T18" y="T19"/>
              </a:cxn>
              <a:cxn ang="T104">
                <a:pos x="T20" y="T21"/>
              </a:cxn>
              <a:cxn ang="T105">
                <a:pos x="T22" y="T23"/>
              </a:cxn>
              <a:cxn ang="T106">
                <a:pos x="T24" y="T25"/>
              </a:cxn>
              <a:cxn ang="T107">
                <a:pos x="T26" y="T27"/>
              </a:cxn>
              <a:cxn ang="T108">
                <a:pos x="T28" y="T29"/>
              </a:cxn>
              <a:cxn ang="T109">
                <a:pos x="T30" y="T31"/>
              </a:cxn>
              <a:cxn ang="T110">
                <a:pos x="T32" y="T33"/>
              </a:cxn>
              <a:cxn ang="T111">
                <a:pos x="T34" y="T35"/>
              </a:cxn>
              <a:cxn ang="T112">
                <a:pos x="T36" y="T37"/>
              </a:cxn>
              <a:cxn ang="T113">
                <a:pos x="T38" y="T39"/>
              </a:cxn>
              <a:cxn ang="T114">
                <a:pos x="T40" y="T41"/>
              </a:cxn>
              <a:cxn ang="T115">
                <a:pos x="T42" y="T43"/>
              </a:cxn>
              <a:cxn ang="T116">
                <a:pos x="T44" y="T45"/>
              </a:cxn>
              <a:cxn ang="T117">
                <a:pos x="T46" y="T47"/>
              </a:cxn>
              <a:cxn ang="T118">
                <a:pos x="T48" y="T49"/>
              </a:cxn>
              <a:cxn ang="T119">
                <a:pos x="T50" y="T51"/>
              </a:cxn>
              <a:cxn ang="T120">
                <a:pos x="T52" y="T53"/>
              </a:cxn>
              <a:cxn ang="T121">
                <a:pos x="T54" y="T55"/>
              </a:cxn>
              <a:cxn ang="T122">
                <a:pos x="T56" y="T57"/>
              </a:cxn>
              <a:cxn ang="T123">
                <a:pos x="T58" y="T59"/>
              </a:cxn>
              <a:cxn ang="T124">
                <a:pos x="T60" y="T61"/>
              </a:cxn>
              <a:cxn ang="T125">
                <a:pos x="T62" y="T63"/>
              </a:cxn>
              <a:cxn ang="T126">
                <a:pos x="T64" y="T65"/>
              </a:cxn>
              <a:cxn ang="T127">
                <a:pos x="T66" y="T67"/>
              </a:cxn>
              <a:cxn ang="T128">
                <a:pos x="T68" y="T69"/>
              </a:cxn>
              <a:cxn ang="T129">
                <a:pos x="T70" y="T71"/>
              </a:cxn>
              <a:cxn ang="T130">
                <a:pos x="T72" y="T73"/>
              </a:cxn>
              <a:cxn ang="T131">
                <a:pos x="T74" y="T75"/>
              </a:cxn>
              <a:cxn ang="T132">
                <a:pos x="T76" y="T77"/>
              </a:cxn>
              <a:cxn ang="T133">
                <a:pos x="T78" y="T79"/>
              </a:cxn>
              <a:cxn ang="T134">
                <a:pos x="T80" y="T81"/>
              </a:cxn>
              <a:cxn ang="T135">
                <a:pos x="T82" y="T83"/>
              </a:cxn>
              <a:cxn ang="T136">
                <a:pos x="T84" y="T85"/>
              </a:cxn>
              <a:cxn ang="T137">
                <a:pos x="T86" y="T87"/>
              </a:cxn>
              <a:cxn ang="T138">
                <a:pos x="T88" y="T89"/>
              </a:cxn>
              <a:cxn ang="T139">
                <a:pos x="T90" y="T91"/>
              </a:cxn>
              <a:cxn ang="T140">
                <a:pos x="T92" y="T93"/>
              </a:cxn>
            </a:cxnLst>
            <a:rect l="T141" t="T142" r="T143" b="T144"/>
            <a:pathLst>
              <a:path w="140" h="272">
                <a:moveTo>
                  <a:pt x="10" y="242"/>
                </a:moveTo>
                <a:lnTo>
                  <a:pt x="22" y="246"/>
                </a:lnTo>
                <a:lnTo>
                  <a:pt x="34" y="250"/>
                </a:lnTo>
                <a:lnTo>
                  <a:pt x="50" y="250"/>
                </a:lnTo>
                <a:lnTo>
                  <a:pt x="78" y="252"/>
                </a:lnTo>
                <a:lnTo>
                  <a:pt x="92" y="256"/>
                </a:lnTo>
                <a:lnTo>
                  <a:pt x="110" y="262"/>
                </a:lnTo>
                <a:lnTo>
                  <a:pt x="140" y="272"/>
                </a:lnTo>
                <a:lnTo>
                  <a:pt x="140" y="234"/>
                </a:lnTo>
                <a:lnTo>
                  <a:pt x="140" y="232"/>
                </a:lnTo>
                <a:lnTo>
                  <a:pt x="140" y="170"/>
                </a:lnTo>
                <a:lnTo>
                  <a:pt x="140" y="168"/>
                </a:lnTo>
                <a:lnTo>
                  <a:pt x="140" y="128"/>
                </a:lnTo>
                <a:lnTo>
                  <a:pt x="140" y="126"/>
                </a:lnTo>
                <a:lnTo>
                  <a:pt x="140" y="58"/>
                </a:lnTo>
                <a:lnTo>
                  <a:pt x="140" y="42"/>
                </a:lnTo>
                <a:lnTo>
                  <a:pt x="140" y="40"/>
                </a:lnTo>
                <a:lnTo>
                  <a:pt x="140" y="10"/>
                </a:lnTo>
                <a:lnTo>
                  <a:pt x="140" y="8"/>
                </a:lnTo>
                <a:lnTo>
                  <a:pt x="140" y="0"/>
                </a:lnTo>
                <a:lnTo>
                  <a:pt x="88" y="0"/>
                </a:lnTo>
                <a:lnTo>
                  <a:pt x="44" y="6"/>
                </a:lnTo>
                <a:lnTo>
                  <a:pt x="44" y="8"/>
                </a:lnTo>
                <a:lnTo>
                  <a:pt x="44" y="10"/>
                </a:lnTo>
                <a:lnTo>
                  <a:pt x="48" y="12"/>
                </a:lnTo>
                <a:lnTo>
                  <a:pt x="50" y="16"/>
                </a:lnTo>
                <a:lnTo>
                  <a:pt x="52" y="18"/>
                </a:lnTo>
                <a:lnTo>
                  <a:pt x="54" y="18"/>
                </a:lnTo>
                <a:lnTo>
                  <a:pt x="56" y="20"/>
                </a:lnTo>
                <a:lnTo>
                  <a:pt x="58" y="22"/>
                </a:lnTo>
                <a:lnTo>
                  <a:pt x="60" y="22"/>
                </a:lnTo>
                <a:lnTo>
                  <a:pt x="62" y="24"/>
                </a:lnTo>
                <a:lnTo>
                  <a:pt x="62" y="28"/>
                </a:lnTo>
                <a:lnTo>
                  <a:pt x="66" y="30"/>
                </a:lnTo>
                <a:lnTo>
                  <a:pt x="66" y="34"/>
                </a:lnTo>
                <a:lnTo>
                  <a:pt x="66" y="36"/>
                </a:lnTo>
                <a:lnTo>
                  <a:pt x="66" y="40"/>
                </a:lnTo>
                <a:lnTo>
                  <a:pt x="62" y="44"/>
                </a:lnTo>
                <a:lnTo>
                  <a:pt x="60" y="48"/>
                </a:lnTo>
                <a:lnTo>
                  <a:pt x="60" y="56"/>
                </a:lnTo>
                <a:lnTo>
                  <a:pt x="60" y="60"/>
                </a:lnTo>
                <a:lnTo>
                  <a:pt x="60" y="64"/>
                </a:lnTo>
                <a:lnTo>
                  <a:pt x="62" y="66"/>
                </a:lnTo>
                <a:lnTo>
                  <a:pt x="66" y="70"/>
                </a:lnTo>
                <a:lnTo>
                  <a:pt x="66" y="72"/>
                </a:lnTo>
                <a:lnTo>
                  <a:pt x="68" y="74"/>
                </a:lnTo>
                <a:lnTo>
                  <a:pt x="68" y="78"/>
                </a:lnTo>
                <a:lnTo>
                  <a:pt x="70" y="80"/>
                </a:lnTo>
                <a:lnTo>
                  <a:pt x="70" y="84"/>
                </a:lnTo>
                <a:lnTo>
                  <a:pt x="70" y="90"/>
                </a:lnTo>
                <a:lnTo>
                  <a:pt x="70" y="96"/>
                </a:lnTo>
                <a:lnTo>
                  <a:pt x="68" y="100"/>
                </a:lnTo>
                <a:lnTo>
                  <a:pt x="68" y="106"/>
                </a:lnTo>
                <a:lnTo>
                  <a:pt x="66" y="108"/>
                </a:lnTo>
                <a:lnTo>
                  <a:pt x="62" y="110"/>
                </a:lnTo>
                <a:lnTo>
                  <a:pt x="62" y="112"/>
                </a:lnTo>
                <a:lnTo>
                  <a:pt x="60" y="112"/>
                </a:lnTo>
                <a:lnTo>
                  <a:pt x="58" y="120"/>
                </a:lnTo>
                <a:lnTo>
                  <a:pt x="56" y="126"/>
                </a:lnTo>
                <a:lnTo>
                  <a:pt x="56" y="128"/>
                </a:lnTo>
                <a:lnTo>
                  <a:pt x="54" y="130"/>
                </a:lnTo>
                <a:lnTo>
                  <a:pt x="56" y="132"/>
                </a:lnTo>
                <a:lnTo>
                  <a:pt x="56" y="134"/>
                </a:lnTo>
                <a:lnTo>
                  <a:pt x="56" y="138"/>
                </a:lnTo>
                <a:lnTo>
                  <a:pt x="56" y="144"/>
                </a:lnTo>
                <a:lnTo>
                  <a:pt x="56" y="148"/>
                </a:lnTo>
                <a:lnTo>
                  <a:pt x="54" y="150"/>
                </a:lnTo>
                <a:lnTo>
                  <a:pt x="54" y="152"/>
                </a:lnTo>
                <a:lnTo>
                  <a:pt x="52" y="152"/>
                </a:lnTo>
                <a:lnTo>
                  <a:pt x="48" y="156"/>
                </a:lnTo>
                <a:lnTo>
                  <a:pt x="44" y="160"/>
                </a:lnTo>
                <a:lnTo>
                  <a:pt x="38" y="164"/>
                </a:lnTo>
                <a:lnTo>
                  <a:pt x="34" y="166"/>
                </a:lnTo>
                <a:lnTo>
                  <a:pt x="26" y="170"/>
                </a:lnTo>
                <a:lnTo>
                  <a:pt x="24" y="174"/>
                </a:lnTo>
                <a:lnTo>
                  <a:pt x="22" y="180"/>
                </a:lnTo>
                <a:lnTo>
                  <a:pt x="22" y="182"/>
                </a:lnTo>
                <a:lnTo>
                  <a:pt x="20" y="184"/>
                </a:lnTo>
                <a:lnTo>
                  <a:pt x="18" y="188"/>
                </a:lnTo>
                <a:lnTo>
                  <a:pt x="18" y="190"/>
                </a:lnTo>
                <a:lnTo>
                  <a:pt x="18" y="192"/>
                </a:lnTo>
                <a:lnTo>
                  <a:pt x="18" y="196"/>
                </a:lnTo>
                <a:lnTo>
                  <a:pt x="16" y="200"/>
                </a:lnTo>
                <a:lnTo>
                  <a:pt x="16" y="202"/>
                </a:lnTo>
                <a:lnTo>
                  <a:pt x="14" y="206"/>
                </a:lnTo>
                <a:lnTo>
                  <a:pt x="14" y="208"/>
                </a:lnTo>
                <a:lnTo>
                  <a:pt x="14" y="216"/>
                </a:lnTo>
                <a:lnTo>
                  <a:pt x="14" y="220"/>
                </a:lnTo>
                <a:lnTo>
                  <a:pt x="10" y="224"/>
                </a:lnTo>
                <a:lnTo>
                  <a:pt x="8" y="228"/>
                </a:lnTo>
                <a:lnTo>
                  <a:pt x="6" y="234"/>
                </a:lnTo>
                <a:lnTo>
                  <a:pt x="4" y="238"/>
                </a:lnTo>
                <a:lnTo>
                  <a:pt x="0" y="242"/>
                </a:lnTo>
                <a:lnTo>
                  <a:pt x="6" y="244"/>
                </a:lnTo>
                <a:lnTo>
                  <a:pt x="10" y="24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 w="6350">
            <a:solidFill>
              <a:schemeClr val="tx2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457200">
              <a:defRPr/>
            </a:pPr>
            <a:endParaRPr lang="en-US" kern="0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50" name="Freeform 28">
            <a:extLst>
              <a:ext uri="{FF2B5EF4-FFF2-40B4-BE49-F238E27FC236}">
                <a16:creationId xmlns:a16="http://schemas.microsoft.com/office/drawing/2014/main" id="{40078182-82CB-6D74-E535-37D1C27CCE80}"/>
              </a:ext>
            </a:extLst>
          </p:cNvPr>
          <p:cNvSpPr>
            <a:spLocks/>
          </p:cNvSpPr>
          <p:nvPr/>
        </p:nvSpPr>
        <p:spPr bwMode="auto">
          <a:xfrm>
            <a:off x="3683000" y="3190240"/>
            <a:ext cx="497840" cy="561340"/>
          </a:xfrm>
          <a:custGeom>
            <a:avLst/>
            <a:gdLst>
              <a:gd name="T0" fmla="*/ 2147483646 w 392"/>
              <a:gd name="T1" fmla="*/ 2147483646 h 442"/>
              <a:gd name="T2" fmla="*/ 2147483646 w 392"/>
              <a:gd name="T3" fmla="*/ 2147483646 h 442"/>
              <a:gd name="T4" fmla="*/ 2147483646 w 392"/>
              <a:gd name="T5" fmla="*/ 2147483646 h 442"/>
              <a:gd name="T6" fmla="*/ 2147483646 w 392"/>
              <a:gd name="T7" fmla="*/ 2147483646 h 442"/>
              <a:gd name="T8" fmla="*/ 2147483646 w 392"/>
              <a:gd name="T9" fmla="*/ 2147483646 h 442"/>
              <a:gd name="T10" fmla="*/ 2147483646 w 392"/>
              <a:gd name="T11" fmla="*/ 2147483646 h 442"/>
              <a:gd name="T12" fmla="*/ 2147483646 w 392"/>
              <a:gd name="T13" fmla="*/ 2147483646 h 442"/>
              <a:gd name="T14" fmla="*/ 2147483646 w 392"/>
              <a:gd name="T15" fmla="*/ 2147483646 h 442"/>
              <a:gd name="T16" fmla="*/ 2147483646 w 392"/>
              <a:gd name="T17" fmla="*/ 2147483646 h 442"/>
              <a:gd name="T18" fmla="*/ 2147483646 w 392"/>
              <a:gd name="T19" fmla="*/ 2147483646 h 442"/>
              <a:gd name="T20" fmla="*/ 2147483646 w 392"/>
              <a:gd name="T21" fmla="*/ 2147483646 h 442"/>
              <a:gd name="T22" fmla="*/ 2147483646 w 392"/>
              <a:gd name="T23" fmla="*/ 2147483646 h 442"/>
              <a:gd name="T24" fmla="*/ 2147483646 w 392"/>
              <a:gd name="T25" fmla="*/ 2147483646 h 442"/>
              <a:gd name="T26" fmla="*/ 2147483646 w 392"/>
              <a:gd name="T27" fmla="*/ 2147483646 h 442"/>
              <a:gd name="T28" fmla="*/ 2147483646 w 392"/>
              <a:gd name="T29" fmla="*/ 2147483646 h 442"/>
              <a:gd name="T30" fmla="*/ 2147483646 w 392"/>
              <a:gd name="T31" fmla="*/ 2147483646 h 442"/>
              <a:gd name="T32" fmla="*/ 2147483646 w 392"/>
              <a:gd name="T33" fmla="*/ 2147483646 h 442"/>
              <a:gd name="T34" fmla="*/ 2147483646 w 392"/>
              <a:gd name="T35" fmla="*/ 2147483646 h 442"/>
              <a:gd name="T36" fmla="*/ 2147483646 w 392"/>
              <a:gd name="T37" fmla="*/ 2147483646 h 442"/>
              <a:gd name="T38" fmla="*/ 2147483646 w 392"/>
              <a:gd name="T39" fmla="*/ 2147483646 h 442"/>
              <a:gd name="T40" fmla="*/ 2147483646 w 392"/>
              <a:gd name="T41" fmla="*/ 2147483646 h 442"/>
              <a:gd name="T42" fmla="*/ 2147483646 w 392"/>
              <a:gd name="T43" fmla="*/ 2147483646 h 442"/>
              <a:gd name="T44" fmla="*/ 2147483646 w 392"/>
              <a:gd name="T45" fmla="*/ 2147483646 h 442"/>
              <a:gd name="T46" fmla="*/ 2147483646 w 392"/>
              <a:gd name="T47" fmla="*/ 2147483646 h 442"/>
              <a:gd name="T48" fmla="*/ 2147483646 w 392"/>
              <a:gd name="T49" fmla="*/ 2147483646 h 442"/>
              <a:gd name="T50" fmla="*/ 2147483646 w 392"/>
              <a:gd name="T51" fmla="*/ 2147483646 h 442"/>
              <a:gd name="T52" fmla="*/ 2147483646 w 392"/>
              <a:gd name="T53" fmla="*/ 2147483646 h 442"/>
              <a:gd name="T54" fmla="*/ 2147483646 w 392"/>
              <a:gd name="T55" fmla="*/ 2147483646 h 442"/>
              <a:gd name="T56" fmla="*/ 2147483646 w 392"/>
              <a:gd name="T57" fmla="*/ 2147483646 h 442"/>
              <a:gd name="T58" fmla="*/ 2147483646 w 392"/>
              <a:gd name="T59" fmla="*/ 2147483646 h 442"/>
              <a:gd name="T60" fmla="*/ 2147483646 w 392"/>
              <a:gd name="T61" fmla="*/ 2147483646 h 442"/>
              <a:gd name="T62" fmla="*/ 2147483646 w 392"/>
              <a:gd name="T63" fmla="*/ 2147483646 h 442"/>
              <a:gd name="T64" fmla="*/ 2147483646 w 392"/>
              <a:gd name="T65" fmla="*/ 2147483646 h 442"/>
              <a:gd name="T66" fmla="*/ 2147483646 w 392"/>
              <a:gd name="T67" fmla="*/ 2147483646 h 442"/>
              <a:gd name="T68" fmla="*/ 2147483646 w 392"/>
              <a:gd name="T69" fmla="*/ 2147483646 h 442"/>
              <a:gd name="T70" fmla="*/ 2147483646 w 392"/>
              <a:gd name="T71" fmla="*/ 2147483646 h 442"/>
              <a:gd name="T72" fmla="*/ 2147483646 w 392"/>
              <a:gd name="T73" fmla="*/ 2147483646 h 442"/>
              <a:gd name="T74" fmla="*/ 2147483646 w 392"/>
              <a:gd name="T75" fmla="*/ 2147483646 h 442"/>
              <a:gd name="T76" fmla="*/ 2147483646 w 392"/>
              <a:gd name="T77" fmla="*/ 2147483646 h 442"/>
              <a:gd name="T78" fmla="*/ 2147483646 w 392"/>
              <a:gd name="T79" fmla="*/ 2147483646 h 442"/>
              <a:gd name="T80" fmla="*/ 2147483646 w 392"/>
              <a:gd name="T81" fmla="*/ 2147483646 h 442"/>
              <a:gd name="T82" fmla="*/ 2147483646 w 392"/>
              <a:gd name="T83" fmla="*/ 2147483646 h 442"/>
              <a:gd name="T84" fmla="*/ 2147483646 w 392"/>
              <a:gd name="T85" fmla="*/ 2147483646 h 442"/>
              <a:gd name="T86" fmla="*/ 2147483646 w 392"/>
              <a:gd name="T87" fmla="*/ 2147483646 h 442"/>
              <a:gd name="T88" fmla="*/ 2147483646 w 392"/>
              <a:gd name="T89" fmla="*/ 2147483646 h 442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w 392"/>
              <a:gd name="T136" fmla="*/ 0 h 442"/>
              <a:gd name="T137" fmla="*/ 392 w 392"/>
              <a:gd name="T138" fmla="*/ 442 h 442"/>
            </a:gdLst>
            <a:ahLst/>
            <a:cxnLst>
              <a:cxn ang="T90">
                <a:pos x="T0" y="T1"/>
              </a:cxn>
              <a:cxn ang="T91">
                <a:pos x="T2" y="T3"/>
              </a:cxn>
              <a:cxn ang="T92">
                <a:pos x="T4" y="T5"/>
              </a:cxn>
              <a:cxn ang="T93">
                <a:pos x="T6" y="T7"/>
              </a:cxn>
              <a:cxn ang="T94">
                <a:pos x="T8" y="T9"/>
              </a:cxn>
              <a:cxn ang="T95">
                <a:pos x="T10" y="T11"/>
              </a:cxn>
              <a:cxn ang="T96">
                <a:pos x="T12" y="T13"/>
              </a:cxn>
              <a:cxn ang="T97">
                <a:pos x="T14" y="T15"/>
              </a:cxn>
              <a:cxn ang="T98">
                <a:pos x="T16" y="T17"/>
              </a:cxn>
              <a:cxn ang="T99">
                <a:pos x="T18" y="T19"/>
              </a:cxn>
              <a:cxn ang="T100">
                <a:pos x="T20" y="T21"/>
              </a:cxn>
              <a:cxn ang="T101">
                <a:pos x="T22" y="T23"/>
              </a:cxn>
              <a:cxn ang="T102">
                <a:pos x="T24" y="T25"/>
              </a:cxn>
              <a:cxn ang="T103">
                <a:pos x="T26" y="T27"/>
              </a:cxn>
              <a:cxn ang="T104">
                <a:pos x="T28" y="T29"/>
              </a:cxn>
              <a:cxn ang="T105">
                <a:pos x="T30" y="T31"/>
              </a:cxn>
              <a:cxn ang="T106">
                <a:pos x="T32" y="T33"/>
              </a:cxn>
              <a:cxn ang="T107">
                <a:pos x="T34" y="T35"/>
              </a:cxn>
              <a:cxn ang="T108">
                <a:pos x="T36" y="T37"/>
              </a:cxn>
              <a:cxn ang="T109">
                <a:pos x="T38" y="T39"/>
              </a:cxn>
              <a:cxn ang="T110">
                <a:pos x="T40" y="T41"/>
              </a:cxn>
              <a:cxn ang="T111">
                <a:pos x="T42" y="T43"/>
              </a:cxn>
              <a:cxn ang="T112">
                <a:pos x="T44" y="T45"/>
              </a:cxn>
              <a:cxn ang="T113">
                <a:pos x="T46" y="T47"/>
              </a:cxn>
              <a:cxn ang="T114">
                <a:pos x="T48" y="T49"/>
              </a:cxn>
              <a:cxn ang="T115">
                <a:pos x="T50" y="T51"/>
              </a:cxn>
              <a:cxn ang="T116">
                <a:pos x="T52" y="T53"/>
              </a:cxn>
              <a:cxn ang="T117">
                <a:pos x="T54" y="T55"/>
              </a:cxn>
              <a:cxn ang="T118">
                <a:pos x="T56" y="T57"/>
              </a:cxn>
              <a:cxn ang="T119">
                <a:pos x="T58" y="T59"/>
              </a:cxn>
              <a:cxn ang="T120">
                <a:pos x="T60" y="T61"/>
              </a:cxn>
              <a:cxn ang="T121">
                <a:pos x="T62" y="T63"/>
              </a:cxn>
              <a:cxn ang="T122">
                <a:pos x="T64" y="T65"/>
              </a:cxn>
              <a:cxn ang="T123">
                <a:pos x="T66" y="T67"/>
              </a:cxn>
              <a:cxn ang="T124">
                <a:pos x="T68" y="T69"/>
              </a:cxn>
              <a:cxn ang="T125">
                <a:pos x="T70" y="T71"/>
              </a:cxn>
              <a:cxn ang="T126">
                <a:pos x="T72" y="T73"/>
              </a:cxn>
              <a:cxn ang="T127">
                <a:pos x="T74" y="T75"/>
              </a:cxn>
              <a:cxn ang="T128">
                <a:pos x="T76" y="T77"/>
              </a:cxn>
              <a:cxn ang="T129">
                <a:pos x="T78" y="T79"/>
              </a:cxn>
              <a:cxn ang="T130">
                <a:pos x="T80" y="T81"/>
              </a:cxn>
              <a:cxn ang="T131">
                <a:pos x="T82" y="T83"/>
              </a:cxn>
              <a:cxn ang="T132">
                <a:pos x="T84" y="T85"/>
              </a:cxn>
              <a:cxn ang="T133">
                <a:pos x="T86" y="T87"/>
              </a:cxn>
              <a:cxn ang="T134">
                <a:pos x="T88" y="T89"/>
              </a:cxn>
            </a:cxnLst>
            <a:rect l="T135" t="T136" r="T137" b="T138"/>
            <a:pathLst>
              <a:path w="392" h="442">
                <a:moveTo>
                  <a:pt x="20" y="130"/>
                </a:moveTo>
                <a:lnTo>
                  <a:pt x="22" y="138"/>
                </a:lnTo>
                <a:lnTo>
                  <a:pt x="28" y="144"/>
                </a:lnTo>
                <a:lnTo>
                  <a:pt x="38" y="154"/>
                </a:lnTo>
                <a:lnTo>
                  <a:pt x="42" y="160"/>
                </a:lnTo>
                <a:lnTo>
                  <a:pt x="44" y="166"/>
                </a:lnTo>
                <a:lnTo>
                  <a:pt x="42" y="172"/>
                </a:lnTo>
                <a:lnTo>
                  <a:pt x="44" y="180"/>
                </a:lnTo>
                <a:lnTo>
                  <a:pt x="42" y="186"/>
                </a:lnTo>
                <a:lnTo>
                  <a:pt x="48" y="194"/>
                </a:lnTo>
                <a:lnTo>
                  <a:pt x="48" y="200"/>
                </a:lnTo>
                <a:lnTo>
                  <a:pt x="44" y="202"/>
                </a:lnTo>
                <a:lnTo>
                  <a:pt x="38" y="214"/>
                </a:lnTo>
                <a:lnTo>
                  <a:pt x="40" y="220"/>
                </a:lnTo>
                <a:lnTo>
                  <a:pt x="40" y="232"/>
                </a:lnTo>
                <a:lnTo>
                  <a:pt x="42" y="240"/>
                </a:lnTo>
                <a:lnTo>
                  <a:pt x="44" y="294"/>
                </a:lnTo>
                <a:lnTo>
                  <a:pt x="40" y="300"/>
                </a:lnTo>
                <a:lnTo>
                  <a:pt x="40" y="308"/>
                </a:lnTo>
                <a:lnTo>
                  <a:pt x="38" y="310"/>
                </a:lnTo>
                <a:lnTo>
                  <a:pt x="38" y="322"/>
                </a:lnTo>
                <a:lnTo>
                  <a:pt x="36" y="324"/>
                </a:lnTo>
                <a:lnTo>
                  <a:pt x="32" y="328"/>
                </a:lnTo>
                <a:lnTo>
                  <a:pt x="26" y="330"/>
                </a:lnTo>
                <a:lnTo>
                  <a:pt x="20" y="330"/>
                </a:lnTo>
                <a:lnTo>
                  <a:pt x="20" y="336"/>
                </a:lnTo>
                <a:lnTo>
                  <a:pt x="20" y="340"/>
                </a:lnTo>
                <a:lnTo>
                  <a:pt x="20" y="342"/>
                </a:lnTo>
                <a:lnTo>
                  <a:pt x="0" y="358"/>
                </a:lnTo>
                <a:lnTo>
                  <a:pt x="2" y="360"/>
                </a:lnTo>
                <a:lnTo>
                  <a:pt x="4" y="368"/>
                </a:lnTo>
                <a:lnTo>
                  <a:pt x="6" y="372"/>
                </a:lnTo>
                <a:lnTo>
                  <a:pt x="10" y="376"/>
                </a:lnTo>
                <a:lnTo>
                  <a:pt x="10" y="382"/>
                </a:lnTo>
                <a:lnTo>
                  <a:pt x="18" y="388"/>
                </a:lnTo>
                <a:lnTo>
                  <a:pt x="18" y="390"/>
                </a:lnTo>
                <a:lnTo>
                  <a:pt x="22" y="392"/>
                </a:lnTo>
                <a:lnTo>
                  <a:pt x="28" y="388"/>
                </a:lnTo>
                <a:lnTo>
                  <a:pt x="32" y="392"/>
                </a:lnTo>
                <a:lnTo>
                  <a:pt x="32" y="398"/>
                </a:lnTo>
                <a:lnTo>
                  <a:pt x="36" y="396"/>
                </a:lnTo>
                <a:lnTo>
                  <a:pt x="50" y="406"/>
                </a:lnTo>
                <a:lnTo>
                  <a:pt x="56" y="420"/>
                </a:lnTo>
                <a:lnTo>
                  <a:pt x="56" y="426"/>
                </a:lnTo>
                <a:lnTo>
                  <a:pt x="58" y="432"/>
                </a:lnTo>
                <a:lnTo>
                  <a:pt x="60" y="436"/>
                </a:lnTo>
                <a:lnTo>
                  <a:pt x="62" y="442"/>
                </a:lnTo>
                <a:lnTo>
                  <a:pt x="110" y="408"/>
                </a:lnTo>
                <a:lnTo>
                  <a:pt x="200" y="342"/>
                </a:lnTo>
                <a:lnTo>
                  <a:pt x="274" y="288"/>
                </a:lnTo>
                <a:lnTo>
                  <a:pt x="332" y="244"/>
                </a:lnTo>
                <a:lnTo>
                  <a:pt x="336" y="244"/>
                </a:lnTo>
                <a:lnTo>
                  <a:pt x="338" y="244"/>
                </a:lnTo>
                <a:lnTo>
                  <a:pt x="338" y="246"/>
                </a:lnTo>
                <a:lnTo>
                  <a:pt x="338" y="252"/>
                </a:lnTo>
                <a:lnTo>
                  <a:pt x="344" y="256"/>
                </a:lnTo>
                <a:lnTo>
                  <a:pt x="346" y="256"/>
                </a:lnTo>
                <a:lnTo>
                  <a:pt x="348" y="254"/>
                </a:lnTo>
                <a:lnTo>
                  <a:pt x="348" y="250"/>
                </a:lnTo>
                <a:lnTo>
                  <a:pt x="350" y="250"/>
                </a:lnTo>
                <a:lnTo>
                  <a:pt x="352" y="250"/>
                </a:lnTo>
                <a:lnTo>
                  <a:pt x="360" y="252"/>
                </a:lnTo>
                <a:lnTo>
                  <a:pt x="364" y="252"/>
                </a:lnTo>
                <a:lnTo>
                  <a:pt x="368" y="246"/>
                </a:lnTo>
                <a:lnTo>
                  <a:pt x="370" y="246"/>
                </a:lnTo>
                <a:lnTo>
                  <a:pt x="370" y="244"/>
                </a:lnTo>
                <a:lnTo>
                  <a:pt x="378" y="240"/>
                </a:lnTo>
                <a:lnTo>
                  <a:pt x="382" y="236"/>
                </a:lnTo>
                <a:lnTo>
                  <a:pt x="382" y="234"/>
                </a:lnTo>
                <a:lnTo>
                  <a:pt x="384" y="234"/>
                </a:lnTo>
                <a:lnTo>
                  <a:pt x="386" y="232"/>
                </a:lnTo>
                <a:lnTo>
                  <a:pt x="388" y="232"/>
                </a:lnTo>
                <a:lnTo>
                  <a:pt x="392" y="230"/>
                </a:lnTo>
                <a:lnTo>
                  <a:pt x="350" y="180"/>
                </a:lnTo>
                <a:lnTo>
                  <a:pt x="298" y="114"/>
                </a:lnTo>
                <a:lnTo>
                  <a:pt x="294" y="100"/>
                </a:lnTo>
                <a:lnTo>
                  <a:pt x="286" y="30"/>
                </a:lnTo>
                <a:lnTo>
                  <a:pt x="286" y="16"/>
                </a:lnTo>
                <a:lnTo>
                  <a:pt x="258" y="6"/>
                </a:lnTo>
                <a:lnTo>
                  <a:pt x="214" y="0"/>
                </a:lnTo>
                <a:lnTo>
                  <a:pt x="216" y="2"/>
                </a:lnTo>
                <a:lnTo>
                  <a:pt x="216" y="6"/>
                </a:lnTo>
                <a:lnTo>
                  <a:pt x="214" y="12"/>
                </a:lnTo>
                <a:lnTo>
                  <a:pt x="210" y="14"/>
                </a:lnTo>
                <a:lnTo>
                  <a:pt x="208" y="18"/>
                </a:lnTo>
                <a:lnTo>
                  <a:pt x="206" y="18"/>
                </a:lnTo>
                <a:lnTo>
                  <a:pt x="196" y="20"/>
                </a:lnTo>
                <a:lnTo>
                  <a:pt x="196" y="22"/>
                </a:lnTo>
                <a:lnTo>
                  <a:pt x="196" y="28"/>
                </a:lnTo>
                <a:lnTo>
                  <a:pt x="196" y="30"/>
                </a:lnTo>
                <a:lnTo>
                  <a:pt x="194" y="30"/>
                </a:lnTo>
                <a:lnTo>
                  <a:pt x="190" y="30"/>
                </a:lnTo>
                <a:lnTo>
                  <a:pt x="184" y="28"/>
                </a:lnTo>
                <a:lnTo>
                  <a:pt x="178" y="28"/>
                </a:lnTo>
                <a:lnTo>
                  <a:pt x="176" y="30"/>
                </a:lnTo>
                <a:lnTo>
                  <a:pt x="178" y="32"/>
                </a:lnTo>
                <a:lnTo>
                  <a:pt x="178" y="34"/>
                </a:lnTo>
                <a:lnTo>
                  <a:pt x="174" y="38"/>
                </a:lnTo>
                <a:lnTo>
                  <a:pt x="170" y="42"/>
                </a:lnTo>
                <a:lnTo>
                  <a:pt x="170" y="46"/>
                </a:lnTo>
                <a:lnTo>
                  <a:pt x="166" y="40"/>
                </a:lnTo>
                <a:lnTo>
                  <a:pt x="164" y="38"/>
                </a:lnTo>
                <a:lnTo>
                  <a:pt x="158" y="46"/>
                </a:lnTo>
                <a:lnTo>
                  <a:pt x="152" y="50"/>
                </a:lnTo>
                <a:lnTo>
                  <a:pt x="144" y="52"/>
                </a:lnTo>
                <a:lnTo>
                  <a:pt x="142" y="52"/>
                </a:lnTo>
                <a:lnTo>
                  <a:pt x="140" y="52"/>
                </a:lnTo>
                <a:lnTo>
                  <a:pt x="140" y="54"/>
                </a:lnTo>
                <a:lnTo>
                  <a:pt x="140" y="58"/>
                </a:lnTo>
                <a:lnTo>
                  <a:pt x="136" y="64"/>
                </a:lnTo>
                <a:lnTo>
                  <a:pt x="130" y="68"/>
                </a:lnTo>
                <a:lnTo>
                  <a:pt x="124" y="68"/>
                </a:lnTo>
                <a:lnTo>
                  <a:pt x="120" y="72"/>
                </a:lnTo>
                <a:lnTo>
                  <a:pt x="114" y="72"/>
                </a:lnTo>
                <a:lnTo>
                  <a:pt x="110" y="72"/>
                </a:lnTo>
                <a:lnTo>
                  <a:pt x="106" y="72"/>
                </a:lnTo>
                <a:lnTo>
                  <a:pt x="104" y="74"/>
                </a:lnTo>
                <a:lnTo>
                  <a:pt x="102" y="76"/>
                </a:lnTo>
                <a:lnTo>
                  <a:pt x="96" y="78"/>
                </a:lnTo>
                <a:lnTo>
                  <a:pt x="88" y="82"/>
                </a:lnTo>
                <a:lnTo>
                  <a:pt x="84" y="82"/>
                </a:lnTo>
                <a:lnTo>
                  <a:pt x="80" y="88"/>
                </a:lnTo>
                <a:lnTo>
                  <a:pt x="76" y="94"/>
                </a:lnTo>
                <a:lnTo>
                  <a:pt x="68" y="94"/>
                </a:lnTo>
                <a:lnTo>
                  <a:pt x="66" y="94"/>
                </a:lnTo>
                <a:lnTo>
                  <a:pt x="66" y="100"/>
                </a:lnTo>
                <a:lnTo>
                  <a:pt x="58" y="102"/>
                </a:lnTo>
                <a:lnTo>
                  <a:pt x="54" y="106"/>
                </a:lnTo>
                <a:lnTo>
                  <a:pt x="52" y="108"/>
                </a:lnTo>
                <a:lnTo>
                  <a:pt x="44" y="112"/>
                </a:lnTo>
                <a:lnTo>
                  <a:pt x="38" y="112"/>
                </a:lnTo>
                <a:lnTo>
                  <a:pt x="28" y="114"/>
                </a:lnTo>
                <a:lnTo>
                  <a:pt x="22" y="122"/>
                </a:lnTo>
                <a:lnTo>
                  <a:pt x="22" y="124"/>
                </a:lnTo>
                <a:lnTo>
                  <a:pt x="20" y="130"/>
                </a:lnTo>
                <a:close/>
              </a:path>
            </a:pathLst>
          </a:custGeom>
          <a:solidFill>
            <a:srgbClr val="F1B728"/>
          </a:solidFill>
          <a:ln w="6350">
            <a:solidFill>
              <a:schemeClr val="tx1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457200"/>
            <a:endParaRPr lang="en-US" kern="0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51" name="Freeform 29">
            <a:extLst>
              <a:ext uri="{FF2B5EF4-FFF2-40B4-BE49-F238E27FC236}">
                <a16:creationId xmlns:a16="http://schemas.microsoft.com/office/drawing/2014/main" id="{7834BDDD-E6B1-F8F5-7CA0-6013036E467F}"/>
              </a:ext>
            </a:extLst>
          </p:cNvPr>
          <p:cNvSpPr>
            <a:spLocks/>
          </p:cNvSpPr>
          <p:nvPr/>
        </p:nvSpPr>
        <p:spPr bwMode="auto">
          <a:xfrm>
            <a:off x="2641600" y="4445000"/>
            <a:ext cx="591820" cy="673100"/>
          </a:xfrm>
          <a:custGeom>
            <a:avLst/>
            <a:gdLst>
              <a:gd name="T0" fmla="*/ 2147483646 w 466"/>
              <a:gd name="T1" fmla="*/ 2147483646 h 530"/>
              <a:gd name="T2" fmla="*/ 2147483646 w 466"/>
              <a:gd name="T3" fmla="*/ 2147483646 h 530"/>
              <a:gd name="T4" fmla="*/ 2147483646 w 466"/>
              <a:gd name="T5" fmla="*/ 2147483646 h 530"/>
              <a:gd name="T6" fmla="*/ 2147483646 w 466"/>
              <a:gd name="T7" fmla="*/ 2147483646 h 530"/>
              <a:gd name="T8" fmla="*/ 2147483646 w 466"/>
              <a:gd name="T9" fmla="*/ 2147483646 h 530"/>
              <a:gd name="T10" fmla="*/ 2147483646 w 466"/>
              <a:gd name="T11" fmla="*/ 2147483646 h 530"/>
              <a:gd name="T12" fmla="*/ 2147483646 w 466"/>
              <a:gd name="T13" fmla="*/ 2147483646 h 530"/>
              <a:gd name="T14" fmla="*/ 2147483646 w 466"/>
              <a:gd name="T15" fmla="*/ 2147483646 h 530"/>
              <a:gd name="T16" fmla="*/ 2147483646 w 466"/>
              <a:gd name="T17" fmla="*/ 2147483646 h 530"/>
              <a:gd name="T18" fmla="*/ 2147483646 w 466"/>
              <a:gd name="T19" fmla="*/ 2147483646 h 530"/>
              <a:gd name="T20" fmla="*/ 2147483646 w 466"/>
              <a:gd name="T21" fmla="*/ 2147483646 h 530"/>
              <a:gd name="T22" fmla="*/ 2147483646 w 466"/>
              <a:gd name="T23" fmla="*/ 2147483646 h 530"/>
              <a:gd name="T24" fmla="*/ 2147483646 w 466"/>
              <a:gd name="T25" fmla="*/ 2147483646 h 530"/>
              <a:gd name="T26" fmla="*/ 2147483646 w 466"/>
              <a:gd name="T27" fmla="*/ 2147483646 h 530"/>
              <a:gd name="T28" fmla="*/ 2147483646 w 466"/>
              <a:gd name="T29" fmla="*/ 2147483646 h 530"/>
              <a:gd name="T30" fmla="*/ 2147483646 w 466"/>
              <a:gd name="T31" fmla="*/ 2147483646 h 530"/>
              <a:gd name="T32" fmla="*/ 2147483646 w 466"/>
              <a:gd name="T33" fmla="*/ 2147483646 h 530"/>
              <a:gd name="T34" fmla="*/ 2147483646 w 466"/>
              <a:gd name="T35" fmla="*/ 2147483646 h 530"/>
              <a:gd name="T36" fmla="*/ 2147483646 w 466"/>
              <a:gd name="T37" fmla="*/ 2147483646 h 530"/>
              <a:gd name="T38" fmla="*/ 2147483646 w 466"/>
              <a:gd name="T39" fmla="*/ 2147483646 h 530"/>
              <a:gd name="T40" fmla="*/ 2147483646 w 466"/>
              <a:gd name="T41" fmla="*/ 2147483646 h 530"/>
              <a:gd name="T42" fmla="*/ 2147483646 w 466"/>
              <a:gd name="T43" fmla="*/ 2147483646 h 530"/>
              <a:gd name="T44" fmla="*/ 2147483646 w 466"/>
              <a:gd name="T45" fmla="*/ 2147483646 h 530"/>
              <a:gd name="T46" fmla="*/ 2147483646 w 466"/>
              <a:gd name="T47" fmla="*/ 2147483646 h 530"/>
              <a:gd name="T48" fmla="*/ 2147483646 w 466"/>
              <a:gd name="T49" fmla="*/ 2147483646 h 530"/>
              <a:gd name="T50" fmla="*/ 2147483646 w 466"/>
              <a:gd name="T51" fmla="*/ 2147483646 h 530"/>
              <a:gd name="T52" fmla="*/ 2147483646 w 466"/>
              <a:gd name="T53" fmla="*/ 2147483646 h 530"/>
              <a:gd name="T54" fmla="*/ 2147483646 w 466"/>
              <a:gd name="T55" fmla="*/ 2147483646 h 530"/>
              <a:gd name="T56" fmla="*/ 2147483646 w 466"/>
              <a:gd name="T57" fmla="*/ 2147483646 h 530"/>
              <a:gd name="T58" fmla="*/ 2147483646 w 466"/>
              <a:gd name="T59" fmla="*/ 2147483646 h 530"/>
              <a:gd name="T60" fmla="*/ 2147483646 w 466"/>
              <a:gd name="T61" fmla="*/ 2147483646 h 530"/>
              <a:gd name="T62" fmla="*/ 2147483646 w 466"/>
              <a:gd name="T63" fmla="*/ 2147483646 h 530"/>
              <a:gd name="T64" fmla="*/ 2147483646 w 466"/>
              <a:gd name="T65" fmla="*/ 2147483646 h 530"/>
              <a:gd name="T66" fmla="*/ 2147483646 w 466"/>
              <a:gd name="T67" fmla="*/ 2147483646 h 530"/>
              <a:gd name="T68" fmla="*/ 2147483646 w 466"/>
              <a:gd name="T69" fmla="*/ 2147483646 h 530"/>
              <a:gd name="T70" fmla="*/ 2147483646 w 466"/>
              <a:gd name="T71" fmla="*/ 2147483646 h 530"/>
              <a:gd name="T72" fmla="*/ 2147483646 w 466"/>
              <a:gd name="T73" fmla="*/ 2147483646 h 530"/>
              <a:gd name="T74" fmla="*/ 2147483646 w 466"/>
              <a:gd name="T75" fmla="*/ 2147483646 h 530"/>
              <a:gd name="T76" fmla="*/ 2147483646 w 466"/>
              <a:gd name="T77" fmla="*/ 2147483646 h 530"/>
              <a:gd name="T78" fmla="*/ 2147483646 w 466"/>
              <a:gd name="T79" fmla="*/ 2147483646 h 530"/>
              <a:gd name="T80" fmla="*/ 2147483646 w 466"/>
              <a:gd name="T81" fmla="*/ 2147483646 h 530"/>
              <a:gd name="T82" fmla="*/ 2147483646 w 466"/>
              <a:gd name="T83" fmla="*/ 2147483646 h 530"/>
              <a:gd name="T84" fmla="*/ 2147483646 w 466"/>
              <a:gd name="T85" fmla="*/ 2147483646 h 530"/>
              <a:gd name="T86" fmla="*/ 2147483646 w 466"/>
              <a:gd name="T87" fmla="*/ 2147483646 h 530"/>
              <a:gd name="T88" fmla="*/ 2147483646 w 466"/>
              <a:gd name="T89" fmla="*/ 2147483646 h 530"/>
              <a:gd name="T90" fmla="*/ 2147483646 w 466"/>
              <a:gd name="T91" fmla="*/ 2147483646 h 530"/>
              <a:gd name="T92" fmla="*/ 2147483646 w 466"/>
              <a:gd name="T93" fmla="*/ 2147483646 h 530"/>
              <a:gd name="T94" fmla="*/ 2147483646 w 466"/>
              <a:gd name="T95" fmla="*/ 2147483646 h 530"/>
              <a:gd name="T96" fmla="*/ 2147483646 w 466"/>
              <a:gd name="T97" fmla="*/ 2147483646 h 530"/>
              <a:gd name="T98" fmla="*/ 2147483646 w 466"/>
              <a:gd name="T99" fmla="*/ 2147483646 h 530"/>
              <a:gd name="T100" fmla="*/ 2147483646 w 466"/>
              <a:gd name="T101" fmla="*/ 2147483646 h 530"/>
              <a:gd name="T102" fmla="*/ 2147483646 w 466"/>
              <a:gd name="T103" fmla="*/ 2147483646 h 530"/>
              <a:gd name="T104" fmla="*/ 2147483646 w 466"/>
              <a:gd name="T105" fmla="*/ 2147483646 h 530"/>
              <a:gd name="T106" fmla="*/ 2147483646 w 466"/>
              <a:gd name="T107" fmla="*/ 2147483646 h 530"/>
              <a:gd name="T108" fmla="*/ 2147483646 w 466"/>
              <a:gd name="T109" fmla="*/ 2147483646 h 530"/>
              <a:gd name="T110" fmla="*/ 2147483646 w 466"/>
              <a:gd name="T111" fmla="*/ 2147483646 h 530"/>
              <a:gd name="T112" fmla="*/ 2147483646 w 466"/>
              <a:gd name="T113" fmla="*/ 2147483646 h 530"/>
              <a:gd name="T114" fmla="*/ 2147483646 w 466"/>
              <a:gd name="T115" fmla="*/ 2147483646 h 530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w 466"/>
              <a:gd name="T175" fmla="*/ 0 h 530"/>
              <a:gd name="T176" fmla="*/ 466 w 466"/>
              <a:gd name="T177" fmla="*/ 530 h 530"/>
            </a:gdLst>
            <a:ahLst/>
            <a:cxnLst>
              <a:cxn ang="T116">
                <a:pos x="T0" y="T1"/>
              </a:cxn>
              <a:cxn ang="T117">
                <a:pos x="T2" y="T3"/>
              </a:cxn>
              <a:cxn ang="T118">
                <a:pos x="T4" y="T5"/>
              </a:cxn>
              <a:cxn ang="T119">
                <a:pos x="T6" y="T7"/>
              </a:cxn>
              <a:cxn ang="T120">
                <a:pos x="T8" y="T9"/>
              </a:cxn>
              <a:cxn ang="T121">
                <a:pos x="T10" y="T11"/>
              </a:cxn>
              <a:cxn ang="T122">
                <a:pos x="T12" y="T13"/>
              </a:cxn>
              <a:cxn ang="T123">
                <a:pos x="T14" y="T15"/>
              </a:cxn>
              <a:cxn ang="T124">
                <a:pos x="T16" y="T17"/>
              </a:cxn>
              <a:cxn ang="T125">
                <a:pos x="T18" y="T19"/>
              </a:cxn>
              <a:cxn ang="T126">
                <a:pos x="T20" y="T21"/>
              </a:cxn>
              <a:cxn ang="T127">
                <a:pos x="T22" y="T23"/>
              </a:cxn>
              <a:cxn ang="T128">
                <a:pos x="T24" y="T25"/>
              </a:cxn>
              <a:cxn ang="T129">
                <a:pos x="T26" y="T27"/>
              </a:cxn>
              <a:cxn ang="T130">
                <a:pos x="T28" y="T29"/>
              </a:cxn>
              <a:cxn ang="T131">
                <a:pos x="T30" y="T31"/>
              </a:cxn>
              <a:cxn ang="T132">
                <a:pos x="T32" y="T33"/>
              </a:cxn>
              <a:cxn ang="T133">
                <a:pos x="T34" y="T35"/>
              </a:cxn>
              <a:cxn ang="T134">
                <a:pos x="T36" y="T37"/>
              </a:cxn>
              <a:cxn ang="T135">
                <a:pos x="T38" y="T39"/>
              </a:cxn>
              <a:cxn ang="T136">
                <a:pos x="T40" y="T41"/>
              </a:cxn>
              <a:cxn ang="T137">
                <a:pos x="T42" y="T43"/>
              </a:cxn>
              <a:cxn ang="T138">
                <a:pos x="T44" y="T45"/>
              </a:cxn>
              <a:cxn ang="T139">
                <a:pos x="T46" y="T47"/>
              </a:cxn>
              <a:cxn ang="T140">
                <a:pos x="T48" y="T49"/>
              </a:cxn>
              <a:cxn ang="T141">
                <a:pos x="T50" y="T51"/>
              </a:cxn>
              <a:cxn ang="T142">
                <a:pos x="T52" y="T53"/>
              </a:cxn>
              <a:cxn ang="T143">
                <a:pos x="T54" y="T55"/>
              </a:cxn>
              <a:cxn ang="T144">
                <a:pos x="T56" y="T57"/>
              </a:cxn>
              <a:cxn ang="T145">
                <a:pos x="T58" y="T59"/>
              </a:cxn>
              <a:cxn ang="T146">
                <a:pos x="T60" y="T61"/>
              </a:cxn>
              <a:cxn ang="T147">
                <a:pos x="T62" y="T63"/>
              </a:cxn>
              <a:cxn ang="T148">
                <a:pos x="T64" y="T65"/>
              </a:cxn>
              <a:cxn ang="T149">
                <a:pos x="T66" y="T67"/>
              </a:cxn>
              <a:cxn ang="T150">
                <a:pos x="T68" y="T69"/>
              </a:cxn>
              <a:cxn ang="T151">
                <a:pos x="T70" y="T71"/>
              </a:cxn>
              <a:cxn ang="T152">
                <a:pos x="T72" y="T73"/>
              </a:cxn>
              <a:cxn ang="T153">
                <a:pos x="T74" y="T75"/>
              </a:cxn>
              <a:cxn ang="T154">
                <a:pos x="T76" y="T77"/>
              </a:cxn>
              <a:cxn ang="T155">
                <a:pos x="T78" y="T79"/>
              </a:cxn>
              <a:cxn ang="T156">
                <a:pos x="T80" y="T81"/>
              </a:cxn>
              <a:cxn ang="T157">
                <a:pos x="T82" y="T83"/>
              </a:cxn>
              <a:cxn ang="T158">
                <a:pos x="T84" y="T85"/>
              </a:cxn>
              <a:cxn ang="T159">
                <a:pos x="T86" y="T87"/>
              </a:cxn>
              <a:cxn ang="T160">
                <a:pos x="T88" y="T89"/>
              </a:cxn>
              <a:cxn ang="T161">
                <a:pos x="T90" y="T91"/>
              </a:cxn>
              <a:cxn ang="T162">
                <a:pos x="T92" y="T93"/>
              </a:cxn>
              <a:cxn ang="T163">
                <a:pos x="T94" y="T95"/>
              </a:cxn>
              <a:cxn ang="T164">
                <a:pos x="T96" y="T97"/>
              </a:cxn>
              <a:cxn ang="T165">
                <a:pos x="T98" y="T99"/>
              </a:cxn>
              <a:cxn ang="T166">
                <a:pos x="T100" y="T101"/>
              </a:cxn>
              <a:cxn ang="T167">
                <a:pos x="T102" y="T103"/>
              </a:cxn>
              <a:cxn ang="T168">
                <a:pos x="T104" y="T105"/>
              </a:cxn>
              <a:cxn ang="T169">
                <a:pos x="T106" y="T107"/>
              </a:cxn>
              <a:cxn ang="T170">
                <a:pos x="T108" y="T109"/>
              </a:cxn>
              <a:cxn ang="T171">
                <a:pos x="T110" y="T111"/>
              </a:cxn>
              <a:cxn ang="T172">
                <a:pos x="T112" y="T113"/>
              </a:cxn>
              <a:cxn ang="T173">
                <a:pos x="T114" y="T115"/>
              </a:cxn>
            </a:cxnLst>
            <a:rect l="T174" t="T175" r="T176" b="T177"/>
            <a:pathLst>
              <a:path w="466" h="530">
                <a:moveTo>
                  <a:pt x="466" y="272"/>
                </a:moveTo>
                <a:lnTo>
                  <a:pt x="466" y="266"/>
                </a:lnTo>
                <a:lnTo>
                  <a:pt x="466" y="260"/>
                </a:lnTo>
                <a:lnTo>
                  <a:pt x="464" y="254"/>
                </a:lnTo>
                <a:lnTo>
                  <a:pt x="464" y="252"/>
                </a:lnTo>
                <a:lnTo>
                  <a:pt x="460" y="252"/>
                </a:lnTo>
                <a:lnTo>
                  <a:pt x="456" y="248"/>
                </a:lnTo>
                <a:lnTo>
                  <a:pt x="454" y="244"/>
                </a:lnTo>
                <a:lnTo>
                  <a:pt x="454" y="240"/>
                </a:lnTo>
                <a:lnTo>
                  <a:pt x="456" y="236"/>
                </a:lnTo>
                <a:lnTo>
                  <a:pt x="458" y="234"/>
                </a:lnTo>
                <a:lnTo>
                  <a:pt x="458" y="230"/>
                </a:lnTo>
                <a:lnTo>
                  <a:pt x="458" y="224"/>
                </a:lnTo>
                <a:lnTo>
                  <a:pt x="454" y="222"/>
                </a:lnTo>
                <a:lnTo>
                  <a:pt x="452" y="220"/>
                </a:lnTo>
                <a:lnTo>
                  <a:pt x="452" y="214"/>
                </a:lnTo>
                <a:lnTo>
                  <a:pt x="446" y="208"/>
                </a:lnTo>
                <a:lnTo>
                  <a:pt x="446" y="204"/>
                </a:lnTo>
                <a:lnTo>
                  <a:pt x="448" y="200"/>
                </a:lnTo>
                <a:lnTo>
                  <a:pt x="446" y="198"/>
                </a:lnTo>
                <a:lnTo>
                  <a:pt x="442" y="196"/>
                </a:lnTo>
                <a:lnTo>
                  <a:pt x="438" y="196"/>
                </a:lnTo>
                <a:lnTo>
                  <a:pt x="436" y="188"/>
                </a:lnTo>
                <a:lnTo>
                  <a:pt x="430" y="188"/>
                </a:lnTo>
                <a:lnTo>
                  <a:pt x="428" y="190"/>
                </a:lnTo>
                <a:lnTo>
                  <a:pt x="422" y="196"/>
                </a:lnTo>
                <a:lnTo>
                  <a:pt x="420" y="194"/>
                </a:lnTo>
                <a:lnTo>
                  <a:pt x="418" y="194"/>
                </a:lnTo>
                <a:lnTo>
                  <a:pt x="418" y="190"/>
                </a:lnTo>
                <a:lnTo>
                  <a:pt x="412" y="194"/>
                </a:lnTo>
                <a:lnTo>
                  <a:pt x="408" y="194"/>
                </a:lnTo>
                <a:lnTo>
                  <a:pt x="406" y="190"/>
                </a:lnTo>
                <a:lnTo>
                  <a:pt x="406" y="184"/>
                </a:lnTo>
                <a:lnTo>
                  <a:pt x="402" y="180"/>
                </a:lnTo>
                <a:lnTo>
                  <a:pt x="396" y="178"/>
                </a:lnTo>
                <a:lnTo>
                  <a:pt x="394" y="178"/>
                </a:lnTo>
                <a:lnTo>
                  <a:pt x="392" y="178"/>
                </a:lnTo>
                <a:lnTo>
                  <a:pt x="390" y="176"/>
                </a:lnTo>
                <a:lnTo>
                  <a:pt x="390" y="172"/>
                </a:lnTo>
                <a:lnTo>
                  <a:pt x="390" y="162"/>
                </a:lnTo>
                <a:lnTo>
                  <a:pt x="392" y="162"/>
                </a:lnTo>
                <a:lnTo>
                  <a:pt x="392" y="158"/>
                </a:lnTo>
                <a:lnTo>
                  <a:pt x="394" y="154"/>
                </a:lnTo>
                <a:lnTo>
                  <a:pt x="396" y="152"/>
                </a:lnTo>
                <a:lnTo>
                  <a:pt x="400" y="150"/>
                </a:lnTo>
                <a:lnTo>
                  <a:pt x="404" y="148"/>
                </a:lnTo>
                <a:lnTo>
                  <a:pt x="406" y="148"/>
                </a:lnTo>
                <a:lnTo>
                  <a:pt x="408" y="146"/>
                </a:lnTo>
                <a:lnTo>
                  <a:pt x="410" y="144"/>
                </a:lnTo>
                <a:lnTo>
                  <a:pt x="410" y="142"/>
                </a:lnTo>
                <a:lnTo>
                  <a:pt x="410" y="136"/>
                </a:lnTo>
                <a:lnTo>
                  <a:pt x="410" y="134"/>
                </a:lnTo>
                <a:lnTo>
                  <a:pt x="406" y="134"/>
                </a:lnTo>
                <a:lnTo>
                  <a:pt x="404" y="134"/>
                </a:lnTo>
                <a:lnTo>
                  <a:pt x="404" y="132"/>
                </a:lnTo>
                <a:lnTo>
                  <a:pt x="402" y="130"/>
                </a:lnTo>
                <a:lnTo>
                  <a:pt x="400" y="128"/>
                </a:lnTo>
                <a:lnTo>
                  <a:pt x="396" y="128"/>
                </a:lnTo>
                <a:lnTo>
                  <a:pt x="394" y="126"/>
                </a:lnTo>
                <a:lnTo>
                  <a:pt x="392" y="126"/>
                </a:lnTo>
                <a:lnTo>
                  <a:pt x="390" y="128"/>
                </a:lnTo>
                <a:lnTo>
                  <a:pt x="386" y="128"/>
                </a:lnTo>
                <a:lnTo>
                  <a:pt x="384" y="126"/>
                </a:lnTo>
                <a:lnTo>
                  <a:pt x="386" y="122"/>
                </a:lnTo>
                <a:lnTo>
                  <a:pt x="386" y="118"/>
                </a:lnTo>
                <a:lnTo>
                  <a:pt x="388" y="112"/>
                </a:lnTo>
                <a:lnTo>
                  <a:pt x="388" y="108"/>
                </a:lnTo>
                <a:lnTo>
                  <a:pt x="382" y="104"/>
                </a:lnTo>
                <a:lnTo>
                  <a:pt x="374" y="104"/>
                </a:lnTo>
                <a:lnTo>
                  <a:pt x="368" y="104"/>
                </a:lnTo>
                <a:lnTo>
                  <a:pt x="366" y="104"/>
                </a:lnTo>
                <a:lnTo>
                  <a:pt x="360" y="104"/>
                </a:lnTo>
                <a:lnTo>
                  <a:pt x="356" y="100"/>
                </a:lnTo>
                <a:lnTo>
                  <a:pt x="352" y="96"/>
                </a:lnTo>
                <a:lnTo>
                  <a:pt x="348" y="94"/>
                </a:lnTo>
                <a:lnTo>
                  <a:pt x="348" y="90"/>
                </a:lnTo>
                <a:lnTo>
                  <a:pt x="344" y="88"/>
                </a:lnTo>
                <a:lnTo>
                  <a:pt x="344" y="82"/>
                </a:lnTo>
                <a:lnTo>
                  <a:pt x="342" y="82"/>
                </a:lnTo>
                <a:lnTo>
                  <a:pt x="340" y="80"/>
                </a:lnTo>
                <a:lnTo>
                  <a:pt x="338" y="78"/>
                </a:lnTo>
                <a:lnTo>
                  <a:pt x="338" y="76"/>
                </a:lnTo>
                <a:lnTo>
                  <a:pt x="338" y="74"/>
                </a:lnTo>
                <a:lnTo>
                  <a:pt x="338" y="72"/>
                </a:lnTo>
                <a:lnTo>
                  <a:pt x="336" y="72"/>
                </a:lnTo>
                <a:lnTo>
                  <a:pt x="334" y="72"/>
                </a:lnTo>
                <a:lnTo>
                  <a:pt x="332" y="68"/>
                </a:lnTo>
                <a:lnTo>
                  <a:pt x="334" y="68"/>
                </a:lnTo>
                <a:lnTo>
                  <a:pt x="336" y="64"/>
                </a:lnTo>
                <a:lnTo>
                  <a:pt x="334" y="62"/>
                </a:lnTo>
                <a:lnTo>
                  <a:pt x="326" y="62"/>
                </a:lnTo>
                <a:lnTo>
                  <a:pt x="322" y="60"/>
                </a:lnTo>
                <a:lnTo>
                  <a:pt x="320" y="60"/>
                </a:lnTo>
                <a:lnTo>
                  <a:pt x="314" y="62"/>
                </a:lnTo>
                <a:lnTo>
                  <a:pt x="310" y="64"/>
                </a:lnTo>
                <a:lnTo>
                  <a:pt x="310" y="68"/>
                </a:lnTo>
                <a:lnTo>
                  <a:pt x="308" y="64"/>
                </a:lnTo>
                <a:lnTo>
                  <a:pt x="306" y="62"/>
                </a:lnTo>
                <a:lnTo>
                  <a:pt x="304" y="62"/>
                </a:lnTo>
                <a:lnTo>
                  <a:pt x="302" y="62"/>
                </a:lnTo>
                <a:lnTo>
                  <a:pt x="300" y="62"/>
                </a:lnTo>
                <a:lnTo>
                  <a:pt x="302" y="60"/>
                </a:lnTo>
                <a:lnTo>
                  <a:pt x="304" y="56"/>
                </a:lnTo>
                <a:lnTo>
                  <a:pt x="302" y="54"/>
                </a:lnTo>
                <a:lnTo>
                  <a:pt x="300" y="54"/>
                </a:lnTo>
                <a:lnTo>
                  <a:pt x="296" y="52"/>
                </a:lnTo>
                <a:lnTo>
                  <a:pt x="298" y="50"/>
                </a:lnTo>
                <a:lnTo>
                  <a:pt x="300" y="44"/>
                </a:lnTo>
                <a:lnTo>
                  <a:pt x="300" y="40"/>
                </a:lnTo>
                <a:lnTo>
                  <a:pt x="298" y="38"/>
                </a:lnTo>
                <a:lnTo>
                  <a:pt x="296" y="32"/>
                </a:lnTo>
                <a:lnTo>
                  <a:pt x="296" y="26"/>
                </a:lnTo>
                <a:lnTo>
                  <a:pt x="300" y="22"/>
                </a:lnTo>
                <a:lnTo>
                  <a:pt x="300" y="20"/>
                </a:lnTo>
                <a:lnTo>
                  <a:pt x="298" y="16"/>
                </a:lnTo>
                <a:lnTo>
                  <a:pt x="298" y="10"/>
                </a:lnTo>
                <a:lnTo>
                  <a:pt x="296" y="10"/>
                </a:lnTo>
                <a:lnTo>
                  <a:pt x="288" y="8"/>
                </a:lnTo>
                <a:lnTo>
                  <a:pt x="284" y="10"/>
                </a:lnTo>
                <a:lnTo>
                  <a:pt x="274" y="10"/>
                </a:lnTo>
                <a:lnTo>
                  <a:pt x="272" y="10"/>
                </a:lnTo>
                <a:lnTo>
                  <a:pt x="268" y="10"/>
                </a:lnTo>
                <a:lnTo>
                  <a:pt x="258" y="14"/>
                </a:lnTo>
                <a:lnTo>
                  <a:pt x="252" y="2"/>
                </a:lnTo>
                <a:lnTo>
                  <a:pt x="244" y="4"/>
                </a:lnTo>
                <a:lnTo>
                  <a:pt x="240" y="4"/>
                </a:lnTo>
                <a:lnTo>
                  <a:pt x="234" y="6"/>
                </a:lnTo>
                <a:lnTo>
                  <a:pt x="232" y="8"/>
                </a:lnTo>
                <a:lnTo>
                  <a:pt x="230" y="10"/>
                </a:lnTo>
                <a:lnTo>
                  <a:pt x="228" y="14"/>
                </a:lnTo>
                <a:lnTo>
                  <a:pt x="228" y="18"/>
                </a:lnTo>
                <a:lnTo>
                  <a:pt x="228" y="20"/>
                </a:lnTo>
                <a:lnTo>
                  <a:pt x="230" y="20"/>
                </a:lnTo>
                <a:lnTo>
                  <a:pt x="230" y="22"/>
                </a:lnTo>
                <a:lnTo>
                  <a:pt x="228" y="26"/>
                </a:lnTo>
                <a:lnTo>
                  <a:pt x="226" y="32"/>
                </a:lnTo>
                <a:lnTo>
                  <a:pt x="218" y="36"/>
                </a:lnTo>
                <a:lnTo>
                  <a:pt x="216" y="36"/>
                </a:lnTo>
                <a:lnTo>
                  <a:pt x="204" y="34"/>
                </a:lnTo>
                <a:lnTo>
                  <a:pt x="202" y="26"/>
                </a:lnTo>
                <a:lnTo>
                  <a:pt x="202" y="14"/>
                </a:lnTo>
                <a:lnTo>
                  <a:pt x="198" y="8"/>
                </a:lnTo>
                <a:lnTo>
                  <a:pt x="186" y="0"/>
                </a:lnTo>
                <a:lnTo>
                  <a:pt x="178" y="0"/>
                </a:lnTo>
                <a:lnTo>
                  <a:pt x="176" y="2"/>
                </a:lnTo>
                <a:lnTo>
                  <a:pt x="176" y="6"/>
                </a:lnTo>
                <a:lnTo>
                  <a:pt x="176" y="16"/>
                </a:lnTo>
                <a:lnTo>
                  <a:pt x="176" y="18"/>
                </a:lnTo>
                <a:lnTo>
                  <a:pt x="170" y="22"/>
                </a:lnTo>
                <a:lnTo>
                  <a:pt x="164" y="24"/>
                </a:lnTo>
                <a:lnTo>
                  <a:pt x="160" y="24"/>
                </a:lnTo>
                <a:lnTo>
                  <a:pt x="152" y="24"/>
                </a:lnTo>
                <a:lnTo>
                  <a:pt x="150" y="24"/>
                </a:lnTo>
                <a:lnTo>
                  <a:pt x="150" y="26"/>
                </a:lnTo>
                <a:lnTo>
                  <a:pt x="150" y="28"/>
                </a:lnTo>
                <a:lnTo>
                  <a:pt x="150" y="36"/>
                </a:lnTo>
                <a:lnTo>
                  <a:pt x="150" y="42"/>
                </a:lnTo>
                <a:lnTo>
                  <a:pt x="158" y="50"/>
                </a:lnTo>
                <a:lnTo>
                  <a:pt x="160" y="52"/>
                </a:lnTo>
                <a:lnTo>
                  <a:pt x="162" y="54"/>
                </a:lnTo>
                <a:lnTo>
                  <a:pt x="162" y="56"/>
                </a:lnTo>
                <a:lnTo>
                  <a:pt x="160" y="56"/>
                </a:lnTo>
                <a:lnTo>
                  <a:pt x="152" y="56"/>
                </a:lnTo>
                <a:lnTo>
                  <a:pt x="146" y="50"/>
                </a:lnTo>
                <a:lnTo>
                  <a:pt x="142" y="44"/>
                </a:lnTo>
                <a:lnTo>
                  <a:pt x="142" y="40"/>
                </a:lnTo>
                <a:lnTo>
                  <a:pt x="142" y="34"/>
                </a:lnTo>
                <a:lnTo>
                  <a:pt x="136" y="24"/>
                </a:lnTo>
                <a:lnTo>
                  <a:pt x="134" y="20"/>
                </a:lnTo>
                <a:lnTo>
                  <a:pt x="128" y="22"/>
                </a:lnTo>
                <a:lnTo>
                  <a:pt x="126" y="26"/>
                </a:lnTo>
                <a:lnTo>
                  <a:pt x="128" y="28"/>
                </a:lnTo>
                <a:lnTo>
                  <a:pt x="124" y="34"/>
                </a:lnTo>
                <a:lnTo>
                  <a:pt x="122" y="36"/>
                </a:lnTo>
                <a:lnTo>
                  <a:pt x="118" y="44"/>
                </a:lnTo>
                <a:lnTo>
                  <a:pt x="116" y="50"/>
                </a:lnTo>
                <a:lnTo>
                  <a:pt x="114" y="54"/>
                </a:lnTo>
                <a:lnTo>
                  <a:pt x="112" y="56"/>
                </a:lnTo>
                <a:lnTo>
                  <a:pt x="108" y="54"/>
                </a:lnTo>
                <a:lnTo>
                  <a:pt x="100" y="54"/>
                </a:lnTo>
                <a:lnTo>
                  <a:pt x="98" y="56"/>
                </a:lnTo>
                <a:lnTo>
                  <a:pt x="94" y="54"/>
                </a:lnTo>
                <a:lnTo>
                  <a:pt x="90" y="54"/>
                </a:lnTo>
                <a:lnTo>
                  <a:pt x="84" y="56"/>
                </a:lnTo>
                <a:lnTo>
                  <a:pt x="82" y="60"/>
                </a:lnTo>
                <a:lnTo>
                  <a:pt x="82" y="68"/>
                </a:lnTo>
                <a:lnTo>
                  <a:pt x="82" y="70"/>
                </a:lnTo>
                <a:lnTo>
                  <a:pt x="82" y="74"/>
                </a:lnTo>
                <a:lnTo>
                  <a:pt x="80" y="76"/>
                </a:lnTo>
                <a:lnTo>
                  <a:pt x="78" y="78"/>
                </a:lnTo>
                <a:lnTo>
                  <a:pt x="74" y="86"/>
                </a:lnTo>
                <a:lnTo>
                  <a:pt x="74" y="88"/>
                </a:lnTo>
                <a:lnTo>
                  <a:pt x="78" y="92"/>
                </a:lnTo>
                <a:lnTo>
                  <a:pt x="80" y="96"/>
                </a:lnTo>
                <a:lnTo>
                  <a:pt x="78" y="96"/>
                </a:lnTo>
                <a:lnTo>
                  <a:pt x="76" y="98"/>
                </a:lnTo>
                <a:lnTo>
                  <a:pt x="70" y="94"/>
                </a:lnTo>
                <a:lnTo>
                  <a:pt x="62" y="92"/>
                </a:lnTo>
                <a:lnTo>
                  <a:pt x="58" y="90"/>
                </a:lnTo>
                <a:lnTo>
                  <a:pt x="56" y="86"/>
                </a:lnTo>
                <a:lnTo>
                  <a:pt x="48" y="86"/>
                </a:lnTo>
                <a:lnTo>
                  <a:pt x="44" y="88"/>
                </a:lnTo>
                <a:lnTo>
                  <a:pt x="44" y="92"/>
                </a:lnTo>
                <a:lnTo>
                  <a:pt x="44" y="96"/>
                </a:lnTo>
                <a:lnTo>
                  <a:pt x="44" y="98"/>
                </a:lnTo>
                <a:lnTo>
                  <a:pt x="38" y="100"/>
                </a:lnTo>
                <a:lnTo>
                  <a:pt x="36" y="106"/>
                </a:lnTo>
                <a:lnTo>
                  <a:pt x="32" y="112"/>
                </a:lnTo>
                <a:lnTo>
                  <a:pt x="30" y="114"/>
                </a:lnTo>
                <a:lnTo>
                  <a:pt x="28" y="118"/>
                </a:lnTo>
                <a:lnTo>
                  <a:pt x="26" y="124"/>
                </a:lnTo>
                <a:lnTo>
                  <a:pt x="28" y="128"/>
                </a:lnTo>
                <a:lnTo>
                  <a:pt x="30" y="134"/>
                </a:lnTo>
                <a:lnTo>
                  <a:pt x="30" y="140"/>
                </a:lnTo>
                <a:lnTo>
                  <a:pt x="28" y="144"/>
                </a:lnTo>
                <a:lnTo>
                  <a:pt x="20" y="152"/>
                </a:lnTo>
                <a:lnTo>
                  <a:pt x="18" y="158"/>
                </a:lnTo>
                <a:lnTo>
                  <a:pt x="14" y="160"/>
                </a:lnTo>
                <a:lnTo>
                  <a:pt x="14" y="162"/>
                </a:lnTo>
                <a:lnTo>
                  <a:pt x="12" y="166"/>
                </a:lnTo>
                <a:lnTo>
                  <a:pt x="8" y="168"/>
                </a:lnTo>
                <a:lnTo>
                  <a:pt x="8" y="172"/>
                </a:lnTo>
                <a:lnTo>
                  <a:pt x="10" y="178"/>
                </a:lnTo>
                <a:lnTo>
                  <a:pt x="8" y="180"/>
                </a:lnTo>
                <a:lnTo>
                  <a:pt x="8" y="184"/>
                </a:lnTo>
                <a:lnTo>
                  <a:pt x="8" y="188"/>
                </a:lnTo>
                <a:lnTo>
                  <a:pt x="8" y="200"/>
                </a:lnTo>
                <a:lnTo>
                  <a:pt x="10" y="204"/>
                </a:lnTo>
                <a:lnTo>
                  <a:pt x="18" y="208"/>
                </a:lnTo>
                <a:lnTo>
                  <a:pt x="22" y="212"/>
                </a:lnTo>
                <a:lnTo>
                  <a:pt x="26" y="214"/>
                </a:lnTo>
                <a:lnTo>
                  <a:pt x="36" y="216"/>
                </a:lnTo>
                <a:lnTo>
                  <a:pt x="44" y="218"/>
                </a:lnTo>
                <a:lnTo>
                  <a:pt x="54" y="220"/>
                </a:lnTo>
                <a:lnTo>
                  <a:pt x="56" y="218"/>
                </a:lnTo>
                <a:lnTo>
                  <a:pt x="60" y="222"/>
                </a:lnTo>
                <a:lnTo>
                  <a:pt x="66" y="224"/>
                </a:lnTo>
                <a:lnTo>
                  <a:pt x="66" y="226"/>
                </a:lnTo>
                <a:lnTo>
                  <a:pt x="62" y="226"/>
                </a:lnTo>
                <a:lnTo>
                  <a:pt x="58" y="226"/>
                </a:lnTo>
                <a:lnTo>
                  <a:pt x="46" y="226"/>
                </a:lnTo>
                <a:lnTo>
                  <a:pt x="22" y="244"/>
                </a:lnTo>
                <a:lnTo>
                  <a:pt x="12" y="254"/>
                </a:lnTo>
                <a:lnTo>
                  <a:pt x="0" y="268"/>
                </a:lnTo>
                <a:lnTo>
                  <a:pt x="4" y="278"/>
                </a:lnTo>
                <a:lnTo>
                  <a:pt x="10" y="284"/>
                </a:lnTo>
                <a:lnTo>
                  <a:pt x="18" y="284"/>
                </a:lnTo>
                <a:lnTo>
                  <a:pt x="22" y="286"/>
                </a:lnTo>
                <a:lnTo>
                  <a:pt x="24" y="288"/>
                </a:lnTo>
                <a:lnTo>
                  <a:pt x="26" y="290"/>
                </a:lnTo>
                <a:lnTo>
                  <a:pt x="32" y="286"/>
                </a:lnTo>
                <a:lnTo>
                  <a:pt x="38" y="286"/>
                </a:lnTo>
                <a:lnTo>
                  <a:pt x="52" y="286"/>
                </a:lnTo>
                <a:lnTo>
                  <a:pt x="58" y="288"/>
                </a:lnTo>
                <a:lnTo>
                  <a:pt x="62" y="290"/>
                </a:lnTo>
                <a:lnTo>
                  <a:pt x="64" y="294"/>
                </a:lnTo>
                <a:lnTo>
                  <a:pt x="66" y="302"/>
                </a:lnTo>
                <a:lnTo>
                  <a:pt x="62" y="306"/>
                </a:lnTo>
                <a:lnTo>
                  <a:pt x="58" y="306"/>
                </a:lnTo>
                <a:lnTo>
                  <a:pt x="62" y="310"/>
                </a:lnTo>
                <a:lnTo>
                  <a:pt x="66" y="312"/>
                </a:lnTo>
                <a:lnTo>
                  <a:pt x="74" y="314"/>
                </a:lnTo>
                <a:lnTo>
                  <a:pt x="82" y="316"/>
                </a:lnTo>
                <a:lnTo>
                  <a:pt x="90" y="316"/>
                </a:lnTo>
                <a:lnTo>
                  <a:pt x="92" y="314"/>
                </a:lnTo>
                <a:lnTo>
                  <a:pt x="98" y="314"/>
                </a:lnTo>
                <a:lnTo>
                  <a:pt x="108" y="320"/>
                </a:lnTo>
                <a:lnTo>
                  <a:pt x="142" y="322"/>
                </a:lnTo>
                <a:lnTo>
                  <a:pt x="144" y="320"/>
                </a:lnTo>
                <a:lnTo>
                  <a:pt x="150" y="326"/>
                </a:lnTo>
                <a:lnTo>
                  <a:pt x="156" y="330"/>
                </a:lnTo>
                <a:lnTo>
                  <a:pt x="162" y="332"/>
                </a:lnTo>
                <a:lnTo>
                  <a:pt x="166" y="332"/>
                </a:lnTo>
                <a:lnTo>
                  <a:pt x="174" y="334"/>
                </a:lnTo>
                <a:lnTo>
                  <a:pt x="174" y="338"/>
                </a:lnTo>
                <a:lnTo>
                  <a:pt x="176" y="342"/>
                </a:lnTo>
                <a:lnTo>
                  <a:pt x="180" y="346"/>
                </a:lnTo>
                <a:lnTo>
                  <a:pt x="182" y="350"/>
                </a:lnTo>
                <a:lnTo>
                  <a:pt x="182" y="352"/>
                </a:lnTo>
                <a:lnTo>
                  <a:pt x="188" y="360"/>
                </a:lnTo>
                <a:lnTo>
                  <a:pt x="194" y="362"/>
                </a:lnTo>
                <a:lnTo>
                  <a:pt x="194" y="370"/>
                </a:lnTo>
                <a:lnTo>
                  <a:pt x="194" y="378"/>
                </a:lnTo>
                <a:lnTo>
                  <a:pt x="194" y="384"/>
                </a:lnTo>
                <a:lnTo>
                  <a:pt x="192" y="392"/>
                </a:lnTo>
                <a:lnTo>
                  <a:pt x="186" y="400"/>
                </a:lnTo>
                <a:lnTo>
                  <a:pt x="178" y="404"/>
                </a:lnTo>
                <a:lnTo>
                  <a:pt x="176" y="410"/>
                </a:lnTo>
                <a:lnTo>
                  <a:pt x="176" y="412"/>
                </a:lnTo>
                <a:lnTo>
                  <a:pt x="180" y="416"/>
                </a:lnTo>
                <a:lnTo>
                  <a:pt x="182" y="418"/>
                </a:lnTo>
                <a:lnTo>
                  <a:pt x="180" y="422"/>
                </a:lnTo>
                <a:lnTo>
                  <a:pt x="186" y="424"/>
                </a:lnTo>
                <a:lnTo>
                  <a:pt x="186" y="430"/>
                </a:lnTo>
                <a:lnTo>
                  <a:pt x="194" y="430"/>
                </a:lnTo>
                <a:lnTo>
                  <a:pt x="198" y="436"/>
                </a:lnTo>
                <a:lnTo>
                  <a:pt x="204" y="440"/>
                </a:lnTo>
                <a:lnTo>
                  <a:pt x="204" y="442"/>
                </a:lnTo>
                <a:lnTo>
                  <a:pt x="204" y="454"/>
                </a:lnTo>
                <a:lnTo>
                  <a:pt x="208" y="456"/>
                </a:lnTo>
                <a:lnTo>
                  <a:pt x="216" y="458"/>
                </a:lnTo>
                <a:lnTo>
                  <a:pt x="214" y="468"/>
                </a:lnTo>
                <a:lnTo>
                  <a:pt x="220" y="470"/>
                </a:lnTo>
                <a:lnTo>
                  <a:pt x="222" y="476"/>
                </a:lnTo>
                <a:lnTo>
                  <a:pt x="230" y="476"/>
                </a:lnTo>
                <a:lnTo>
                  <a:pt x="236" y="472"/>
                </a:lnTo>
                <a:lnTo>
                  <a:pt x="244" y="468"/>
                </a:lnTo>
                <a:lnTo>
                  <a:pt x="246" y="464"/>
                </a:lnTo>
                <a:lnTo>
                  <a:pt x="252" y="464"/>
                </a:lnTo>
                <a:lnTo>
                  <a:pt x="254" y="464"/>
                </a:lnTo>
                <a:lnTo>
                  <a:pt x="258" y="460"/>
                </a:lnTo>
                <a:lnTo>
                  <a:pt x="264" y="454"/>
                </a:lnTo>
                <a:lnTo>
                  <a:pt x="266" y="454"/>
                </a:lnTo>
                <a:lnTo>
                  <a:pt x="272" y="456"/>
                </a:lnTo>
                <a:lnTo>
                  <a:pt x="278" y="452"/>
                </a:lnTo>
                <a:lnTo>
                  <a:pt x="282" y="452"/>
                </a:lnTo>
                <a:lnTo>
                  <a:pt x="284" y="456"/>
                </a:lnTo>
                <a:lnTo>
                  <a:pt x="290" y="458"/>
                </a:lnTo>
                <a:lnTo>
                  <a:pt x="290" y="460"/>
                </a:lnTo>
                <a:lnTo>
                  <a:pt x="290" y="466"/>
                </a:lnTo>
                <a:lnTo>
                  <a:pt x="296" y="470"/>
                </a:lnTo>
                <a:lnTo>
                  <a:pt x="300" y="474"/>
                </a:lnTo>
                <a:lnTo>
                  <a:pt x="304" y="482"/>
                </a:lnTo>
                <a:lnTo>
                  <a:pt x="306" y="486"/>
                </a:lnTo>
                <a:lnTo>
                  <a:pt x="316" y="486"/>
                </a:lnTo>
                <a:lnTo>
                  <a:pt x="320" y="492"/>
                </a:lnTo>
                <a:lnTo>
                  <a:pt x="320" y="496"/>
                </a:lnTo>
                <a:lnTo>
                  <a:pt x="326" y="502"/>
                </a:lnTo>
                <a:lnTo>
                  <a:pt x="334" y="504"/>
                </a:lnTo>
                <a:lnTo>
                  <a:pt x="340" y="508"/>
                </a:lnTo>
                <a:lnTo>
                  <a:pt x="348" y="512"/>
                </a:lnTo>
                <a:lnTo>
                  <a:pt x="350" y="522"/>
                </a:lnTo>
                <a:lnTo>
                  <a:pt x="350" y="524"/>
                </a:lnTo>
                <a:lnTo>
                  <a:pt x="354" y="528"/>
                </a:lnTo>
                <a:lnTo>
                  <a:pt x="358" y="530"/>
                </a:lnTo>
                <a:lnTo>
                  <a:pt x="362" y="526"/>
                </a:lnTo>
                <a:lnTo>
                  <a:pt x="372" y="520"/>
                </a:lnTo>
                <a:lnTo>
                  <a:pt x="384" y="510"/>
                </a:lnTo>
                <a:lnTo>
                  <a:pt x="394" y="502"/>
                </a:lnTo>
                <a:lnTo>
                  <a:pt x="400" y="502"/>
                </a:lnTo>
                <a:lnTo>
                  <a:pt x="408" y="502"/>
                </a:lnTo>
                <a:lnTo>
                  <a:pt x="408" y="496"/>
                </a:lnTo>
                <a:lnTo>
                  <a:pt x="404" y="496"/>
                </a:lnTo>
                <a:lnTo>
                  <a:pt x="400" y="488"/>
                </a:lnTo>
                <a:lnTo>
                  <a:pt x="402" y="484"/>
                </a:lnTo>
                <a:lnTo>
                  <a:pt x="404" y="478"/>
                </a:lnTo>
                <a:lnTo>
                  <a:pt x="406" y="466"/>
                </a:lnTo>
                <a:lnTo>
                  <a:pt x="404" y="466"/>
                </a:lnTo>
                <a:lnTo>
                  <a:pt x="400" y="464"/>
                </a:lnTo>
                <a:lnTo>
                  <a:pt x="394" y="458"/>
                </a:lnTo>
                <a:lnTo>
                  <a:pt x="390" y="458"/>
                </a:lnTo>
                <a:lnTo>
                  <a:pt x="386" y="458"/>
                </a:lnTo>
                <a:lnTo>
                  <a:pt x="382" y="458"/>
                </a:lnTo>
                <a:lnTo>
                  <a:pt x="376" y="458"/>
                </a:lnTo>
                <a:lnTo>
                  <a:pt x="374" y="456"/>
                </a:lnTo>
                <a:lnTo>
                  <a:pt x="374" y="452"/>
                </a:lnTo>
                <a:lnTo>
                  <a:pt x="372" y="446"/>
                </a:lnTo>
                <a:lnTo>
                  <a:pt x="368" y="438"/>
                </a:lnTo>
                <a:lnTo>
                  <a:pt x="370" y="428"/>
                </a:lnTo>
                <a:lnTo>
                  <a:pt x="370" y="420"/>
                </a:lnTo>
                <a:lnTo>
                  <a:pt x="366" y="410"/>
                </a:lnTo>
                <a:lnTo>
                  <a:pt x="368" y="404"/>
                </a:lnTo>
                <a:lnTo>
                  <a:pt x="370" y="402"/>
                </a:lnTo>
                <a:lnTo>
                  <a:pt x="372" y="398"/>
                </a:lnTo>
                <a:lnTo>
                  <a:pt x="370" y="394"/>
                </a:lnTo>
                <a:lnTo>
                  <a:pt x="370" y="392"/>
                </a:lnTo>
                <a:lnTo>
                  <a:pt x="370" y="388"/>
                </a:lnTo>
                <a:lnTo>
                  <a:pt x="374" y="384"/>
                </a:lnTo>
                <a:lnTo>
                  <a:pt x="376" y="382"/>
                </a:lnTo>
                <a:lnTo>
                  <a:pt x="376" y="380"/>
                </a:lnTo>
                <a:lnTo>
                  <a:pt x="374" y="378"/>
                </a:lnTo>
                <a:lnTo>
                  <a:pt x="372" y="378"/>
                </a:lnTo>
                <a:lnTo>
                  <a:pt x="370" y="374"/>
                </a:lnTo>
                <a:lnTo>
                  <a:pt x="372" y="368"/>
                </a:lnTo>
                <a:lnTo>
                  <a:pt x="370" y="362"/>
                </a:lnTo>
                <a:lnTo>
                  <a:pt x="370" y="358"/>
                </a:lnTo>
                <a:lnTo>
                  <a:pt x="368" y="352"/>
                </a:lnTo>
                <a:lnTo>
                  <a:pt x="366" y="350"/>
                </a:lnTo>
                <a:lnTo>
                  <a:pt x="360" y="346"/>
                </a:lnTo>
                <a:lnTo>
                  <a:pt x="362" y="344"/>
                </a:lnTo>
                <a:lnTo>
                  <a:pt x="362" y="340"/>
                </a:lnTo>
                <a:lnTo>
                  <a:pt x="368" y="334"/>
                </a:lnTo>
                <a:lnTo>
                  <a:pt x="370" y="330"/>
                </a:lnTo>
                <a:lnTo>
                  <a:pt x="370" y="328"/>
                </a:lnTo>
                <a:lnTo>
                  <a:pt x="370" y="326"/>
                </a:lnTo>
                <a:lnTo>
                  <a:pt x="372" y="324"/>
                </a:lnTo>
                <a:lnTo>
                  <a:pt x="374" y="314"/>
                </a:lnTo>
                <a:lnTo>
                  <a:pt x="382" y="310"/>
                </a:lnTo>
                <a:lnTo>
                  <a:pt x="386" y="304"/>
                </a:lnTo>
                <a:lnTo>
                  <a:pt x="388" y="298"/>
                </a:lnTo>
                <a:lnTo>
                  <a:pt x="392" y="296"/>
                </a:lnTo>
                <a:lnTo>
                  <a:pt x="396" y="294"/>
                </a:lnTo>
                <a:lnTo>
                  <a:pt x="404" y="290"/>
                </a:lnTo>
                <a:lnTo>
                  <a:pt x="408" y="280"/>
                </a:lnTo>
                <a:lnTo>
                  <a:pt x="410" y="278"/>
                </a:lnTo>
                <a:lnTo>
                  <a:pt x="414" y="274"/>
                </a:lnTo>
                <a:lnTo>
                  <a:pt x="420" y="272"/>
                </a:lnTo>
                <a:lnTo>
                  <a:pt x="420" y="274"/>
                </a:lnTo>
                <a:lnTo>
                  <a:pt x="422" y="278"/>
                </a:lnTo>
                <a:lnTo>
                  <a:pt x="426" y="280"/>
                </a:lnTo>
                <a:lnTo>
                  <a:pt x="428" y="280"/>
                </a:lnTo>
                <a:lnTo>
                  <a:pt x="434" y="284"/>
                </a:lnTo>
                <a:lnTo>
                  <a:pt x="436" y="286"/>
                </a:lnTo>
                <a:lnTo>
                  <a:pt x="444" y="276"/>
                </a:lnTo>
                <a:lnTo>
                  <a:pt x="452" y="278"/>
                </a:lnTo>
                <a:lnTo>
                  <a:pt x="456" y="276"/>
                </a:lnTo>
                <a:lnTo>
                  <a:pt x="462" y="278"/>
                </a:lnTo>
                <a:lnTo>
                  <a:pt x="464" y="280"/>
                </a:lnTo>
                <a:lnTo>
                  <a:pt x="466" y="278"/>
                </a:lnTo>
                <a:lnTo>
                  <a:pt x="466" y="272"/>
                </a:lnTo>
                <a:close/>
              </a:path>
            </a:pathLst>
          </a:custGeom>
          <a:solidFill>
            <a:srgbClr val="F1B728"/>
          </a:solidFill>
          <a:ln w="6350">
            <a:solidFill>
              <a:schemeClr val="tx1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457200">
              <a:defRPr/>
            </a:pPr>
            <a:endParaRPr lang="en-US" kern="0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52" name="Freeform 30">
            <a:extLst>
              <a:ext uri="{FF2B5EF4-FFF2-40B4-BE49-F238E27FC236}">
                <a16:creationId xmlns:a16="http://schemas.microsoft.com/office/drawing/2014/main" id="{1D311110-CA1C-036A-16CC-614B0548D279}"/>
              </a:ext>
            </a:extLst>
          </p:cNvPr>
          <p:cNvSpPr>
            <a:spLocks/>
          </p:cNvSpPr>
          <p:nvPr/>
        </p:nvSpPr>
        <p:spPr bwMode="auto">
          <a:xfrm>
            <a:off x="4396740" y="3185160"/>
            <a:ext cx="406400" cy="609600"/>
          </a:xfrm>
          <a:custGeom>
            <a:avLst/>
            <a:gdLst>
              <a:gd name="T0" fmla="*/ 2147483646 w 320"/>
              <a:gd name="T1" fmla="*/ 2147483646 h 480"/>
              <a:gd name="T2" fmla="*/ 2147483646 w 320"/>
              <a:gd name="T3" fmla="*/ 2147483646 h 480"/>
              <a:gd name="T4" fmla="*/ 2147483646 w 320"/>
              <a:gd name="T5" fmla="*/ 2147483646 h 480"/>
              <a:gd name="T6" fmla="*/ 2147483646 w 320"/>
              <a:gd name="T7" fmla="*/ 2147483646 h 480"/>
              <a:gd name="T8" fmla="*/ 2147483646 w 320"/>
              <a:gd name="T9" fmla="*/ 2147483646 h 480"/>
              <a:gd name="T10" fmla="*/ 2147483646 w 320"/>
              <a:gd name="T11" fmla="*/ 2147483646 h 480"/>
              <a:gd name="T12" fmla="*/ 2147483646 w 320"/>
              <a:gd name="T13" fmla="*/ 2147483646 h 480"/>
              <a:gd name="T14" fmla="*/ 2147483646 w 320"/>
              <a:gd name="T15" fmla="*/ 2147483646 h 480"/>
              <a:gd name="T16" fmla="*/ 2147483646 w 320"/>
              <a:gd name="T17" fmla="*/ 2147483646 h 480"/>
              <a:gd name="T18" fmla="*/ 2147483646 w 320"/>
              <a:gd name="T19" fmla="*/ 2147483646 h 480"/>
              <a:gd name="T20" fmla="*/ 2147483646 w 320"/>
              <a:gd name="T21" fmla="*/ 2147483646 h 480"/>
              <a:gd name="T22" fmla="*/ 2147483646 w 320"/>
              <a:gd name="T23" fmla="*/ 2147483646 h 480"/>
              <a:gd name="T24" fmla="*/ 2147483646 w 320"/>
              <a:gd name="T25" fmla="*/ 2147483646 h 480"/>
              <a:gd name="T26" fmla="*/ 2147483646 w 320"/>
              <a:gd name="T27" fmla="*/ 2147483646 h 480"/>
              <a:gd name="T28" fmla="*/ 2147483646 w 320"/>
              <a:gd name="T29" fmla="*/ 2147483646 h 480"/>
              <a:gd name="T30" fmla="*/ 2147483646 w 320"/>
              <a:gd name="T31" fmla="*/ 2147483646 h 480"/>
              <a:gd name="T32" fmla="*/ 2147483646 w 320"/>
              <a:gd name="T33" fmla="*/ 2147483646 h 480"/>
              <a:gd name="T34" fmla="*/ 2147483646 w 320"/>
              <a:gd name="T35" fmla="*/ 2147483646 h 480"/>
              <a:gd name="T36" fmla="*/ 2147483646 w 320"/>
              <a:gd name="T37" fmla="*/ 0 h 480"/>
              <a:gd name="T38" fmla="*/ 2147483646 w 320"/>
              <a:gd name="T39" fmla="*/ 0 h 480"/>
              <a:gd name="T40" fmla="*/ 2147483646 w 320"/>
              <a:gd name="T41" fmla="*/ 2147483646 h 480"/>
              <a:gd name="T42" fmla="*/ 2147483646 w 320"/>
              <a:gd name="T43" fmla="*/ 2147483646 h 480"/>
              <a:gd name="T44" fmla="*/ 2147483646 w 320"/>
              <a:gd name="T45" fmla="*/ 2147483646 h 480"/>
              <a:gd name="T46" fmla="*/ 2147483646 w 320"/>
              <a:gd name="T47" fmla="*/ 2147483646 h 480"/>
              <a:gd name="T48" fmla="*/ 2147483646 w 320"/>
              <a:gd name="T49" fmla="*/ 2147483646 h 480"/>
              <a:gd name="T50" fmla="*/ 2147483646 w 320"/>
              <a:gd name="T51" fmla="*/ 2147483646 h 480"/>
              <a:gd name="T52" fmla="*/ 2147483646 w 320"/>
              <a:gd name="T53" fmla="*/ 2147483646 h 480"/>
              <a:gd name="T54" fmla="*/ 2147483646 w 320"/>
              <a:gd name="T55" fmla="*/ 2147483646 h 480"/>
              <a:gd name="T56" fmla="*/ 2147483646 w 320"/>
              <a:gd name="T57" fmla="*/ 2147483646 h 480"/>
              <a:gd name="T58" fmla="*/ 2147483646 w 320"/>
              <a:gd name="T59" fmla="*/ 2147483646 h 480"/>
              <a:gd name="T60" fmla="*/ 2147483646 w 320"/>
              <a:gd name="T61" fmla="*/ 2147483646 h 480"/>
              <a:gd name="T62" fmla="*/ 2147483646 w 320"/>
              <a:gd name="T63" fmla="*/ 2147483646 h 480"/>
              <a:gd name="T64" fmla="*/ 2147483646 w 320"/>
              <a:gd name="T65" fmla="*/ 2147483646 h 480"/>
              <a:gd name="T66" fmla="*/ 2147483646 w 320"/>
              <a:gd name="T67" fmla="*/ 2147483646 h 480"/>
              <a:gd name="T68" fmla="*/ 2147483646 w 320"/>
              <a:gd name="T69" fmla="*/ 2147483646 h 480"/>
              <a:gd name="T70" fmla="*/ 2147483646 w 320"/>
              <a:gd name="T71" fmla="*/ 2147483646 h 480"/>
              <a:gd name="T72" fmla="*/ 0 w 320"/>
              <a:gd name="T73" fmla="*/ 2147483646 h 480"/>
              <a:gd name="T74" fmla="*/ 2147483646 w 320"/>
              <a:gd name="T75" fmla="*/ 2147483646 h 480"/>
              <a:gd name="T76" fmla="*/ 2147483646 w 320"/>
              <a:gd name="T77" fmla="*/ 2147483646 h 480"/>
              <a:gd name="T78" fmla="*/ 2147483646 w 320"/>
              <a:gd name="T79" fmla="*/ 2147483646 h 480"/>
              <a:gd name="T80" fmla="*/ 2147483646 w 320"/>
              <a:gd name="T81" fmla="*/ 2147483646 h 480"/>
              <a:gd name="T82" fmla="*/ 2147483646 w 320"/>
              <a:gd name="T83" fmla="*/ 2147483646 h 480"/>
              <a:gd name="T84" fmla="*/ 2147483646 w 320"/>
              <a:gd name="T85" fmla="*/ 2147483646 h 480"/>
              <a:gd name="T86" fmla="*/ 2147483646 w 320"/>
              <a:gd name="T87" fmla="*/ 2147483646 h 480"/>
              <a:gd name="T88" fmla="*/ 2147483646 w 320"/>
              <a:gd name="T89" fmla="*/ 2147483646 h 480"/>
              <a:gd name="T90" fmla="*/ 2147483646 w 320"/>
              <a:gd name="T91" fmla="*/ 2147483646 h 480"/>
              <a:gd name="T92" fmla="*/ 2147483646 w 320"/>
              <a:gd name="T93" fmla="*/ 2147483646 h 480"/>
              <a:gd name="T94" fmla="*/ 2147483646 w 320"/>
              <a:gd name="T95" fmla="*/ 2147483646 h 480"/>
              <a:gd name="T96" fmla="*/ 2147483646 w 320"/>
              <a:gd name="T97" fmla="*/ 2147483646 h 480"/>
              <a:gd name="T98" fmla="*/ 2147483646 w 320"/>
              <a:gd name="T99" fmla="*/ 2147483646 h 480"/>
              <a:gd name="T100" fmla="*/ 2147483646 w 320"/>
              <a:gd name="T101" fmla="*/ 2147483646 h 480"/>
              <a:gd name="T102" fmla="*/ 2147483646 w 320"/>
              <a:gd name="T103" fmla="*/ 2147483646 h 480"/>
              <a:gd name="T104" fmla="*/ 2147483646 w 320"/>
              <a:gd name="T105" fmla="*/ 2147483646 h 480"/>
              <a:gd name="T106" fmla="*/ 2147483646 w 320"/>
              <a:gd name="T107" fmla="*/ 2147483646 h 480"/>
              <a:gd name="T108" fmla="*/ 2147483646 w 320"/>
              <a:gd name="T109" fmla="*/ 2147483646 h 480"/>
              <a:gd name="T110" fmla="*/ 2147483646 w 320"/>
              <a:gd name="T111" fmla="*/ 2147483646 h 480"/>
              <a:gd name="T112" fmla="*/ 2147483646 w 320"/>
              <a:gd name="T113" fmla="*/ 2147483646 h 480"/>
              <a:gd name="T114" fmla="*/ 2147483646 w 320"/>
              <a:gd name="T115" fmla="*/ 2147483646 h 480"/>
              <a:gd name="T116" fmla="*/ 2147483646 w 320"/>
              <a:gd name="T117" fmla="*/ 2147483646 h 480"/>
              <a:gd name="T118" fmla="*/ 2147483646 w 320"/>
              <a:gd name="T119" fmla="*/ 2147483646 h 480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w 320"/>
              <a:gd name="T181" fmla="*/ 0 h 480"/>
              <a:gd name="T182" fmla="*/ 320 w 320"/>
              <a:gd name="T183" fmla="*/ 480 h 480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T180" t="T181" r="T182" b="T183"/>
            <a:pathLst>
              <a:path w="320" h="480">
                <a:moveTo>
                  <a:pt x="288" y="180"/>
                </a:moveTo>
                <a:lnTo>
                  <a:pt x="294" y="180"/>
                </a:lnTo>
                <a:lnTo>
                  <a:pt x="296" y="178"/>
                </a:lnTo>
                <a:lnTo>
                  <a:pt x="304" y="170"/>
                </a:lnTo>
                <a:lnTo>
                  <a:pt x="304" y="168"/>
                </a:lnTo>
                <a:lnTo>
                  <a:pt x="302" y="168"/>
                </a:lnTo>
                <a:lnTo>
                  <a:pt x="296" y="166"/>
                </a:lnTo>
                <a:lnTo>
                  <a:pt x="296" y="164"/>
                </a:lnTo>
                <a:lnTo>
                  <a:pt x="296" y="162"/>
                </a:lnTo>
                <a:lnTo>
                  <a:pt x="302" y="164"/>
                </a:lnTo>
                <a:lnTo>
                  <a:pt x="306" y="158"/>
                </a:lnTo>
                <a:lnTo>
                  <a:pt x="310" y="154"/>
                </a:lnTo>
                <a:lnTo>
                  <a:pt x="312" y="152"/>
                </a:lnTo>
                <a:lnTo>
                  <a:pt x="312" y="142"/>
                </a:lnTo>
                <a:lnTo>
                  <a:pt x="314" y="132"/>
                </a:lnTo>
                <a:lnTo>
                  <a:pt x="312" y="126"/>
                </a:lnTo>
                <a:lnTo>
                  <a:pt x="310" y="124"/>
                </a:lnTo>
                <a:lnTo>
                  <a:pt x="312" y="122"/>
                </a:lnTo>
                <a:lnTo>
                  <a:pt x="320" y="116"/>
                </a:lnTo>
                <a:lnTo>
                  <a:pt x="320" y="114"/>
                </a:lnTo>
                <a:lnTo>
                  <a:pt x="308" y="104"/>
                </a:lnTo>
                <a:lnTo>
                  <a:pt x="310" y="98"/>
                </a:lnTo>
                <a:lnTo>
                  <a:pt x="310" y="94"/>
                </a:lnTo>
                <a:lnTo>
                  <a:pt x="308" y="90"/>
                </a:lnTo>
                <a:lnTo>
                  <a:pt x="302" y="86"/>
                </a:lnTo>
                <a:lnTo>
                  <a:pt x="296" y="86"/>
                </a:lnTo>
                <a:lnTo>
                  <a:pt x="250" y="86"/>
                </a:lnTo>
                <a:lnTo>
                  <a:pt x="238" y="72"/>
                </a:lnTo>
                <a:lnTo>
                  <a:pt x="234" y="60"/>
                </a:lnTo>
                <a:lnTo>
                  <a:pt x="222" y="40"/>
                </a:lnTo>
                <a:lnTo>
                  <a:pt x="212" y="26"/>
                </a:lnTo>
                <a:lnTo>
                  <a:pt x="204" y="24"/>
                </a:lnTo>
                <a:lnTo>
                  <a:pt x="186" y="18"/>
                </a:lnTo>
                <a:lnTo>
                  <a:pt x="174" y="18"/>
                </a:lnTo>
                <a:lnTo>
                  <a:pt x="172" y="10"/>
                </a:lnTo>
                <a:lnTo>
                  <a:pt x="170" y="8"/>
                </a:lnTo>
                <a:lnTo>
                  <a:pt x="164" y="2"/>
                </a:lnTo>
                <a:lnTo>
                  <a:pt x="158" y="0"/>
                </a:lnTo>
                <a:lnTo>
                  <a:pt x="154" y="0"/>
                </a:lnTo>
                <a:lnTo>
                  <a:pt x="152" y="0"/>
                </a:lnTo>
                <a:lnTo>
                  <a:pt x="140" y="14"/>
                </a:lnTo>
                <a:lnTo>
                  <a:pt x="96" y="10"/>
                </a:lnTo>
                <a:lnTo>
                  <a:pt x="94" y="56"/>
                </a:lnTo>
                <a:lnTo>
                  <a:pt x="94" y="60"/>
                </a:lnTo>
                <a:lnTo>
                  <a:pt x="86" y="92"/>
                </a:lnTo>
                <a:lnTo>
                  <a:pt x="84" y="110"/>
                </a:lnTo>
                <a:lnTo>
                  <a:pt x="82" y="114"/>
                </a:lnTo>
                <a:lnTo>
                  <a:pt x="80" y="118"/>
                </a:lnTo>
                <a:lnTo>
                  <a:pt x="68" y="132"/>
                </a:lnTo>
                <a:lnTo>
                  <a:pt x="76" y="152"/>
                </a:lnTo>
                <a:lnTo>
                  <a:pt x="84" y="168"/>
                </a:lnTo>
                <a:lnTo>
                  <a:pt x="84" y="172"/>
                </a:lnTo>
                <a:lnTo>
                  <a:pt x="82" y="176"/>
                </a:lnTo>
                <a:lnTo>
                  <a:pt x="80" y="178"/>
                </a:lnTo>
                <a:lnTo>
                  <a:pt x="70" y="184"/>
                </a:lnTo>
                <a:lnTo>
                  <a:pt x="68" y="188"/>
                </a:lnTo>
                <a:lnTo>
                  <a:pt x="60" y="194"/>
                </a:lnTo>
                <a:lnTo>
                  <a:pt x="64" y="198"/>
                </a:lnTo>
                <a:lnTo>
                  <a:pt x="64" y="200"/>
                </a:lnTo>
                <a:lnTo>
                  <a:pt x="64" y="204"/>
                </a:lnTo>
                <a:lnTo>
                  <a:pt x="62" y="212"/>
                </a:lnTo>
                <a:lnTo>
                  <a:pt x="54" y="216"/>
                </a:lnTo>
                <a:lnTo>
                  <a:pt x="54" y="220"/>
                </a:lnTo>
                <a:lnTo>
                  <a:pt x="50" y="226"/>
                </a:lnTo>
                <a:lnTo>
                  <a:pt x="42" y="236"/>
                </a:lnTo>
                <a:lnTo>
                  <a:pt x="42" y="240"/>
                </a:lnTo>
                <a:lnTo>
                  <a:pt x="38" y="254"/>
                </a:lnTo>
                <a:lnTo>
                  <a:pt x="36" y="254"/>
                </a:lnTo>
                <a:lnTo>
                  <a:pt x="28" y="254"/>
                </a:lnTo>
                <a:lnTo>
                  <a:pt x="26" y="256"/>
                </a:lnTo>
                <a:lnTo>
                  <a:pt x="26" y="258"/>
                </a:lnTo>
                <a:lnTo>
                  <a:pt x="26" y="262"/>
                </a:lnTo>
                <a:lnTo>
                  <a:pt x="24" y="270"/>
                </a:lnTo>
                <a:lnTo>
                  <a:pt x="0" y="392"/>
                </a:lnTo>
                <a:lnTo>
                  <a:pt x="16" y="434"/>
                </a:lnTo>
                <a:lnTo>
                  <a:pt x="28" y="434"/>
                </a:lnTo>
                <a:lnTo>
                  <a:pt x="32" y="432"/>
                </a:lnTo>
                <a:lnTo>
                  <a:pt x="36" y="432"/>
                </a:lnTo>
                <a:lnTo>
                  <a:pt x="42" y="426"/>
                </a:lnTo>
                <a:lnTo>
                  <a:pt x="46" y="432"/>
                </a:lnTo>
                <a:lnTo>
                  <a:pt x="48" y="432"/>
                </a:lnTo>
                <a:lnTo>
                  <a:pt x="54" y="434"/>
                </a:lnTo>
                <a:lnTo>
                  <a:pt x="56" y="436"/>
                </a:lnTo>
                <a:lnTo>
                  <a:pt x="60" y="442"/>
                </a:lnTo>
                <a:lnTo>
                  <a:pt x="66" y="442"/>
                </a:lnTo>
                <a:lnTo>
                  <a:pt x="70" y="446"/>
                </a:lnTo>
                <a:lnTo>
                  <a:pt x="72" y="448"/>
                </a:lnTo>
                <a:lnTo>
                  <a:pt x="68" y="452"/>
                </a:lnTo>
                <a:lnTo>
                  <a:pt x="72" y="460"/>
                </a:lnTo>
                <a:lnTo>
                  <a:pt x="78" y="468"/>
                </a:lnTo>
                <a:lnTo>
                  <a:pt x="82" y="472"/>
                </a:lnTo>
                <a:lnTo>
                  <a:pt x="82" y="478"/>
                </a:lnTo>
                <a:lnTo>
                  <a:pt x="84" y="480"/>
                </a:lnTo>
                <a:lnTo>
                  <a:pt x="90" y="480"/>
                </a:lnTo>
                <a:lnTo>
                  <a:pt x="104" y="478"/>
                </a:lnTo>
                <a:lnTo>
                  <a:pt x="114" y="474"/>
                </a:lnTo>
                <a:lnTo>
                  <a:pt x="118" y="470"/>
                </a:lnTo>
                <a:lnTo>
                  <a:pt x="124" y="464"/>
                </a:lnTo>
                <a:lnTo>
                  <a:pt x="136" y="442"/>
                </a:lnTo>
                <a:lnTo>
                  <a:pt x="148" y="424"/>
                </a:lnTo>
                <a:lnTo>
                  <a:pt x="154" y="414"/>
                </a:lnTo>
                <a:lnTo>
                  <a:pt x="250" y="414"/>
                </a:lnTo>
                <a:lnTo>
                  <a:pt x="278" y="304"/>
                </a:lnTo>
                <a:lnTo>
                  <a:pt x="268" y="244"/>
                </a:lnTo>
                <a:lnTo>
                  <a:pt x="270" y="238"/>
                </a:lnTo>
                <a:lnTo>
                  <a:pt x="272" y="236"/>
                </a:lnTo>
                <a:lnTo>
                  <a:pt x="272" y="232"/>
                </a:lnTo>
                <a:lnTo>
                  <a:pt x="274" y="226"/>
                </a:lnTo>
                <a:lnTo>
                  <a:pt x="280" y="224"/>
                </a:lnTo>
                <a:lnTo>
                  <a:pt x="282" y="218"/>
                </a:lnTo>
                <a:lnTo>
                  <a:pt x="282" y="212"/>
                </a:lnTo>
                <a:lnTo>
                  <a:pt x="278" y="206"/>
                </a:lnTo>
                <a:lnTo>
                  <a:pt x="278" y="204"/>
                </a:lnTo>
                <a:lnTo>
                  <a:pt x="280" y="202"/>
                </a:lnTo>
                <a:lnTo>
                  <a:pt x="282" y="198"/>
                </a:lnTo>
                <a:lnTo>
                  <a:pt x="282" y="194"/>
                </a:lnTo>
                <a:lnTo>
                  <a:pt x="286" y="190"/>
                </a:lnTo>
                <a:lnTo>
                  <a:pt x="288" y="188"/>
                </a:lnTo>
                <a:lnTo>
                  <a:pt x="288" y="186"/>
                </a:lnTo>
                <a:lnTo>
                  <a:pt x="286" y="182"/>
                </a:lnTo>
                <a:lnTo>
                  <a:pt x="288" y="180"/>
                </a:lnTo>
                <a:close/>
              </a:path>
            </a:pathLst>
          </a:custGeom>
          <a:solidFill>
            <a:srgbClr val="F1B728"/>
          </a:solidFill>
          <a:ln w="6350">
            <a:solidFill>
              <a:schemeClr val="tx1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457200"/>
            <a:endParaRPr lang="en-US" kern="0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53" name="Freeform 31">
            <a:extLst>
              <a:ext uri="{FF2B5EF4-FFF2-40B4-BE49-F238E27FC236}">
                <a16:creationId xmlns:a16="http://schemas.microsoft.com/office/drawing/2014/main" id="{F06F37CE-52C8-C4CD-55AA-7E95572099B3}"/>
              </a:ext>
            </a:extLst>
          </p:cNvPr>
          <p:cNvSpPr>
            <a:spLocks/>
          </p:cNvSpPr>
          <p:nvPr/>
        </p:nvSpPr>
        <p:spPr bwMode="auto">
          <a:xfrm>
            <a:off x="5034280" y="2951480"/>
            <a:ext cx="599440" cy="447040"/>
          </a:xfrm>
          <a:custGeom>
            <a:avLst/>
            <a:gdLst>
              <a:gd name="T0" fmla="*/ 2147483646 w 472"/>
              <a:gd name="T1" fmla="*/ 2147483646 h 352"/>
              <a:gd name="T2" fmla="*/ 2147483646 w 472"/>
              <a:gd name="T3" fmla="*/ 2147483646 h 352"/>
              <a:gd name="T4" fmla="*/ 2147483646 w 472"/>
              <a:gd name="T5" fmla="*/ 2147483646 h 352"/>
              <a:gd name="T6" fmla="*/ 2147483646 w 472"/>
              <a:gd name="T7" fmla="*/ 2147483646 h 352"/>
              <a:gd name="T8" fmla="*/ 2147483646 w 472"/>
              <a:gd name="T9" fmla="*/ 2147483646 h 352"/>
              <a:gd name="T10" fmla="*/ 2147483646 w 472"/>
              <a:gd name="T11" fmla="*/ 2147483646 h 352"/>
              <a:gd name="T12" fmla="*/ 2147483646 w 472"/>
              <a:gd name="T13" fmla="*/ 2147483646 h 352"/>
              <a:gd name="T14" fmla="*/ 2147483646 w 472"/>
              <a:gd name="T15" fmla="*/ 2147483646 h 352"/>
              <a:gd name="T16" fmla="*/ 2147483646 w 472"/>
              <a:gd name="T17" fmla="*/ 2147483646 h 352"/>
              <a:gd name="T18" fmla="*/ 2147483646 w 472"/>
              <a:gd name="T19" fmla="*/ 2147483646 h 352"/>
              <a:gd name="T20" fmla="*/ 2147483646 w 472"/>
              <a:gd name="T21" fmla="*/ 2147483646 h 352"/>
              <a:gd name="T22" fmla="*/ 2147483646 w 472"/>
              <a:gd name="T23" fmla="*/ 2147483646 h 352"/>
              <a:gd name="T24" fmla="*/ 2147483646 w 472"/>
              <a:gd name="T25" fmla="*/ 2147483646 h 352"/>
              <a:gd name="T26" fmla="*/ 2147483646 w 472"/>
              <a:gd name="T27" fmla="*/ 2147483646 h 352"/>
              <a:gd name="T28" fmla="*/ 2147483646 w 472"/>
              <a:gd name="T29" fmla="*/ 2147483646 h 352"/>
              <a:gd name="T30" fmla="*/ 2147483646 w 472"/>
              <a:gd name="T31" fmla="*/ 2147483646 h 352"/>
              <a:gd name="T32" fmla="*/ 2147483646 w 472"/>
              <a:gd name="T33" fmla="*/ 2147483646 h 352"/>
              <a:gd name="T34" fmla="*/ 2147483646 w 472"/>
              <a:gd name="T35" fmla="*/ 2147483646 h 352"/>
              <a:gd name="T36" fmla="*/ 2147483646 w 472"/>
              <a:gd name="T37" fmla="*/ 2147483646 h 352"/>
              <a:gd name="T38" fmla="*/ 2147483646 w 472"/>
              <a:gd name="T39" fmla="*/ 2147483646 h 352"/>
              <a:gd name="T40" fmla="*/ 2147483646 w 472"/>
              <a:gd name="T41" fmla="*/ 2147483646 h 352"/>
              <a:gd name="T42" fmla="*/ 2147483646 w 472"/>
              <a:gd name="T43" fmla="*/ 2147483646 h 352"/>
              <a:gd name="T44" fmla="*/ 2147483646 w 472"/>
              <a:gd name="T45" fmla="*/ 2147483646 h 352"/>
              <a:gd name="T46" fmla="*/ 2147483646 w 472"/>
              <a:gd name="T47" fmla="*/ 2147483646 h 352"/>
              <a:gd name="T48" fmla="*/ 2147483646 w 472"/>
              <a:gd name="T49" fmla="*/ 2147483646 h 352"/>
              <a:gd name="T50" fmla="*/ 2147483646 w 472"/>
              <a:gd name="T51" fmla="*/ 2147483646 h 352"/>
              <a:gd name="T52" fmla="*/ 2147483646 w 472"/>
              <a:gd name="T53" fmla="*/ 2147483646 h 352"/>
              <a:gd name="T54" fmla="*/ 2147483646 w 472"/>
              <a:gd name="T55" fmla="*/ 2147483646 h 352"/>
              <a:gd name="T56" fmla="*/ 2147483646 w 472"/>
              <a:gd name="T57" fmla="*/ 2147483646 h 352"/>
              <a:gd name="T58" fmla="*/ 2147483646 w 472"/>
              <a:gd name="T59" fmla="*/ 2147483646 h 352"/>
              <a:gd name="T60" fmla="*/ 2147483646 w 472"/>
              <a:gd name="T61" fmla="*/ 2147483646 h 352"/>
              <a:gd name="T62" fmla="*/ 2147483646 w 472"/>
              <a:gd name="T63" fmla="*/ 2147483646 h 352"/>
              <a:gd name="T64" fmla="*/ 2147483646 w 472"/>
              <a:gd name="T65" fmla="*/ 2147483646 h 352"/>
              <a:gd name="T66" fmla="*/ 2147483646 w 472"/>
              <a:gd name="T67" fmla="*/ 2147483646 h 352"/>
              <a:gd name="T68" fmla="*/ 2147483646 w 472"/>
              <a:gd name="T69" fmla="*/ 2147483646 h 352"/>
              <a:gd name="T70" fmla="*/ 2147483646 w 472"/>
              <a:gd name="T71" fmla="*/ 2147483646 h 352"/>
              <a:gd name="T72" fmla="*/ 2147483646 w 472"/>
              <a:gd name="T73" fmla="*/ 2147483646 h 352"/>
              <a:gd name="T74" fmla="*/ 2147483646 w 472"/>
              <a:gd name="T75" fmla="*/ 2147483646 h 352"/>
              <a:gd name="T76" fmla="*/ 2147483646 w 472"/>
              <a:gd name="T77" fmla="*/ 2147483646 h 352"/>
              <a:gd name="T78" fmla="*/ 2147483646 w 472"/>
              <a:gd name="T79" fmla="*/ 2147483646 h 352"/>
              <a:gd name="T80" fmla="*/ 2147483646 w 472"/>
              <a:gd name="T81" fmla="*/ 2147483646 h 352"/>
              <a:gd name="T82" fmla="*/ 2147483646 w 472"/>
              <a:gd name="T83" fmla="*/ 2147483646 h 352"/>
              <a:gd name="T84" fmla="*/ 2147483646 w 472"/>
              <a:gd name="T85" fmla="*/ 2147483646 h 352"/>
              <a:gd name="T86" fmla="*/ 2147483646 w 472"/>
              <a:gd name="T87" fmla="*/ 2147483646 h 352"/>
              <a:gd name="T88" fmla="*/ 2147483646 w 472"/>
              <a:gd name="T89" fmla="*/ 2147483646 h 352"/>
              <a:gd name="T90" fmla="*/ 2147483646 w 472"/>
              <a:gd name="T91" fmla="*/ 2147483646 h 352"/>
              <a:gd name="T92" fmla="*/ 2147483646 w 472"/>
              <a:gd name="T93" fmla="*/ 2147483646 h 352"/>
              <a:gd name="T94" fmla="*/ 2147483646 w 472"/>
              <a:gd name="T95" fmla="*/ 2147483646 h 352"/>
              <a:gd name="T96" fmla="*/ 2147483646 w 472"/>
              <a:gd name="T97" fmla="*/ 2147483646 h 352"/>
              <a:gd name="T98" fmla="*/ 2147483646 w 472"/>
              <a:gd name="T99" fmla="*/ 2147483646 h 352"/>
              <a:gd name="T100" fmla="*/ 2147483646 w 472"/>
              <a:gd name="T101" fmla="*/ 2147483646 h 352"/>
              <a:gd name="T102" fmla="*/ 2147483646 w 472"/>
              <a:gd name="T103" fmla="*/ 2147483646 h 352"/>
              <a:gd name="T104" fmla="*/ 2147483646 w 472"/>
              <a:gd name="T105" fmla="*/ 2147483646 h 352"/>
              <a:gd name="T106" fmla="*/ 2147483646 w 472"/>
              <a:gd name="T107" fmla="*/ 2147483646 h 352"/>
              <a:gd name="T108" fmla="*/ 2147483646 w 472"/>
              <a:gd name="T109" fmla="*/ 2147483646 h 352"/>
              <a:gd name="T110" fmla="*/ 2147483646 w 472"/>
              <a:gd name="T111" fmla="*/ 2147483646 h 352"/>
              <a:gd name="T112" fmla="*/ 2147483646 w 472"/>
              <a:gd name="T113" fmla="*/ 2147483646 h 352"/>
              <a:gd name="T114" fmla="*/ 2147483646 w 472"/>
              <a:gd name="T115" fmla="*/ 2147483646 h 352"/>
              <a:gd name="T116" fmla="*/ 2147483646 w 472"/>
              <a:gd name="T117" fmla="*/ 0 h 352"/>
              <a:gd name="T118" fmla="*/ 2147483646 w 472"/>
              <a:gd name="T119" fmla="*/ 2147483646 h 352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w 472"/>
              <a:gd name="T181" fmla="*/ 0 h 352"/>
              <a:gd name="T182" fmla="*/ 472 w 472"/>
              <a:gd name="T183" fmla="*/ 352 h 352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T180" t="T181" r="T182" b="T183"/>
            <a:pathLst>
              <a:path w="472" h="352">
                <a:moveTo>
                  <a:pt x="22" y="54"/>
                </a:moveTo>
                <a:lnTo>
                  <a:pt x="22" y="56"/>
                </a:lnTo>
                <a:lnTo>
                  <a:pt x="20" y="58"/>
                </a:lnTo>
                <a:lnTo>
                  <a:pt x="18" y="60"/>
                </a:lnTo>
                <a:lnTo>
                  <a:pt x="16" y="62"/>
                </a:lnTo>
                <a:lnTo>
                  <a:pt x="18" y="64"/>
                </a:lnTo>
                <a:lnTo>
                  <a:pt x="18" y="68"/>
                </a:lnTo>
                <a:lnTo>
                  <a:pt x="18" y="76"/>
                </a:lnTo>
                <a:lnTo>
                  <a:pt x="16" y="80"/>
                </a:lnTo>
                <a:lnTo>
                  <a:pt x="10" y="84"/>
                </a:lnTo>
                <a:lnTo>
                  <a:pt x="8" y="92"/>
                </a:lnTo>
                <a:lnTo>
                  <a:pt x="10" y="94"/>
                </a:lnTo>
                <a:lnTo>
                  <a:pt x="12" y="100"/>
                </a:lnTo>
                <a:lnTo>
                  <a:pt x="12" y="102"/>
                </a:lnTo>
                <a:lnTo>
                  <a:pt x="8" y="108"/>
                </a:lnTo>
                <a:lnTo>
                  <a:pt x="10" y="116"/>
                </a:lnTo>
                <a:lnTo>
                  <a:pt x="10" y="126"/>
                </a:lnTo>
                <a:lnTo>
                  <a:pt x="4" y="134"/>
                </a:lnTo>
                <a:lnTo>
                  <a:pt x="2" y="140"/>
                </a:lnTo>
                <a:lnTo>
                  <a:pt x="4" y="150"/>
                </a:lnTo>
                <a:lnTo>
                  <a:pt x="2" y="154"/>
                </a:lnTo>
                <a:lnTo>
                  <a:pt x="0" y="162"/>
                </a:lnTo>
                <a:lnTo>
                  <a:pt x="2" y="164"/>
                </a:lnTo>
                <a:lnTo>
                  <a:pt x="4" y="166"/>
                </a:lnTo>
                <a:lnTo>
                  <a:pt x="8" y="174"/>
                </a:lnTo>
                <a:lnTo>
                  <a:pt x="10" y="176"/>
                </a:lnTo>
                <a:lnTo>
                  <a:pt x="14" y="176"/>
                </a:lnTo>
                <a:lnTo>
                  <a:pt x="16" y="176"/>
                </a:lnTo>
                <a:lnTo>
                  <a:pt x="20" y="182"/>
                </a:lnTo>
                <a:lnTo>
                  <a:pt x="28" y="184"/>
                </a:lnTo>
                <a:lnTo>
                  <a:pt x="32" y="186"/>
                </a:lnTo>
                <a:lnTo>
                  <a:pt x="34" y="188"/>
                </a:lnTo>
                <a:lnTo>
                  <a:pt x="34" y="194"/>
                </a:lnTo>
                <a:lnTo>
                  <a:pt x="36" y="198"/>
                </a:lnTo>
                <a:lnTo>
                  <a:pt x="44" y="198"/>
                </a:lnTo>
                <a:lnTo>
                  <a:pt x="40" y="202"/>
                </a:lnTo>
                <a:lnTo>
                  <a:pt x="44" y="204"/>
                </a:lnTo>
                <a:lnTo>
                  <a:pt x="48" y="206"/>
                </a:lnTo>
                <a:lnTo>
                  <a:pt x="48" y="212"/>
                </a:lnTo>
                <a:lnTo>
                  <a:pt x="50" y="216"/>
                </a:lnTo>
                <a:lnTo>
                  <a:pt x="52" y="218"/>
                </a:lnTo>
                <a:lnTo>
                  <a:pt x="56" y="222"/>
                </a:lnTo>
                <a:lnTo>
                  <a:pt x="54" y="224"/>
                </a:lnTo>
                <a:lnTo>
                  <a:pt x="52" y="234"/>
                </a:lnTo>
                <a:lnTo>
                  <a:pt x="54" y="242"/>
                </a:lnTo>
                <a:lnTo>
                  <a:pt x="52" y="244"/>
                </a:lnTo>
                <a:lnTo>
                  <a:pt x="54" y="252"/>
                </a:lnTo>
                <a:lnTo>
                  <a:pt x="52" y="260"/>
                </a:lnTo>
                <a:lnTo>
                  <a:pt x="46" y="266"/>
                </a:lnTo>
                <a:lnTo>
                  <a:pt x="64" y="272"/>
                </a:lnTo>
                <a:lnTo>
                  <a:pt x="134" y="292"/>
                </a:lnTo>
                <a:lnTo>
                  <a:pt x="204" y="312"/>
                </a:lnTo>
                <a:lnTo>
                  <a:pt x="294" y="336"/>
                </a:lnTo>
                <a:lnTo>
                  <a:pt x="300" y="332"/>
                </a:lnTo>
                <a:lnTo>
                  <a:pt x="308" y="332"/>
                </a:lnTo>
                <a:lnTo>
                  <a:pt x="314" y="330"/>
                </a:lnTo>
                <a:lnTo>
                  <a:pt x="322" y="330"/>
                </a:lnTo>
                <a:lnTo>
                  <a:pt x="328" y="330"/>
                </a:lnTo>
                <a:lnTo>
                  <a:pt x="334" y="332"/>
                </a:lnTo>
                <a:lnTo>
                  <a:pt x="342" y="334"/>
                </a:lnTo>
                <a:lnTo>
                  <a:pt x="348" y="332"/>
                </a:lnTo>
                <a:lnTo>
                  <a:pt x="352" y="332"/>
                </a:lnTo>
                <a:lnTo>
                  <a:pt x="358" y="334"/>
                </a:lnTo>
                <a:lnTo>
                  <a:pt x="364" y="334"/>
                </a:lnTo>
                <a:lnTo>
                  <a:pt x="376" y="336"/>
                </a:lnTo>
                <a:lnTo>
                  <a:pt x="386" y="336"/>
                </a:lnTo>
                <a:lnTo>
                  <a:pt x="394" y="346"/>
                </a:lnTo>
                <a:lnTo>
                  <a:pt x="402" y="352"/>
                </a:lnTo>
                <a:lnTo>
                  <a:pt x="418" y="352"/>
                </a:lnTo>
                <a:lnTo>
                  <a:pt x="422" y="348"/>
                </a:lnTo>
                <a:lnTo>
                  <a:pt x="428" y="344"/>
                </a:lnTo>
                <a:lnTo>
                  <a:pt x="432" y="338"/>
                </a:lnTo>
                <a:lnTo>
                  <a:pt x="434" y="334"/>
                </a:lnTo>
                <a:lnTo>
                  <a:pt x="442" y="326"/>
                </a:lnTo>
                <a:lnTo>
                  <a:pt x="446" y="316"/>
                </a:lnTo>
                <a:lnTo>
                  <a:pt x="446" y="312"/>
                </a:lnTo>
                <a:lnTo>
                  <a:pt x="446" y="306"/>
                </a:lnTo>
                <a:lnTo>
                  <a:pt x="450" y="300"/>
                </a:lnTo>
                <a:lnTo>
                  <a:pt x="450" y="292"/>
                </a:lnTo>
                <a:lnTo>
                  <a:pt x="454" y="284"/>
                </a:lnTo>
                <a:lnTo>
                  <a:pt x="456" y="282"/>
                </a:lnTo>
                <a:lnTo>
                  <a:pt x="456" y="280"/>
                </a:lnTo>
                <a:lnTo>
                  <a:pt x="460" y="270"/>
                </a:lnTo>
                <a:lnTo>
                  <a:pt x="456" y="266"/>
                </a:lnTo>
                <a:lnTo>
                  <a:pt x="454" y="262"/>
                </a:lnTo>
                <a:lnTo>
                  <a:pt x="452" y="262"/>
                </a:lnTo>
                <a:lnTo>
                  <a:pt x="456" y="256"/>
                </a:lnTo>
                <a:lnTo>
                  <a:pt x="462" y="254"/>
                </a:lnTo>
                <a:lnTo>
                  <a:pt x="464" y="246"/>
                </a:lnTo>
                <a:lnTo>
                  <a:pt x="464" y="242"/>
                </a:lnTo>
                <a:lnTo>
                  <a:pt x="464" y="238"/>
                </a:lnTo>
                <a:lnTo>
                  <a:pt x="466" y="230"/>
                </a:lnTo>
                <a:lnTo>
                  <a:pt x="466" y="228"/>
                </a:lnTo>
                <a:lnTo>
                  <a:pt x="468" y="224"/>
                </a:lnTo>
                <a:lnTo>
                  <a:pt x="468" y="222"/>
                </a:lnTo>
                <a:lnTo>
                  <a:pt x="466" y="218"/>
                </a:lnTo>
                <a:lnTo>
                  <a:pt x="462" y="218"/>
                </a:lnTo>
                <a:lnTo>
                  <a:pt x="460" y="218"/>
                </a:lnTo>
                <a:lnTo>
                  <a:pt x="456" y="218"/>
                </a:lnTo>
                <a:lnTo>
                  <a:pt x="452" y="218"/>
                </a:lnTo>
                <a:lnTo>
                  <a:pt x="450" y="216"/>
                </a:lnTo>
                <a:lnTo>
                  <a:pt x="442" y="210"/>
                </a:lnTo>
                <a:lnTo>
                  <a:pt x="434" y="208"/>
                </a:lnTo>
                <a:lnTo>
                  <a:pt x="422" y="206"/>
                </a:lnTo>
                <a:lnTo>
                  <a:pt x="420" y="204"/>
                </a:lnTo>
                <a:lnTo>
                  <a:pt x="420" y="202"/>
                </a:lnTo>
                <a:lnTo>
                  <a:pt x="422" y="198"/>
                </a:lnTo>
                <a:lnTo>
                  <a:pt x="426" y="192"/>
                </a:lnTo>
                <a:lnTo>
                  <a:pt x="428" y="184"/>
                </a:lnTo>
                <a:lnTo>
                  <a:pt x="432" y="174"/>
                </a:lnTo>
                <a:lnTo>
                  <a:pt x="434" y="170"/>
                </a:lnTo>
                <a:lnTo>
                  <a:pt x="436" y="164"/>
                </a:lnTo>
                <a:lnTo>
                  <a:pt x="436" y="162"/>
                </a:lnTo>
                <a:lnTo>
                  <a:pt x="438" y="156"/>
                </a:lnTo>
                <a:lnTo>
                  <a:pt x="444" y="152"/>
                </a:lnTo>
                <a:lnTo>
                  <a:pt x="444" y="148"/>
                </a:lnTo>
                <a:lnTo>
                  <a:pt x="444" y="146"/>
                </a:lnTo>
                <a:lnTo>
                  <a:pt x="442" y="144"/>
                </a:lnTo>
                <a:lnTo>
                  <a:pt x="442" y="138"/>
                </a:lnTo>
                <a:lnTo>
                  <a:pt x="442" y="132"/>
                </a:lnTo>
                <a:lnTo>
                  <a:pt x="442" y="128"/>
                </a:lnTo>
                <a:lnTo>
                  <a:pt x="446" y="120"/>
                </a:lnTo>
                <a:lnTo>
                  <a:pt x="448" y="116"/>
                </a:lnTo>
                <a:lnTo>
                  <a:pt x="456" y="116"/>
                </a:lnTo>
                <a:lnTo>
                  <a:pt x="456" y="114"/>
                </a:lnTo>
                <a:lnTo>
                  <a:pt x="454" y="110"/>
                </a:lnTo>
                <a:lnTo>
                  <a:pt x="454" y="102"/>
                </a:lnTo>
                <a:lnTo>
                  <a:pt x="460" y="98"/>
                </a:lnTo>
                <a:lnTo>
                  <a:pt x="462" y="94"/>
                </a:lnTo>
                <a:lnTo>
                  <a:pt x="468" y="92"/>
                </a:lnTo>
                <a:lnTo>
                  <a:pt x="472" y="90"/>
                </a:lnTo>
                <a:lnTo>
                  <a:pt x="472" y="86"/>
                </a:lnTo>
                <a:lnTo>
                  <a:pt x="472" y="84"/>
                </a:lnTo>
                <a:lnTo>
                  <a:pt x="468" y="76"/>
                </a:lnTo>
                <a:lnTo>
                  <a:pt x="460" y="68"/>
                </a:lnTo>
                <a:lnTo>
                  <a:pt x="450" y="62"/>
                </a:lnTo>
                <a:lnTo>
                  <a:pt x="444" y="62"/>
                </a:lnTo>
                <a:lnTo>
                  <a:pt x="442" y="60"/>
                </a:lnTo>
                <a:lnTo>
                  <a:pt x="434" y="62"/>
                </a:lnTo>
                <a:lnTo>
                  <a:pt x="428" y="62"/>
                </a:lnTo>
                <a:lnTo>
                  <a:pt x="420" y="66"/>
                </a:lnTo>
                <a:lnTo>
                  <a:pt x="414" y="66"/>
                </a:lnTo>
                <a:lnTo>
                  <a:pt x="414" y="68"/>
                </a:lnTo>
                <a:lnTo>
                  <a:pt x="412" y="78"/>
                </a:lnTo>
                <a:lnTo>
                  <a:pt x="410" y="78"/>
                </a:lnTo>
                <a:lnTo>
                  <a:pt x="408" y="74"/>
                </a:lnTo>
                <a:lnTo>
                  <a:pt x="402" y="68"/>
                </a:lnTo>
                <a:lnTo>
                  <a:pt x="400" y="72"/>
                </a:lnTo>
                <a:lnTo>
                  <a:pt x="394" y="72"/>
                </a:lnTo>
                <a:lnTo>
                  <a:pt x="390" y="78"/>
                </a:lnTo>
                <a:lnTo>
                  <a:pt x="390" y="82"/>
                </a:lnTo>
                <a:lnTo>
                  <a:pt x="386" y="86"/>
                </a:lnTo>
                <a:lnTo>
                  <a:pt x="380" y="90"/>
                </a:lnTo>
                <a:lnTo>
                  <a:pt x="378" y="86"/>
                </a:lnTo>
                <a:lnTo>
                  <a:pt x="376" y="90"/>
                </a:lnTo>
                <a:lnTo>
                  <a:pt x="374" y="92"/>
                </a:lnTo>
                <a:lnTo>
                  <a:pt x="370" y="92"/>
                </a:lnTo>
                <a:lnTo>
                  <a:pt x="368" y="92"/>
                </a:lnTo>
                <a:lnTo>
                  <a:pt x="366" y="90"/>
                </a:lnTo>
                <a:lnTo>
                  <a:pt x="362" y="86"/>
                </a:lnTo>
                <a:lnTo>
                  <a:pt x="360" y="84"/>
                </a:lnTo>
                <a:lnTo>
                  <a:pt x="358" y="84"/>
                </a:lnTo>
                <a:lnTo>
                  <a:pt x="356" y="86"/>
                </a:lnTo>
                <a:lnTo>
                  <a:pt x="348" y="86"/>
                </a:lnTo>
                <a:lnTo>
                  <a:pt x="344" y="86"/>
                </a:lnTo>
                <a:lnTo>
                  <a:pt x="342" y="92"/>
                </a:lnTo>
                <a:lnTo>
                  <a:pt x="338" y="96"/>
                </a:lnTo>
                <a:lnTo>
                  <a:pt x="332" y="94"/>
                </a:lnTo>
                <a:lnTo>
                  <a:pt x="328" y="98"/>
                </a:lnTo>
                <a:lnTo>
                  <a:pt x="322" y="100"/>
                </a:lnTo>
                <a:lnTo>
                  <a:pt x="318" y="100"/>
                </a:lnTo>
                <a:lnTo>
                  <a:pt x="314" y="98"/>
                </a:lnTo>
                <a:lnTo>
                  <a:pt x="308" y="90"/>
                </a:lnTo>
                <a:lnTo>
                  <a:pt x="304" y="84"/>
                </a:lnTo>
                <a:lnTo>
                  <a:pt x="286" y="60"/>
                </a:lnTo>
                <a:lnTo>
                  <a:pt x="184" y="20"/>
                </a:lnTo>
                <a:lnTo>
                  <a:pt x="132" y="0"/>
                </a:lnTo>
                <a:lnTo>
                  <a:pt x="26" y="46"/>
                </a:lnTo>
                <a:lnTo>
                  <a:pt x="22" y="48"/>
                </a:lnTo>
                <a:lnTo>
                  <a:pt x="22" y="54"/>
                </a:lnTo>
                <a:close/>
              </a:path>
            </a:pathLst>
          </a:custGeom>
          <a:solidFill>
            <a:srgbClr val="F1B728"/>
          </a:solidFill>
          <a:ln w="6350">
            <a:solidFill>
              <a:schemeClr val="tx1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457200"/>
            <a:endParaRPr lang="en-US" kern="0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54" name="Freeform 32">
            <a:extLst>
              <a:ext uri="{FF2B5EF4-FFF2-40B4-BE49-F238E27FC236}">
                <a16:creationId xmlns:a16="http://schemas.microsoft.com/office/drawing/2014/main" id="{4D9DB1C5-8C90-3A23-BD3F-6DEFCCA6F16C}"/>
              </a:ext>
            </a:extLst>
          </p:cNvPr>
          <p:cNvSpPr>
            <a:spLocks/>
          </p:cNvSpPr>
          <p:nvPr/>
        </p:nvSpPr>
        <p:spPr bwMode="auto">
          <a:xfrm>
            <a:off x="4046220" y="3103880"/>
            <a:ext cx="472440" cy="640080"/>
          </a:xfrm>
          <a:custGeom>
            <a:avLst/>
            <a:gdLst>
              <a:gd name="T0" fmla="*/ 2147483646 w 372"/>
              <a:gd name="T1" fmla="*/ 2147483646 h 504"/>
              <a:gd name="T2" fmla="*/ 2147483646 w 372"/>
              <a:gd name="T3" fmla="*/ 2147483646 h 504"/>
              <a:gd name="T4" fmla="*/ 2147483646 w 372"/>
              <a:gd name="T5" fmla="*/ 2147483646 h 504"/>
              <a:gd name="T6" fmla="*/ 2147483646 w 372"/>
              <a:gd name="T7" fmla="*/ 2147483646 h 504"/>
              <a:gd name="T8" fmla="*/ 2147483646 w 372"/>
              <a:gd name="T9" fmla="*/ 2147483646 h 504"/>
              <a:gd name="T10" fmla="*/ 2147483646 w 372"/>
              <a:gd name="T11" fmla="*/ 2147483646 h 504"/>
              <a:gd name="T12" fmla="*/ 2147483646 w 372"/>
              <a:gd name="T13" fmla="*/ 2147483646 h 504"/>
              <a:gd name="T14" fmla="*/ 2147483646 w 372"/>
              <a:gd name="T15" fmla="*/ 2147483646 h 504"/>
              <a:gd name="T16" fmla="*/ 2147483646 w 372"/>
              <a:gd name="T17" fmla="*/ 2147483646 h 504"/>
              <a:gd name="T18" fmla="*/ 2147483646 w 372"/>
              <a:gd name="T19" fmla="*/ 2147483646 h 504"/>
              <a:gd name="T20" fmla="*/ 2147483646 w 372"/>
              <a:gd name="T21" fmla="*/ 2147483646 h 504"/>
              <a:gd name="T22" fmla="*/ 2147483646 w 372"/>
              <a:gd name="T23" fmla="*/ 2147483646 h 504"/>
              <a:gd name="T24" fmla="*/ 2147483646 w 372"/>
              <a:gd name="T25" fmla="*/ 2147483646 h 504"/>
              <a:gd name="T26" fmla="*/ 2147483646 w 372"/>
              <a:gd name="T27" fmla="*/ 2147483646 h 504"/>
              <a:gd name="T28" fmla="*/ 2147483646 w 372"/>
              <a:gd name="T29" fmla="*/ 2147483646 h 504"/>
              <a:gd name="T30" fmla="*/ 2147483646 w 372"/>
              <a:gd name="T31" fmla="*/ 2147483646 h 504"/>
              <a:gd name="T32" fmla="*/ 2147483646 w 372"/>
              <a:gd name="T33" fmla="*/ 2147483646 h 504"/>
              <a:gd name="T34" fmla="*/ 2147483646 w 372"/>
              <a:gd name="T35" fmla="*/ 2147483646 h 504"/>
              <a:gd name="T36" fmla="*/ 2147483646 w 372"/>
              <a:gd name="T37" fmla="*/ 2147483646 h 504"/>
              <a:gd name="T38" fmla="*/ 2147483646 w 372"/>
              <a:gd name="T39" fmla="*/ 2147483646 h 504"/>
              <a:gd name="T40" fmla="*/ 2147483646 w 372"/>
              <a:gd name="T41" fmla="*/ 2147483646 h 504"/>
              <a:gd name="T42" fmla="*/ 2147483646 w 372"/>
              <a:gd name="T43" fmla="*/ 2147483646 h 504"/>
              <a:gd name="T44" fmla="*/ 2147483646 w 372"/>
              <a:gd name="T45" fmla="*/ 2147483646 h 504"/>
              <a:gd name="T46" fmla="*/ 2147483646 w 372"/>
              <a:gd name="T47" fmla="*/ 2147483646 h 504"/>
              <a:gd name="T48" fmla="*/ 2147483646 w 372"/>
              <a:gd name="T49" fmla="*/ 2147483646 h 504"/>
              <a:gd name="T50" fmla="*/ 2147483646 w 372"/>
              <a:gd name="T51" fmla="*/ 2147483646 h 504"/>
              <a:gd name="T52" fmla="*/ 2147483646 w 372"/>
              <a:gd name="T53" fmla="*/ 2147483646 h 504"/>
              <a:gd name="T54" fmla="*/ 2147483646 w 372"/>
              <a:gd name="T55" fmla="*/ 2147483646 h 504"/>
              <a:gd name="T56" fmla="*/ 2147483646 w 372"/>
              <a:gd name="T57" fmla="*/ 2147483646 h 504"/>
              <a:gd name="T58" fmla="*/ 0 w 372"/>
              <a:gd name="T59" fmla="*/ 2147483646 h 504"/>
              <a:gd name="T60" fmla="*/ 2147483646 w 372"/>
              <a:gd name="T61" fmla="*/ 2147483646 h 504"/>
              <a:gd name="T62" fmla="*/ 2147483646 w 372"/>
              <a:gd name="T63" fmla="*/ 2147483646 h 504"/>
              <a:gd name="T64" fmla="*/ 2147483646 w 372"/>
              <a:gd name="T65" fmla="*/ 2147483646 h 504"/>
              <a:gd name="T66" fmla="*/ 2147483646 w 372"/>
              <a:gd name="T67" fmla="*/ 2147483646 h 504"/>
              <a:gd name="T68" fmla="*/ 2147483646 w 372"/>
              <a:gd name="T69" fmla="*/ 2147483646 h 504"/>
              <a:gd name="T70" fmla="*/ 2147483646 w 372"/>
              <a:gd name="T71" fmla="*/ 2147483646 h 504"/>
              <a:gd name="T72" fmla="*/ 2147483646 w 372"/>
              <a:gd name="T73" fmla="*/ 2147483646 h 504"/>
              <a:gd name="T74" fmla="*/ 2147483646 w 372"/>
              <a:gd name="T75" fmla="*/ 2147483646 h 504"/>
              <a:gd name="T76" fmla="*/ 2147483646 w 372"/>
              <a:gd name="T77" fmla="*/ 2147483646 h 504"/>
              <a:gd name="T78" fmla="*/ 2147483646 w 372"/>
              <a:gd name="T79" fmla="*/ 2147483646 h 504"/>
              <a:gd name="T80" fmla="*/ 2147483646 w 372"/>
              <a:gd name="T81" fmla="*/ 2147483646 h 504"/>
              <a:gd name="T82" fmla="*/ 2147483646 w 372"/>
              <a:gd name="T83" fmla="*/ 2147483646 h 504"/>
              <a:gd name="T84" fmla="*/ 2147483646 w 372"/>
              <a:gd name="T85" fmla="*/ 2147483646 h 504"/>
              <a:gd name="T86" fmla="*/ 2147483646 w 372"/>
              <a:gd name="T87" fmla="*/ 2147483646 h 504"/>
              <a:gd name="T88" fmla="*/ 2147483646 w 372"/>
              <a:gd name="T89" fmla="*/ 2147483646 h 504"/>
              <a:gd name="T90" fmla="*/ 2147483646 w 372"/>
              <a:gd name="T91" fmla="*/ 2147483646 h 504"/>
              <a:gd name="T92" fmla="*/ 2147483646 w 372"/>
              <a:gd name="T93" fmla="*/ 2147483646 h 504"/>
              <a:gd name="T94" fmla="*/ 2147483646 w 372"/>
              <a:gd name="T95" fmla="*/ 2147483646 h 504"/>
              <a:gd name="T96" fmla="*/ 2147483646 w 372"/>
              <a:gd name="T97" fmla="*/ 2147483646 h 504"/>
              <a:gd name="T98" fmla="*/ 2147483646 w 372"/>
              <a:gd name="T99" fmla="*/ 2147483646 h 504"/>
              <a:gd name="T100" fmla="*/ 2147483646 w 372"/>
              <a:gd name="T101" fmla="*/ 2147483646 h 504"/>
              <a:gd name="T102" fmla="*/ 2147483646 w 372"/>
              <a:gd name="T103" fmla="*/ 2147483646 h 504"/>
              <a:gd name="T104" fmla="*/ 2147483646 w 372"/>
              <a:gd name="T105" fmla="*/ 2147483646 h 504"/>
              <a:gd name="T106" fmla="*/ 2147483646 w 372"/>
              <a:gd name="T107" fmla="*/ 2147483646 h 504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w 372"/>
              <a:gd name="T163" fmla="*/ 0 h 504"/>
              <a:gd name="T164" fmla="*/ 372 w 372"/>
              <a:gd name="T165" fmla="*/ 504 h 504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T162" t="T163" r="T164" b="T165"/>
            <a:pathLst>
              <a:path w="372" h="504">
                <a:moveTo>
                  <a:pt x="300" y="334"/>
                </a:moveTo>
                <a:lnTo>
                  <a:pt x="302" y="326"/>
                </a:lnTo>
                <a:lnTo>
                  <a:pt x="302" y="322"/>
                </a:lnTo>
                <a:lnTo>
                  <a:pt x="302" y="320"/>
                </a:lnTo>
                <a:lnTo>
                  <a:pt x="304" y="318"/>
                </a:lnTo>
                <a:lnTo>
                  <a:pt x="312" y="318"/>
                </a:lnTo>
                <a:lnTo>
                  <a:pt x="314" y="318"/>
                </a:lnTo>
                <a:lnTo>
                  <a:pt x="318" y="304"/>
                </a:lnTo>
                <a:lnTo>
                  <a:pt x="318" y="300"/>
                </a:lnTo>
                <a:lnTo>
                  <a:pt x="326" y="290"/>
                </a:lnTo>
                <a:lnTo>
                  <a:pt x="330" y="284"/>
                </a:lnTo>
                <a:lnTo>
                  <a:pt x="330" y="280"/>
                </a:lnTo>
                <a:lnTo>
                  <a:pt x="338" y="276"/>
                </a:lnTo>
                <a:lnTo>
                  <a:pt x="340" y="268"/>
                </a:lnTo>
                <a:lnTo>
                  <a:pt x="340" y="264"/>
                </a:lnTo>
                <a:lnTo>
                  <a:pt x="340" y="262"/>
                </a:lnTo>
                <a:lnTo>
                  <a:pt x="336" y="258"/>
                </a:lnTo>
                <a:lnTo>
                  <a:pt x="344" y="252"/>
                </a:lnTo>
                <a:lnTo>
                  <a:pt x="346" y="248"/>
                </a:lnTo>
                <a:lnTo>
                  <a:pt x="356" y="242"/>
                </a:lnTo>
                <a:lnTo>
                  <a:pt x="358" y="240"/>
                </a:lnTo>
                <a:lnTo>
                  <a:pt x="360" y="236"/>
                </a:lnTo>
                <a:lnTo>
                  <a:pt x="360" y="232"/>
                </a:lnTo>
                <a:lnTo>
                  <a:pt x="352" y="216"/>
                </a:lnTo>
                <a:lnTo>
                  <a:pt x="344" y="196"/>
                </a:lnTo>
                <a:lnTo>
                  <a:pt x="356" y="182"/>
                </a:lnTo>
                <a:lnTo>
                  <a:pt x="358" y="178"/>
                </a:lnTo>
                <a:lnTo>
                  <a:pt x="360" y="174"/>
                </a:lnTo>
                <a:lnTo>
                  <a:pt x="362" y="156"/>
                </a:lnTo>
                <a:lnTo>
                  <a:pt x="370" y="124"/>
                </a:lnTo>
                <a:lnTo>
                  <a:pt x="370" y="120"/>
                </a:lnTo>
                <a:lnTo>
                  <a:pt x="372" y="74"/>
                </a:lnTo>
                <a:lnTo>
                  <a:pt x="360" y="70"/>
                </a:lnTo>
                <a:lnTo>
                  <a:pt x="300" y="52"/>
                </a:lnTo>
                <a:lnTo>
                  <a:pt x="238" y="32"/>
                </a:lnTo>
                <a:lnTo>
                  <a:pt x="232" y="28"/>
                </a:lnTo>
                <a:lnTo>
                  <a:pt x="224" y="26"/>
                </a:lnTo>
                <a:lnTo>
                  <a:pt x="220" y="26"/>
                </a:lnTo>
                <a:lnTo>
                  <a:pt x="216" y="26"/>
                </a:lnTo>
                <a:lnTo>
                  <a:pt x="214" y="24"/>
                </a:lnTo>
                <a:lnTo>
                  <a:pt x="208" y="26"/>
                </a:lnTo>
                <a:lnTo>
                  <a:pt x="206" y="26"/>
                </a:lnTo>
                <a:lnTo>
                  <a:pt x="202" y="24"/>
                </a:lnTo>
                <a:lnTo>
                  <a:pt x="190" y="26"/>
                </a:lnTo>
                <a:lnTo>
                  <a:pt x="188" y="26"/>
                </a:lnTo>
                <a:lnTo>
                  <a:pt x="182" y="26"/>
                </a:lnTo>
                <a:lnTo>
                  <a:pt x="174" y="24"/>
                </a:lnTo>
                <a:lnTo>
                  <a:pt x="170" y="24"/>
                </a:lnTo>
                <a:lnTo>
                  <a:pt x="164" y="20"/>
                </a:lnTo>
                <a:lnTo>
                  <a:pt x="162" y="20"/>
                </a:lnTo>
                <a:lnTo>
                  <a:pt x="158" y="18"/>
                </a:lnTo>
                <a:lnTo>
                  <a:pt x="158" y="14"/>
                </a:lnTo>
                <a:lnTo>
                  <a:pt x="154" y="12"/>
                </a:lnTo>
                <a:lnTo>
                  <a:pt x="144" y="10"/>
                </a:lnTo>
                <a:lnTo>
                  <a:pt x="136" y="2"/>
                </a:lnTo>
                <a:lnTo>
                  <a:pt x="124" y="0"/>
                </a:lnTo>
                <a:lnTo>
                  <a:pt x="118" y="2"/>
                </a:lnTo>
                <a:lnTo>
                  <a:pt x="114" y="12"/>
                </a:lnTo>
                <a:lnTo>
                  <a:pt x="106" y="16"/>
                </a:lnTo>
                <a:lnTo>
                  <a:pt x="102" y="16"/>
                </a:lnTo>
                <a:lnTo>
                  <a:pt x="100" y="18"/>
                </a:lnTo>
                <a:lnTo>
                  <a:pt x="96" y="28"/>
                </a:lnTo>
                <a:lnTo>
                  <a:pt x="88" y="32"/>
                </a:lnTo>
                <a:lnTo>
                  <a:pt x="86" y="34"/>
                </a:lnTo>
                <a:lnTo>
                  <a:pt x="78" y="32"/>
                </a:lnTo>
                <a:lnTo>
                  <a:pt x="76" y="34"/>
                </a:lnTo>
                <a:lnTo>
                  <a:pt x="66" y="30"/>
                </a:lnTo>
                <a:lnTo>
                  <a:pt x="64" y="32"/>
                </a:lnTo>
                <a:lnTo>
                  <a:pt x="62" y="32"/>
                </a:lnTo>
                <a:lnTo>
                  <a:pt x="62" y="34"/>
                </a:lnTo>
                <a:lnTo>
                  <a:pt x="60" y="34"/>
                </a:lnTo>
                <a:lnTo>
                  <a:pt x="60" y="36"/>
                </a:lnTo>
                <a:lnTo>
                  <a:pt x="60" y="38"/>
                </a:lnTo>
                <a:lnTo>
                  <a:pt x="60" y="42"/>
                </a:lnTo>
                <a:lnTo>
                  <a:pt x="58" y="44"/>
                </a:lnTo>
                <a:lnTo>
                  <a:pt x="54" y="46"/>
                </a:lnTo>
                <a:lnTo>
                  <a:pt x="50" y="50"/>
                </a:lnTo>
                <a:lnTo>
                  <a:pt x="48" y="52"/>
                </a:lnTo>
                <a:lnTo>
                  <a:pt x="44" y="54"/>
                </a:lnTo>
                <a:lnTo>
                  <a:pt x="44" y="62"/>
                </a:lnTo>
                <a:lnTo>
                  <a:pt x="42" y="66"/>
                </a:lnTo>
                <a:lnTo>
                  <a:pt x="40" y="68"/>
                </a:lnTo>
                <a:lnTo>
                  <a:pt x="34" y="70"/>
                </a:lnTo>
                <a:lnTo>
                  <a:pt x="34" y="72"/>
                </a:lnTo>
                <a:lnTo>
                  <a:pt x="34" y="80"/>
                </a:lnTo>
                <a:lnTo>
                  <a:pt x="32" y="80"/>
                </a:lnTo>
                <a:lnTo>
                  <a:pt x="30" y="82"/>
                </a:lnTo>
                <a:lnTo>
                  <a:pt x="28" y="86"/>
                </a:lnTo>
                <a:lnTo>
                  <a:pt x="24" y="88"/>
                </a:lnTo>
                <a:lnTo>
                  <a:pt x="0" y="84"/>
                </a:lnTo>
                <a:lnTo>
                  <a:pt x="0" y="98"/>
                </a:lnTo>
                <a:lnTo>
                  <a:pt x="8" y="168"/>
                </a:lnTo>
                <a:lnTo>
                  <a:pt x="12" y="182"/>
                </a:lnTo>
                <a:lnTo>
                  <a:pt x="64" y="248"/>
                </a:lnTo>
                <a:lnTo>
                  <a:pt x="106" y="298"/>
                </a:lnTo>
                <a:lnTo>
                  <a:pt x="114" y="306"/>
                </a:lnTo>
                <a:lnTo>
                  <a:pt x="116" y="308"/>
                </a:lnTo>
                <a:lnTo>
                  <a:pt x="114" y="314"/>
                </a:lnTo>
                <a:lnTo>
                  <a:pt x="116" y="318"/>
                </a:lnTo>
                <a:lnTo>
                  <a:pt x="118" y="320"/>
                </a:lnTo>
                <a:lnTo>
                  <a:pt x="120" y="326"/>
                </a:lnTo>
                <a:lnTo>
                  <a:pt x="120" y="336"/>
                </a:lnTo>
                <a:lnTo>
                  <a:pt x="124" y="348"/>
                </a:lnTo>
                <a:lnTo>
                  <a:pt x="124" y="350"/>
                </a:lnTo>
                <a:lnTo>
                  <a:pt x="134" y="348"/>
                </a:lnTo>
                <a:lnTo>
                  <a:pt x="136" y="344"/>
                </a:lnTo>
                <a:lnTo>
                  <a:pt x="146" y="342"/>
                </a:lnTo>
                <a:lnTo>
                  <a:pt x="150" y="342"/>
                </a:lnTo>
                <a:lnTo>
                  <a:pt x="152" y="342"/>
                </a:lnTo>
                <a:lnTo>
                  <a:pt x="158" y="354"/>
                </a:lnTo>
                <a:lnTo>
                  <a:pt x="162" y="356"/>
                </a:lnTo>
                <a:lnTo>
                  <a:pt x="166" y="356"/>
                </a:lnTo>
                <a:lnTo>
                  <a:pt x="172" y="350"/>
                </a:lnTo>
                <a:lnTo>
                  <a:pt x="176" y="344"/>
                </a:lnTo>
                <a:lnTo>
                  <a:pt x="182" y="348"/>
                </a:lnTo>
                <a:lnTo>
                  <a:pt x="186" y="352"/>
                </a:lnTo>
                <a:lnTo>
                  <a:pt x="190" y="356"/>
                </a:lnTo>
                <a:lnTo>
                  <a:pt x="192" y="356"/>
                </a:lnTo>
                <a:lnTo>
                  <a:pt x="198" y="368"/>
                </a:lnTo>
                <a:lnTo>
                  <a:pt x="204" y="368"/>
                </a:lnTo>
                <a:lnTo>
                  <a:pt x="208" y="368"/>
                </a:lnTo>
                <a:lnTo>
                  <a:pt x="210" y="372"/>
                </a:lnTo>
                <a:lnTo>
                  <a:pt x="218" y="380"/>
                </a:lnTo>
                <a:lnTo>
                  <a:pt x="222" y="382"/>
                </a:lnTo>
                <a:lnTo>
                  <a:pt x="224" y="386"/>
                </a:lnTo>
                <a:lnTo>
                  <a:pt x="220" y="392"/>
                </a:lnTo>
                <a:lnTo>
                  <a:pt x="216" y="402"/>
                </a:lnTo>
                <a:lnTo>
                  <a:pt x="214" y="410"/>
                </a:lnTo>
                <a:lnTo>
                  <a:pt x="214" y="418"/>
                </a:lnTo>
                <a:lnTo>
                  <a:pt x="220" y="424"/>
                </a:lnTo>
                <a:lnTo>
                  <a:pt x="222" y="424"/>
                </a:lnTo>
                <a:lnTo>
                  <a:pt x="226" y="422"/>
                </a:lnTo>
                <a:lnTo>
                  <a:pt x="232" y="424"/>
                </a:lnTo>
                <a:lnTo>
                  <a:pt x="236" y="428"/>
                </a:lnTo>
                <a:lnTo>
                  <a:pt x="234" y="432"/>
                </a:lnTo>
                <a:lnTo>
                  <a:pt x="234" y="434"/>
                </a:lnTo>
                <a:lnTo>
                  <a:pt x="236" y="442"/>
                </a:lnTo>
                <a:lnTo>
                  <a:pt x="238" y="444"/>
                </a:lnTo>
                <a:lnTo>
                  <a:pt x="240" y="446"/>
                </a:lnTo>
                <a:lnTo>
                  <a:pt x="250" y="444"/>
                </a:lnTo>
                <a:lnTo>
                  <a:pt x="252" y="450"/>
                </a:lnTo>
                <a:lnTo>
                  <a:pt x="250" y="452"/>
                </a:lnTo>
                <a:lnTo>
                  <a:pt x="244" y="456"/>
                </a:lnTo>
                <a:lnTo>
                  <a:pt x="244" y="460"/>
                </a:lnTo>
                <a:lnTo>
                  <a:pt x="242" y="464"/>
                </a:lnTo>
                <a:lnTo>
                  <a:pt x="242" y="474"/>
                </a:lnTo>
                <a:lnTo>
                  <a:pt x="242" y="480"/>
                </a:lnTo>
                <a:lnTo>
                  <a:pt x="238" y="486"/>
                </a:lnTo>
                <a:lnTo>
                  <a:pt x="244" y="494"/>
                </a:lnTo>
                <a:lnTo>
                  <a:pt x="250" y="498"/>
                </a:lnTo>
                <a:lnTo>
                  <a:pt x="258" y="498"/>
                </a:lnTo>
                <a:lnTo>
                  <a:pt x="268" y="498"/>
                </a:lnTo>
                <a:lnTo>
                  <a:pt x="270" y="496"/>
                </a:lnTo>
                <a:lnTo>
                  <a:pt x="274" y="498"/>
                </a:lnTo>
                <a:lnTo>
                  <a:pt x="276" y="500"/>
                </a:lnTo>
                <a:lnTo>
                  <a:pt x="280" y="504"/>
                </a:lnTo>
                <a:lnTo>
                  <a:pt x="284" y="504"/>
                </a:lnTo>
                <a:lnTo>
                  <a:pt x="284" y="498"/>
                </a:lnTo>
                <a:lnTo>
                  <a:pt x="286" y="498"/>
                </a:lnTo>
                <a:lnTo>
                  <a:pt x="290" y="500"/>
                </a:lnTo>
                <a:lnTo>
                  <a:pt x="292" y="498"/>
                </a:lnTo>
                <a:lnTo>
                  <a:pt x="276" y="456"/>
                </a:lnTo>
                <a:lnTo>
                  <a:pt x="300" y="334"/>
                </a:lnTo>
                <a:close/>
              </a:path>
            </a:pathLst>
          </a:custGeom>
          <a:solidFill>
            <a:srgbClr val="F1B728"/>
          </a:solidFill>
          <a:ln w="6350">
            <a:solidFill>
              <a:schemeClr val="tx1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457200"/>
            <a:endParaRPr lang="en-US" kern="0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55" name="Freeform 33">
            <a:extLst>
              <a:ext uri="{FF2B5EF4-FFF2-40B4-BE49-F238E27FC236}">
                <a16:creationId xmlns:a16="http://schemas.microsoft.com/office/drawing/2014/main" id="{70CF42B2-B901-FF91-857A-DEB9B32E3B74}"/>
              </a:ext>
            </a:extLst>
          </p:cNvPr>
          <p:cNvSpPr>
            <a:spLocks/>
          </p:cNvSpPr>
          <p:nvPr/>
        </p:nvSpPr>
        <p:spPr bwMode="auto">
          <a:xfrm>
            <a:off x="3429000" y="3825240"/>
            <a:ext cx="518160" cy="576580"/>
          </a:xfrm>
          <a:custGeom>
            <a:avLst/>
            <a:gdLst>
              <a:gd name="T0" fmla="*/ 2147483646 w 408"/>
              <a:gd name="T1" fmla="*/ 2147483646 h 454"/>
              <a:gd name="T2" fmla="*/ 2147483646 w 408"/>
              <a:gd name="T3" fmla="*/ 2147483646 h 454"/>
              <a:gd name="T4" fmla="*/ 2147483646 w 408"/>
              <a:gd name="T5" fmla="*/ 2147483646 h 454"/>
              <a:gd name="T6" fmla="*/ 2147483646 w 408"/>
              <a:gd name="T7" fmla="*/ 2147483646 h 454"/>
              <a:gd name="T8" fmla="*/ 2147483646 w 408"/>
              <a:gd name="T9" fmla="*/ 2147483646 h 454"/>
              <a:gd name="T10" fmla="*/ 2147483646 w 408"/>
              <a:gd name="T11" fmla="*/ 2147483646 h 454"/>
              <a:gd name="T12" fmla="*/ 2147483646 w 408"/>
              <a:gd name="T13" fmla="*/ 2147483646 h 454"/>
              <a:gd name="T14" fmla="*/ 2147483646 w 408"/>
              <a:gd name="T15" fmla="*/ 2147483646 h 454"/>
              <a:gd name="T16" fmla="*/ 2147483646 w 408"/>
              <a:gd name="T17" fmla="*/ 2147483646 h 454"/>
              <a:gd name="T18" fmla="*/ 2147483646 w 408"/>
              <a:gd name="T19" fmla="*/ 2147483646 h 454"/>
              <a:gd name="T20" fmla="*/ 2147483646 w 408"/>
              <a:gd name="T21" fmla="*/ 2147483646 h 454"/>
              <a:gd name="T22" fmla="*/ 2147483646 w 408"/>
              <a:gd name="T23" fmla="*/ 2147483646 h 454"/>
              <a:gd name="T24" fmla="*/ 2147483646 w 408"/>
              <a:gd name="T25" fmla="*/ 2147483646 h 454"/>
              <a:gd name="T26" fmla="*/ 2147483646 w 408"/>
              <a:gd name="T27" fmla="*/ 2147483646 h 454"/>
              <a:gd name="T28" fmla="*/ 2147483646 w 408"/>
              <a:gd name="T29" fmla="*/ 2147483646 h 454"/>
              <a:gd name="T30" fmla="*/ 2147483646 w 408"/>
              <a:gd name="T31" fmla="*/ 2147483646 h 454"/>
              <a:gd name="T32" fmla="*/ 2147483646 w 408"/>
              <a:gd name="T33" fmla="*/ 2147483646 h 454"/>
              <a:gd name="T34" fmla="*/ 2147483646 w 408"/>
              <a:gd name="T35" fmla="*/ 2147483646 h 454"/>
              <a:gd name="T36" fmla="*/ 2147483646 w 408"/>
              <a:gd name="T37" fmla="*/ 2147483646 h 454"/>
              <a:gd name="T38" fmla="*/ 2147483646 w 408"/>
              <a:gd name="T39" fmla="*/ 2147483646 h 454"/>
              <a:gd name="T40" fmla="*/ 2147483646 w 408"/>
              <a:gd name="T41" fmla="*/ 2147483646 h 454"/>
              <a:gd name="T42" fmla="*/ 2147483646 w 408"/>
              <a:gd name="T43" fmla="*/ 2147483646 h 454"/>
              <a:gd name="T44" fmla="*/ 2147483646 w 408"/>
              <a:gd name="T45" fmla="*/ 0 h 454"/>
              <a:gd name="T46" fmla="*/ 2147483646 w 408"/>
              <a:gd name="T47" fmla="*/ 2147483646 h 454"/>
              <a:gd name="T48" fmla="*/ 2147483646 w 408"/>
              <a:gd name="T49" fmla="*/ 2147483646 h 454"/>
              <a:gd name="T50" fmla="*/ 2147483646 w 408"/>
              <a:gd name="T51" fmla="*/ 2147483646 h 454"/>
              <a:gd name="T52" fmla="*/ 2147483646 w 408"/>
              <a:gd name="T53" fmla="*/ 2147483646 h 454"/>
              <a:gd name="T54" fmla="*/ 0 w 408"/>
              <a:gd name="T55" fmla="*/ 2147483646 h 454"/>
              <a:gd name="T56" fmla="*/ 2147483646 w 408"/>
              <a:gd name="T57" fmla="*/ 2147483646 h 454"/>
              <a:gd name="T58" fmla="*/ 2147483646 w 408"/>
              <a:gd name="T59" fmla="*/ 2147483646 h 454"/>
              <a:gd name="T60" fmla="*/ 2147483646 w 408"/>
              <a:gd name="T61" fmla="*/ 2147483646 h 454"/>
              <a:gd name="T62" fmla="*/ 2147483646 w 408"/>
              <a:gd name="T63" fmla="*/ 2147483646 h 454"/>
              <a:gd name="T64" fmla="*/ 2147483646 w 408"/>
              <a:gd name="T65" fmla="*/ 2147483646 h 454"/>
              <a:gd name="T66" fmla="*/ 2147483646 w 408"/>
              <a:gd name="T67" fmla="*/ 2147483646 h 454"/>
              <a:gd name="T68" fmla="*/ 2147483646 w 408"/>
              <a:gd name="T69" fmla="*/ 2147483646 h 454"/>
              <a:gd name="T70" fmla="*/ 2147483646 w 408"/>
              <a:gd name="T71" fmla="*/ 2147483646 h 454"/>
              <a:gd name="T72" fmla="*/ 2147483646 w 408"/>
              <a:gd name="T73" fmla="*/ 2147483646 h 454"/>
              <a:gd name="T74" fmla="*/ 2147483646 w 408"/>
              <a:gd name="T75" fmla="*/ 2147483646 h 454"/>
              <a:gd name="T76" fmla="*/ 2147483646 w 408"/>
              <a:gd name="T77" fmla="*/ 2147483646 h 454"/>
              <a:gd name="T78" fmla="*/ 2147483646 w 408"/>
              <a:gd name="T79" fmla="*/ 2147483646 h 454"/>
              <a:gd name="T80" fmla="*/ 2147483646 w 408"/>
              <a:gd name="T81" fmla="*/ 2147483646 h 454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w 408"/>
              <a:gd name="T124" fmla="*/ 0 h 454"/>
              <a:gd name="T125" fmla="*/ 408 w 408"/>
              <a:gd name="T126" fmla="*/ 454 h 454"/>
            </a:gdLst>
            <a:ahLst/>
            <a:cxnLst>
              <a:cxn ang="T82">
                <a:pos x="T0" y="T1"/>
              </a:cxn>
              <a:cxn ang="T83">
                <a:pos x="T2" y="T3"/>
              </a:cxn>
              <a:cxn ang="T84">
                <a:pos x="T4" y="T5"/>
              </a:cxn>
              <a:cxn ang="T85">
                <a:pos x="T6" y="T7"/>
              </a:cxn>
              <a:cxn ang="T86">
                <a:pos x="T8" y="T9"/>
              </a:cxn>
              <a:cxn ang="T87">
                <a:pos x="T10" y="T11"/>
              </a:cxn>
              <a:cxn ang="T88">
                <a:pos x="T12" y="T13"/>
              </a:cxn>
              <a:cxn ang="T89">
                <a:pos x="T14" y="T15"/>
              </a:cxn>
              <a:cxn ang="T90">
                <a:pos x="T16" y="T17"/>
              </a:cxn>
              <a:cxn ang="T91">
                <a:pos x="T18" y="T19"/>
              </a:cxn>
              <a:cxn ang="T92">
                <a:pos x="T20" y="T21"/>
              </a:cxn>
              <a:cxn ang="T93">
                <a:pos x="T22" y="T23"/>
              </a:cxn>
              <a:cxn ang="T94">
                <a:pos x="T24" y="T25"/>
              </a:cxn>
              <a:cxn ang="T95">
                <a:pos x="T26" y="T27"/>
              </a:cxn>
              <a:cxn ang="T96">
                <a:pos x="T28" y="T29"/>
              </a:cxn>
              <a:cxn ang="T97">
                <a:pos x="T30" y="T31"/>
              </a:cxn>
              <a:cxn ang="T98">
                <a:pos x="T32" y="T33"/>
              </a:cxn>
              <a:cxn ang="T99">
                <a:pos x="T34" y="T35"/>
              </a:cxn>
              <a:cxn ang="T100">
                <a:pos x="T36" y="T37"/>
              </a:cxn>
              <a:cxn ang="T101">
                <a:pos x="T38" y="T39"/>
              </a:cxn>
              <a:cxn ang="T102">
                <a:pos x="T40" y="T41"/>
              </a:cxn>
              <a:cxn ang="T103">
                <a:pos x="T42" y="T43"/>
              </a:cxn>
              <a:cxn ang="T104">
                <a:pos x="T44" y="T45"/>
              </a:cxn>
              <a:cxn ang="T105">
                <a:pos x="T46" y="T47"/>
              </a:cxn>
              <a:cxn ang="T106">
                <a:pos x="T48" y="T49"/>
              </a:cxn>
              <a:cxn ang="T107">
                <a:pos x="T50" y="T51"/>
              </a:cxn>
              <a:cxn ang="T108">
                <a:pos x="T52" y="T53"/>
              </a:cxn>
              <a:cxn ang="T109">
                <a:pos x="T54" y="T55"/>
              </a:cxn>
              <a:cxn ang="T110">
                <a:pos x="T56" y="T57"/>
              </a:cxn>
              <a:cxn ang="T111">
                <a:pos x="T58" y="T59"/>
              </a:cxn>
              <a:cxn ang="T112">
                <a:pos x="T60" y="T61"/>
              </a:cxn>
              <a:cxn ang="T113">
                <a:pos x="T62" y="T63"/>
              </a:cxn>
              <a:cxn ang="T114">
                <a:pos x="T64" y="T65"/>
              </a:cxn>
              <a:cxn ang="T115">
                <a:pos x="T66" y="T67"/>
              </a:cxn>
              <a:cxn ang="T116">
                <a:pos x="T68" y="T69"/>
              </a:cxn>
              <a:cxn ang="T117">
                <a:pos x="T70" y="T71"/>
              </a:cxn>
              <a:cxn ang="T118">
                <a:pos x="T72" y="T73"/>
              </a:cxn>
              <a:cxn ang="T119">
                <a:pos x="T74" y="T75"/>
              </a:cxn>
              <a:cxn ang="T120">
                <a:pos x="T76" y="T77"/>
              </a:cxn>
              <a:cxn ang="T121">
                <a:pos x="T78" y="T79"/>
              </a:cxn>
              <a:cxn ang="T122">
                <a:pos x="T80" y="T81"/>
              </a:cxn>
            </a:cxnLst>
            <a:rect l="T123" t="T124" r="T125" b="T126"/>
            <a:pathLst>
              <a:path w="408" h="454">
                <a:moveTo>
                  <a:pt x="346" y="164"/>
                </a:moveTo>
                <a:lnTo>
                  <a:pt x="342" y="148"/>
                </a:lnTo>
                <a:lnTo>
                  <a:pt x="332" y="144"/>
                </a:lnTo>
                <a:lnTo>
                  <a:pt x="328" y="142"/>
                </a:lnTo>
                <a:lnTo>
                  <a:pt x="326" y="142"/>
                </a:lnTo>
                <a:lnTo>
                  <a:pt x="322" y="116"/>
                </a:lnTo>
                <a:lnTo>
                  <a:pt x="312" y="108"/>
                </a:lnTo>
                <a:lnTo>
                  <a:pt x="308" y="98"/>
                </a:lnTo>
                <a:lnTo>
                  <a:pt x="306" y="94"/>
                </a:lnTo>
                <a:lnTo>
                  <a:pt x="296" y="90"/>
                </a:lnTo>
                <a:lnTo>
                  <a:pt x="294" y="84"/>
                </a:lnTo>
                <a:lnTo>
                  <a:pt x="288" y="84"/>
                </a:lnTo>
                <a:lnTo>
                  <a:pt x="286" y="82"/>
                </a:lnTo>
                <a:lnTo>
                  <a:pt x="286" y="80"/>
                </a:lnTo>
                <a:lnTo>
                  <a:pt x="284" y="80"/>
                </a:lnTo>
                <a:lnTo>
                  <a:pt x="278" y="80"/>
                </a:lnTo>
                <a:lnTo>
                  <a:pt x="274" y="82"/>
                </a:lnTo>
                <a:lnTo>
                  <a:pt x="274" y="72"/>
                </a:lnTo>
                <a:lnTo>
                  <a:pt x="274" y="64"/>
                </a:lnTo>
                <a:lnTo>
                  <a:pt x="268" y="60"/>
                </a:lnTo>
                <a:lnTo>
                  <a:pt x="270" y="46"/>
                </a:lnTo>
                <a:lnTo>
                  <a:pt x="238" y="16"/>
                </a:lnTo>
                <a:lnTo>
                  <a:pt x="222" y="0"/>
                </a:lnTo>
                <a:lnTo>
                  <a:pt x="186" y="44"/>
                </a:lnTo>
                <a:lnTo>
                  <a:pt x="174" y="60"/>
                </a:lnTo>
                <a:lnTo>
                  <a:pt x="132" y="114"/>
                </a:lnTo>
                <a:lnTo>
                  <a:pt x="78" y="156"/>
                </a:lnTo>
                <a:lnTo>
                  <a:pt x="0" y="220"/>
                </a:lnTo>
                <a:lnTo>
                  <a:pt x="42" y="454"/>
                </a:lnTo>
                <a:lnTo>
                  <a:pt x="250" y="332"/>
                </a:lnTo>
                <a:lnTo>
                  <a:pt x="328" y="286"/>
                </a:lnTo>
                <a:lnTo>
                  <a:pt x="400" y="220"/>
                </a:lnTo>
                <a:lnTo>
                  <a:pt x="408" y="216"/>
                </a:lnTo>
                <a:lnTo>
                  <a:pt x="400" y="198"/>
                </a:lnTo>
                <a:lnTo>
                  <a:pt x="394" y="196"/>
                </a:lnTo>
                <a:lnTo>
                  <a:pt x="366" y="188"/>
                </a:lnTo>
                <a:lnTo>
                  <a:pt x="364" y="186"/>
                </a:lnTo>
                <a:lnTo>
                  <a:pt x="356" y="184"/>
                </a:lnTo>
                <a:lnTo>
                  <a:pt x="354" y="184"/>
                </a:lnTo>
                <a:lnTo>
                  <a:pt x="348" y="172"/>
                </a:lnTo>
                <a:lnTo>
                  <a:pt x="346" y="164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 w="6350">
            <a:solidFill>
              <a:schemeClr val="tx2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457200">
              <a:defRPr/>
            </a:pPr>
            <a:endParaRPr lang="en-US" kern="0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56" name="Freeform 34">
            <a:extLst>
              <a:ext uri="{FF2B5EF4-FFF2-40B4-BE49-F238E27FC236}">
                <a16:creationId xmlns:a16="http://schemas.microsoft.com/office/drawing/2014/main" id="{402A753E-4F87-6A87-350F-363E8805014C}"/>
              </a:ext>
            </a:extLst>
          </p:cNvPr>
          <p:cNvSpPr>
            <a:spLocks/>
          </p:cNvSpPr>
          <p:nvPr/>
        </p:nvSpPr>
        <p:spPr bwMode="auto">
          <a:xfrm>
            <a:off x="3436620" y="3281680"/>
            <a:ext cx="325120" cy="619760"/>
          </a:xfrm>
          <a:custGeom>
            <a:avLst/>
            <a:gdLst>
              <a:gd name="T0" fmla="*/ 2147483646 w 256"/>
              <a:gd name="T1" fmla="*/ 2147483646 h 488"/>
              <a:gd name="T2" fmla="*/ 2147483646 w 256"/>
              <a:gd name="T3" fmla="*/ 2147483646 h 488"/>
              <a:gd name="T4" fmla="*/ 2147483646 w 256"/>
              <a:gd name="T5" fmla="*/ 2147483646 h 488"/>
              <a:gd name="T6" fmla="*/ 2147483646 w 256"/>
              <a:gd name="T7" fmla="*/ 2147483646 h 488"/>
              <a:gd name="T8" fmla="*/ 2147483646 w 256"/>
              <a:gd name="T9" fmla="*/ 2147483646 h 488"/>
              <a:gd name="T10" fmla="*/ 2147483646 w 256"/>
              <a:gd name="T11" fmla="*/ 2147483646 h 488"/>
              <a:gd name="T12" fmla="*/ 2147483646 w 256"/>
              <a:gd name="T13" fmla="*/ 2147483646 h 488"/>
              <a:gd name="T14" fmla="*/ 2147483646 w 256"/>
              <a:gd name="T15" fmla="*/ 2147483646 h 488"/>
              <a:gd name="T16" fmla="*/ 2147483646 w 256"/>
              <a:gd name="T17" fmla="*/ 2147483646 h 488"/>
              <a:gd name="T18" fmla="*/ 2147483646 w 256"/>
              <a:gd name="T19" fmla="*/ 2147483646 h 488"/>
              <a:gd name="T20" fmla="*/ 2147483646 w 256"/>
              <a:gd name="T21" fmla="*/ 2147483646 h 488"/>
              <a:gd name="T22" fmla="*/ 2147483646 w 256"/>
              <a:gd name="T23" fmla="*/ 2147483646 h 488"/>
              <a:gd name="T24" fmla="*/ 2147483646 w 256"/>
              <a:gd name="T25" fmla="*/ 2147483646 h 488"/>
              <a:gd name="T26" fmla="*/ 2147483646 w 256"/>
              <a:gd name="T27" fmla="*/ 2147483646 h 488"/>
              <a:gd name="T28" fmla="*/ 2147483646 w 256"/>
              <a:gd name="T29" fmla="*/ 2147483646 h 488"/>
              <a:gd name="T30" fmla="*/ 2147483646 w 256"/>
              <a:gd name="T31" fmla="*/ 2147483646 h 488"/>
              <a:gd name="T32" fmla="*/ 2147483646 w 256"/>
              <a:gd name="T33" fmla="*/ 0 h 488"/>
              <a:gd name="T34" fmla="*/ 2147483646 w 256"/>
              <a:gd name="T35" fmla="*/ 0 h 488"/>
              <a:gd name="T36" fmla="*/ 2147483646 w 256"/>
              <a:gd name="T37" fmla="*/ 2147483646 h 488"/>
              <a:gd name="T38" fmla="*/ 2147483646 w 256"/>
              <a:gd name="T39" fmla="*/ 2147483646 h 488"/>
              <a:gd name="T40" fmla="*/ 2147483646 w 256"/>
              <a:gd name="T41" fmla="*/ 2147483646 h 488"/>
              <a:gd name="T42" fmla="*/ 2147483646 w 256"/>
              <a:gd name="T43" fmla="*/ 2147483646 h 488"/>
              <a:gd name="T44" fmla="*/ 2147483646 w 256"/>
              <a:gd name="T45" fmla="*/ 2147483646 h 488"/>
              <a:gd name="T46" fmla="*/ 2147483646 w 256"/>
              <a:gd name="T47" fmla="*/ 2147483646 h 488"/>
              <a:gd name="T48" fmla="*/ 2147483646 w 256"/>
              <a:gd name="T49" fmla="*/ 2147483646 h 488"/>
              <a:gd name="T50" fmla="*/ 2147483646 w 256"/>
              <a:gd name="T51" fmla="*/ 2147483646 h 488"/>
              <a:gd name="T52" fmla="*/ 2147483646 w 256"/>
              <a:gd name="T53" fmla="*/ 2147483646 h 488"/>
              <a:gd name="T54" fmla="*/ 2147483646 w 256"/>
              <a:gd name="T55" fmla="*/ 2147483646 h 488"/>
              <a:gd name="T56" fmla="*/ 2147483646 w 256"/>
              <a:gd name="T57" fmla="*/ 2147483646 h 488"/>
              <a:gd name="T58" fmla="*/ 2147483646 w 256"/>
              <a:gd name="T59" fmla="*/ 2147483646 h 488"/>
              <a:gd name="T60" fmla="*/ 2147483646 w 256"/>
              <a:gd name="T61" fmla="*/ 2147483646 h 488"/>
              <a:gd name="T62" fmla="*/ 2147483646 w 256"/>
              <a:gd name="T63" fmla="*/ 2147483646 h 488"/>
              <a:gd name="T64" fmla="*/ 2147483646 w 256"/>
              <a:gd name="T65" fmla="*/ 2147483646 h 488"/>
              <a:gd name="T66" fmla="*/ 2147483646 w 256"/>
              <a:gd name="T67" fmla="*/ 2147483646 h 488"/>
              <a:gd name="T68" fmla="*/ 2147483646 w 256"/>
              <a:gd name="T69" fmla="*/ 2147483646 h 488"/>
              <a:gd name="T70" fmla="*/ 2147483646 w 256"/>
              <a:gd name="T71" fmla="*/ 2147483646 h 488"/>
              <a:gd name="T72" fmla="*/ 2147483646 w 256"/>
              <a:gd name="T73" fmla="*/ 2147483646 h 488"/>
              <a:gd name="T74" fmla="*/ 2147483646 w 256"/>
              <a:gd name="T75" fmla="*/ 2147483646 h 488"/>
              <a:gd name="T76" fmla="*/ 2147483646 w 256"/>
              <a:gd name="T77" fmla="*/ 2147483646 h 488"/>
              <a:gd name="T78" fmla="*/ 2147483646 w 256"/>
              <a:gd name="T79" fmla="*/ 2147483646 h 488"/>
              <a:gd name="T80" fmla="*/ 2147483646 w 256"/>
              <a:gd name="T81" fmla="*/ 2147483646 h 488"/>
              <a:gd name="T82" fmla="*/ 2147483646 w 256"/>
              <a:gd name="T83" fmla="*/ 2147483646 h 488"/>
              <a:gd name="T84" fmla="*/ 2147483646 w 256"/>
              <a:gd name="T85" fmla="*/ 2147483646 h 488"/>
              <a:gd name="T86" fmla="*/ 2147483646 w 256"/>
              <a:gd name="T87" fmla="*/ 2147483646 h 488"/>
              <a:gd name="T88" fmla="*/ 2147483646 w 256"/>
              <a:gd name="T89" fmla="*/ 2147483646 h 488"/>
              <a:gd name="T90" fmla="*/ 2147483646 w 256"/>
              <a:gd name="T91" fmla="*/ 2147483646 h 488"/>
              <a:gd name="T92" fmla="*/ 2147483646 w 256"/>
              <a:gd name="T93" fmla="*/ 2147483646 h 488"/>
              <a:gd name="T94" fmla="*/ 2147483646 w 256"/>
              <a:gd name="T95" fmla="*/ 2147483646 h 488"/>
              <a:gd name="T96" fmla="*/ 2147483646 w 256"/>
              <a:gd name="T97" fmla="*/ 2147483646 h 488"/>
              <a:gd name="T98" fmla="*/ 2147483646 w 256"/>
              <a:gd name="T99" fmla="*/ 2147483646 h 488"/>
              <a:gd name="T100" fmla="*/ 2147483646 w 256"/>
              <a:gd name="T101" fmla="*/ 2147483646 h 488"/>
              <a:gd name="T102" fmla="*/ 2147483646 w 256"/>
              <a:gd name="T103" fmla="*/ 2147483646 h 488"/>
              <a:gd name="T104" fmla="*/ 2147483646 w 256"/>
              <a:gd name="T105" fmla="*/ 2147483646 h 488"/>
              <a:gd name="T106" fmla="*/ 2147483646 w 256"/>
              <a:gd name="T107" fmla="*/ 2147483646 h 488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w 256"/>
              <a:gd name="T163" fmla="*/ 0 h 488"/>
              <a:gd name="T164" fmla="*/ 256 w 256"/>
              <a:gd name="T165" fmla="*/ 488 h 488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T162" t="T163" r="T164" b="T165"/>
            <a:pathLst>
              <a:path w="256" h="488">
                <a:moveTo>
                  <a:pt x="216" y="428"/>
                </a:moveTo>
                <a:lnTo>
                  <a:pt x="256" y="370"/>
                </a:lnTo>
                <a:lnTo>
                  <a:pt x="254" y="364"/>
                </a:lnTo>
                <a:lnTo>
                  <a:pt x="252" y="360"/>
                </a:lnTo>
                <a:lnTo>
                  <a:pt x="250" y="354"/>
                </a:lnTo>
                <a:lnTo>
                  <a:pt x="250" y="348"/>
                </a:lnTo>
                <a:lnTo>
                  <a:pt x="244" y="334"/>
                </a:lnTo>
                <a:lnTo>
                  <a:pt x="230" y="324"/>
                </a:lnTo>
                <a:lnTo>
                  <a:pt x="226" y="326"/>
                </a:lnTo>
                <a:lnTo>
                  <a:pt x="226" y="320"/>
                </a:lnTo>
                <a:lnTo>
                  <a:pt x="222" y="316"/>
                </a:lnTo>
                <a:lnTo>
                  <a:pt x="216" y="320"/>
                </a:lnTo>
                <a:lnTo>
                  <a:pt x="212" y="318"/>
                </a:lnTo>
                <a:lnTo>
                  <a:pt x="212" y="316"/>
                </a:lnTo>
                <a:lnTo>
                  <a:pt x="204" y="310"/>
                </a:lnTo>
                <a:lnTo>
                  <a:pt x="204" y="304"/>
                </a:lnTo>
                <a:lnTo>
                  <a:pt x="200" y="300"/>
                </a:lnTo>
                <a:lnTo>
                  <a:pt x="198" y="296"/>
                </a:lnTo>
                <a:lnTo>
                  <a:pt x="196" y="288"/>
                </a:lnTo>
                <a:lnTo>
                  <a:pt x="194" y="286"/>
                </a:lnTo>
                <a:lnTo>
                  <a:pt x="214" y="270"/>
                </a:lnTo>
                <a:lnTo>
                  <a:pt x="214" y="268"/>
                </a:lnTo>
                <a:lnTo>
                  <a:pt x="214" y="264"/>
                </a:lnTo>
                <a:lnTo>
                  <a:pt x="214" y="258"/>
                </a:lnTo>
                <a:lnTo>
                  <a:pt x="220" y="258"/>
                </a:lnTo>
                <a:lnTo>
                  <a:pt x="226" y="256"/>
                </a:lnTo>
                <a:lnTo>
                  <a:pt x="230" y="252"/>
                </a:lnTo>
                <a:lnTo>
                  <a:pt x="232" y="250"/>
                </a:lnTo>
                <a:lnTo>
                  <a:pt x="232" y="238"/>
                </a:lnTo>
                <a:lnTo>
                  <a:pt x="234" y="236"/>
                </a:lnTo>
                <a:lnTo>
                  <a:pt x="234" y="228"/>
                </a:lnTo>
                <a:lnTo>
                  <a:pt x="238" y="222"/>
                </a:lnTo>
                <a:lnTo>
                  <a:pt x="236" y="168"/>
                </a:lnTo>
                <a:lnTo>
                  <a:pt x="234" y="160"/>
                </a:lnTo>
                <a:lnTo>
                  <a:pt x="234" y="148"/>
                </a:lnTo>
                <a:lnTo>
                  <a:pt x="232" y="142"/>
                </a:lnTo>
                <a:lnTo>
                  <a:pt x="238" y="130"/>
                </a:lnTo>
                <a:lnTo>
                  <a:pt x="242" y="128"/>
                </a:lnTo>
                <a:lnTo>
                  <a:pt x="242" y="122"/>
                </a:lnTo>
                <a:lnTo>
                  <a:pt x="236" y="114"/>
                </a:lnTo>
                <a:lnTo>
                  <a:pt x="238" y="108"/>
                </a:lnTo>
                <a:lnTo>
                  <a:pt x="236" y="100"/>
                </a:lnTo>
                <a:lnTo>
                  <a:pt x="238" y="94"/>
                </a:lnTo>
                <a:lnTo>
                  <a:pt x="236" y="88"/>
                </a:lnTo>
                <a:lnTo>
                  <a:pt x="232" y="82"/>
                </a:lnTo>
                <a:lnTo>
                  <a:pt x="222" y="72"/>
                </a:lnTo>
                <a:lnTo>
                  <a:pt x="216" y="66"/>
                </a:lnTo>
                <a:lnTo>
                  <a:pt x="214" y="58"/>
                </a:lnTo>
                <a:lnTo>
                  <a:pt x="216" y="52"/>
                </a:lnTo>
                <a:lnTo>
                  <a:pt x="216" y="50"/>
                </a:lnTo>
                <a:lnTo>
                  <a:pt x="214" y="48"/>
                </a:lnTo>
                <a:lnTo>
                  <a:pt x="214" y="46"/>
                </a:lnTo>
                <a:lnTo>
                  <a:pt x="214" y="40"/>
                </a:lnTo>
                <a:lnTo>
                  <a:pt x="214" y="38"/>
                </a:lnTo>
                <a:lnTo>
                  <a:pt x="212" y="38"/>
                </a:lnTo>
                <a:lnTo>
                  <a:pt x="204" y="40"/>
                </a:lnTo>
                <a:lnTo>
                  <a:pt x="196" y="40"/>
                </a:lnTo>
                <a:lnTo>
                  <a:pt x="194" y="40"/>
                </a:lnTo>
                <a:lnTo>
                  <a:pt x="192" y="40"/>
                </a:lnTo>
                <a:lnTo>
                  <a:pt x="178" y="36"/>
                </a:lnTo>
                <a:lnTo>
                  <a:pt x="174" y="34"/>
                </a:lnTo>
                <a:lnTo>
                  <a:pt x="168" y="32"/>
                </a:lnTo>
                <a:lnTo>
                  <a:pt x="164" y="32"/>
                </a:lnTo>
                <a:lnTo>
                  <a:pt x="160" y="28"/>
                </a:lnTo>
                <a:lnTo>
                  <a:pt x="156" y="24"/>
                </a:lnTo>
                <a:lnTo>
                  <a:pt x="148" y="14"/>
                </a:lnTo>
                <a:lnTo>
                  <a:pt x="146" y="10"/>
                </a:lnTo>
                <a:lnTo>
                  <a:pt x="146" y="0"/>
                </a:lnTo>
                <a:lnTo>
                  <a:pt x="144" y="0"/>
                </a:lnTo>
                <a:lnTo>
                  <a:pt x="140" y="2"/>
                </a:lnTo>
                <a:lnTo>
                  <a:pt x="138" y="2"/>
                </a:lnTo>
                <a:lnTo>
                  <a:pt x="134" y="0"/>
                </a:lnTo>
                <a:lnTo>
                  <a:pt x="126" y="4"/>
                </a:lnTo>
                <a:lnTo>
                  <a:pt x="116" y="4"/>
                </a:lnTo>
                <a:lnTo>
                  <a:pt x="114" y="6"/>
                </a:lnTo>
                <a:lnTo>
                  <a:pt x="108" y="12"/>
                </a:lnTo>
                <a:lnTo>
                  <a:pt x="104" y="16"/>
                </a:lnTo>
                <a:lnTo>
                  <a:pt x="48" y="74"/>
                </a:lnTo>
                <a:lnTo>
                  <a:pt x="6" y="120"/>
                </a:lnTo>
                <a:lnTo>
                  <a:pt x="6" y="122"/>
                </a:lnTo>
                <a:lnTo>
                  <a:pt x="8" y="124"/>
                </a:lnTo>
                <a:lnTo>
                  <a:pt x="10" y="128"/>
                </a:lnTo>
                <a:lnTo>
                  <a:pt x="8" y="132"/>
                </a:lnTo>
                <a:lnTo>
                  <a:pt x="6" y="132"/>
                </a:lnTo>
                <a:lnTo>
                  <a:pt x="4" y="132"/>
                </a:lnTo>
                <a:lnTo>
                  <a:pt x="2" y="136"/>
                </a:lnTo>
                <a:lnTo>
                  <a:pt x="2" y="138"/>
                </a:lnTo>
                <a:lnTo>
                  <a:pt x="2" y="140"/>
                </a:lnTo>
                <a:lnTo>
                  <a:pt x="2" y="142"/>
                </a:lnTo>
                <a:lnTo>
                  <a:pt x="2" y="144"/>
                </a:lnTo>
                <a:lnTo>
                  <a:pt x="0" y="146"/>
                </a:lnTo>
                <a:lnTo>
                  <a:pt x="2" y="146"/>
                </a:lnTo>
                <a:lnTo>
                  <a:pt x="4" y="146"/>
                </a:lnTo>
                <a:lnTo>
                  <a:pt x="8" y="146"/>
                </a:lnTo>
                <a:lnTo>
                  <a:pt x="8" y="154"/>
                </a:lnTo>
                <a:lnTo>
                  <a:pt x="12" y="148"/>
                </a:lnTo>
                <a:lnTo>
                  <a:pt x="18" y="150"/>
                </a:lnTo>
                <a:lnTo>
                  <a:pt x="18" y="154"/>
                </a:lnTo>
                <a:lnTo>
                  <a:pt x="18" y="156"/>
                </a:lnTo>
                <a:lnTo>
                  <a:pt x="18" y="160"/>
                </a:lnTo>
                <a:lnTo>
                  <a:pt x="20" y="162"/>
                </a:lnTo>
                <a:lnTo>
                  <a:pt x="24" y="164"/>
                </a:lnTo>
                <a:lnTo>
                  <a:pt x="26" y="166"/>
                </a:lnTo>
                <a:lnTo>
                  <a:pt x="24" y="166"/>
                </a:lnTo>
                <a:lnTo>
                  <a:pt x="22" y="166"/>
                </a:lnTo>
                <a:lnTo>
                  <a:pt x="20" y="168"/>
                </a:lnTo>
                <a:lnTo>
                  <a:pt x="20" y="174"/>
                </a:lnTo>
                <a:lnTo>
                  <a:pt x="22" y="176"/>
                </a:lnTo>
                <a:lnTo>
                  <a:pt x="26" y="178"/>
                </a:lnTo>
                <a:lnTo>
                  <a:pt x="30" y="180"/>
                </a:lnTo>
                <a:lnTo>
                  <a:pt x="36" y="190"/>
                </a:lnTo>
                <a:lnTo>
                  <a:pt x="34" y="192"/>
                </a:lnTo>
                <a:lnTo>
                  <a:pt x="34" y="194"/>
                </a:lnTo>
                <a:lnTo>
                  <a:pt x="30" y="198"/>
                </a:lnTo>
                <a:lnTo>
                  <a:pt x="30" y="200"/>
                </a:lnTo>
                <a:lnTo>
                  <a:pt x="34" y="202"/>
                </a:lnTo>
                <a:lnTo>
                  <a:pt x="36" y="202"/>
                </a:lnTo>
                <a:lnTo>
                  <a:pt x="38" y="204"/>
                </a:lnTo>
                <a:lnTo>
                  <a:pt x="36" y="208"/>
                </a:lnTo>
                <a:lnTo>
                  <a:pt x="34" y="208"/>
                </a:lnTo>
                <a:lnTo>
                  <a:pt x="30" y="208"/>
                </a:lnTo>
                <a:lnTo>
                  <a:pt x="28" y="210"/>
                </a:lnTo>
                <a:lnTo>
                  <a:pt x="28" y="212"/>
                </a:lnTo>
                <a:lnTo>
                  <a:pt x="36" y="220"/>
                </a:lnTo>
                <a:lnTo>
                  <a:pt x="38" y="222"/>
                </a:lnTo>
                <a:lnTo>
                  <a:pt x="40" y="220"/>
                </a:lnTo>
                <a:lnTo>
                  <a:pt x="42" y="216"/>
                </a:lnTo>
                <a:lnTo>
                  <a:pt x="44" y="216"/>
                </a:lnTo>
                <a:lnTo>
                  <a:pt x="44" y="218"/>
                </a:lnTo>
                <a:lnTo>
                  <a:pt x="44" y="222"/>
                </a:lnTo>
                <a:lnTo>
                  <a:pt x="48" y="226"/>
                </a:lnTo>
                <a:lnTo>
                  <a:pt x="52" y="228"/>
                </a:lnTo>
                <a:lnTo>
                  <a:pt x="52" y="234"/>
                </a:lnTo>
                <a:lnTo>
                  <a:pt x="56" y="238"/>
                </a:lnTo>
                <a:lnTo>
                  <a:pt x="56" y="240"/>
                </a:lnTo>
                <a:lnTo>
                  <a:pt x="56" y="246"/>
                </a:lnTo>
                <a:lnTo>
                  <a:pt x="54" y="246"/>
                </a:lnTo>
                <a:lnTo>
                  <a:pt x="52" y="246"/>
                </a:lnTo>
                <a:lnTo>
                  <a:pt x="48" y="248"/>
                </a:lnTo>
                <a:lnTo>
                  <a:pt x="52" y="252"/>
                </a:lnTo>
                <a:lnTo>
                  <a:pt x="52" y="256"/>
                </a:lnTo>
                <a:lnTo>
                  <a:pt x="48" y="258"/>
                </a:lnTo>
                <a:lnTo>
                  <a:pt x="48" y="262"/>
                </a:lnTo>
                <a:lnTo>
                  <a:pt x="48" y="264"/>
                </a:lnTo>
                <a:lnTo>
                  <a:pt x="48" y="266"/>
                </a:lnTo>
                <a:lnTo>
                  <a:pt x="46" y="268"/>
                </a:lnTo>
                <a:lnTo>
                  <a:pt x="46" y="272"/>
                </a:lnTo>
                <a:lnTo>
                  <a:pt x="52" y="274"/>
                </a:lnTo>
                <a:lnTo>
                  <a:pt x="54" y="274"/>
                </a:lnTo>
                <a:lnTo>
                  <a:pt x="54" y="276"/>
                </a:lnTo>
                <a:lnTo>
                  <a:pt x="48" y="278"/>
                </a:lnTo>
                <a:lnTo>
                  <a:pt x="46" y="282"/>
                </a:lnTo>
                <a:lnTo>
                  <a:pt x="44" y="282"/>
                </a:lnTo>
                <a:lnTo>
                  <a:pt x="48" y="284"/>
                </a:lnTo>
                <a:lnTo>
                  <a:pt x="48" y="286"/>
                </a:lnTo>
                <a:lnTo>
                  <a:pt x="48" y="288"/>
                </a:lnTo>
                <a:lnTo>
                  <a:pt x="54" y="290"/>
                </a:lnTo>
                <a:lnTo>
                  <a:pt x="60" y="290"/>
                </a:lnTo>
                <a:lnTo>
                  <a:pt x="62" y="292"/>
                </a:lnTo>
                <a:lnTo>
                  <a:pt x="62" y="294"/>
                </a:lnTo>
                <a:lnTo>
                  <a:pt x="60" y="296"/>
                </a:lnTo>
                <a:lnTo>
                  <a:pt x="60" y="300"/>
                </a:lnTo>
                <a:lnTo>
                  <a:pt x="64" y="302"/>
                </a:lnTo>
                <a:lnTo>
                  <a:pt x="64" y="304"/>
                </a:lnTo>
                <a:lnTo>
                  <a:pt x="64" y="308"/>
                </a:lnTo>
                <a:lnTo>
                  <a:pt x="66" y="310"/>
                </a:lnTo>
                <a:lnTo>
                  <a:pt x="72" y="310"/>
                </a:lnTo>
                <a:lnTo>
                  <a:pt x="72" y="316"/>
                </a:lnTo>
                <a:lnTo>
                  <a:pt x="76" y="322"/>
                </a:lnTo>
                <a:lnTo>
                  <a:pt x="78" y="326"/>
                </a:lnTo>
                <a:lnTo>
                  <a:pt x="82" y="334"/>
                </a:lnTo>
                <a:lnTo>
                  <a:pt x="86" y="338"/>
                </a:lnTo>
                <a:lnTo>
                  <a:pt x="90" y="342"/>
                </a:lnTo>
                <a:lnTo>
                  <a:pt x="94" y="348"/>
                </a:lnTo>
                <a:lnTo>
                  <a:pt x="92" y="356"/>
                </a:lnTo>
                <a:lnTo>
                  <a:pt x="90" y="360"/>
                </a:lnTo>
                <a:lnTo>
                  <a:pt x="90" y="364"/>
                </a:lnTo>
                <a:lnTo>
                  <a:pt x="90" y="370"/>
                </a:lnTo>
                <a:lnTo>
                  <a:pt x="92" y="376"/>
                </a:lnTo>
                <a:lnTo>
                  <a:pt x="92" y="380"/>
                </a:lnTo>
                <a:lnTo>
                  <a:pt x="94" y="390"/>
                </a:lnTo>
                <a:lnTo>
                  <a:pt x="94" y="394"/>
                </a:lnTo>
                <a:lnTo>
                  <a:pt x="92" y="398"/>
                </a:lnTo>
                <a:lnTo>
                  <a:pt x="90" y="402"/>
                </a:lnTo>
                <a:lnTo>
                  <a:pt x="90" y="412"/>
                </a:lnTo>
                <a:lnTo>
                  <a:pt x="92" y="414"/>
                </a:lnTo>
                <a:lnTo>
                  <a:pt x="96" y="416"/>
                </a:lnTo>
                <a:lnTo>
                  <a:pt x="98" y="418"/>
                </a:lnTo>
                <a:lnTo>
                  <a:pt x="100" y="418"/>
                </a:lnTo>
                <a:lnTo>
                  <a:pt x="100" y="424"/>
                </a:lnTo>
                <a:lnTo>
                  <a:pt x="100" y="426"/>
                </a:lnTo>
                <a:lnTo>
                  <a:pt x="98" y="428"/>
                </a:lnTo>
                <a:lnTo>
                  <a:pt x="96" y="432"/>
                </a:lnTo>
                <a:lnTo>
                  <a:pt x="98" y="434"/>
                </a:lnTo>
                <a:lnTo>
                  <a:pt x="106" y="434"/>
                </a:lnTo>
                <a:lnTo>
                  <a:pt x="106" y="438"/>
                </a:lnTo>
                <a:lnTo>
                  <a:pt x="100" y="444"/>
                </a:lnTo>
                <a:lnTo>
                  <a:pt x="104" y="448"/>
                </a:lnTo>
                <a:lnTo>
                  <a:pt x="104" y="452"/>
                </a:lnTo>
                <a:lnTo>
                  <a:pt x="108" y="452"/>
                </a:lnTo>
                <a:lnTo>
                  <a:pt x="112" y="454"/>
                </a:lnTo>
                <a:lnTo>
                  <a:pt x="118" y="456"/>
                </a:lnTo>
                <a:lnTo>
                  <a:pt x="124" y="456"/>
                </a:lnTo>
                <a:lnTo>
                  <a:pt x="126" y="464"/>
                </a:lnTo>
                <a:lnTo>
                  <a:pt x="132" y="468"/>
                </a:lnTo>
                <a:lnTo>
                  <a:pt x="140" y="468"/>
                </a:lnTo>
                <a:lnTo>
                  <a:pt x="142" y="464"/>
                </a:lnTo>
                <a:lnTo>
                  <a:pt x="148" y="458"/>
                </a:lnTo>
                <a:lnTo>
                  <a:pt x="150" y="456"/>
                </a:lnTo>
                <a:lnTo>
                  <a:pt x="152" y="462"/>
                </a:lnTo>
                <a:lnTo>
                  <a:pt x="156" y="466"/>
                </a:lnTo>
                <a:lnTo>
                  <a:pt x="160" y="468"/>
                </a:lnTo>
                <a:lnTo>
                  <a:pt x="162" y="470"/>
                </a:lnTo>
                <a:lnTo>
                  <a:pt x="164" y="472"/>
                </a:lnTo>
                <a:lnTo>
                  <a:pt x="168" y="476"/>
                </a:lnTo>
                <a:lnTo>
                  <a:pt x="168" y="480"/>
                </a:lnTo>
                <a:lnTo>
                  <a:pt x="168" y="488"/>
                </a:lnTo>
                <a:lnTo>
                  <a:pt x="180" y="472"/>
                </a:lnTo>
                <a:lnTo>
                  <a:pt x="216" y="428"/>
                </a:lnTo>
                <a:close/>
              </a:path>
            </a:pathLst>
          </a:custGeom>
          <a:solidFill>
            <a:srgbClr val="F1B728"/>
          </a:solidFill>
          <a:ln w="6350">
            <a:solidFill>
              <a:schemeClr val="tx1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457200"/>
            <a:endParaRPr lang="en-US" kern="0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57" name="Freeform 35">
            <a:extLst>
              <a:ext uri="{FF2B5EF4-FFF2-40B4-BE49-F238E27FC236}">
                <a16:creationId xmlns:a16="http://schemas.microsoft.com/office/drawing/2014/main" id="{D4EC374B-3CBB-9FC6-7E4A-18E7BA06F0B2}"/>
              </a:ext>
            </a:extLst>
          </p:cNvPr>
          <p:cNvSpPr>
            <a:spLocks/>
          </p:cNvSpPr>
          <p:nvPr/>
        </p:nvSpPr>
        <p:spPr bwMode="auto">
          <a:xfrm>
            <a:off x="3710940" y="3482340"/>
            <a:ext cx="655320" cy="576580"/>
          </a:xfrm>
          <a:custGeom>
            <a:avLst/>
            <a:gdLst>
              <a:gd name="T0" fmla="*/ 2147483646 w 516"/>
              <a:gd name="T1" fmla="*/ 2147483646 h 454"/>
              <a:gd name="T2" fmla="*/ 2147483646 w 516"/>
              <a:gd name="T3" fmla="*/ 2147483646 h 454"/>
              <a:gd name="T4" fmla="*/ 2147483646 w 516"/>
              <a:gd name="T5" fmla="*/ 2147483646 h 454"/>
              <a:gd name="T6" fmla="*/ 2147483646 w 516"/>
              <a:gd name="T7" fmla="*/ 2147483646 h 454"/>
              <a:gd name="T8" fmla="*/ 2147483646 w 516"/>
              <a:gd name="T9" fmla="*/ 2147483646 h 454"/>
              <a:gd name="T10" fmla="*/ 2147483646 w 516"/>
              <a:gd name="T11" fmla="*/ 2147483646 h 454"/>
              <a:gd name="T12" fmla="*/ 2147483646 w 516"/>
              <a:gd name="T13" fmla="*/ 2147483646 h 454"/>
              <a:gd name="T14" fmla="*/ 2147483646 w 516"/>
              <a:gd name="T15" fmla="*/ 2147483646 h 454"/>
              <a:gd name="T16" fmla="*/ 2147483646 w 516"/>
              <a:gd name="T17" fmla="*/ 2147483646 h 454"/>
              <a:gd name="T18" fmla="*/ 2147483646 w 516"/>
              <a:gd name="T19" fmla="*/ 2147483646 h 454"/>
              <a:gd name="T20" fmla="*/ 2147483646 w 516"/>
              <a:gd name="T21" fmla="*/ 2147483646 h 454"/>
              <a:gd name="T22" fmla="*/ 2147483646 w 516"/>
              <a:gd name="T23" fmla="*/ 2147483646 h 454"/>
              <a:gd name="T24" fmla="*/ 2147483646 w 516"/>
              <a:gd name="T25" fmla="*/ 2147483646 h 454"/>
              <a:gd name="T26" fmla="*/ 2147483646 w 516"/>
              <a:gd name="T27" fmla="*/ 2147483646 h 454"/>
              <a:gd name="T28" fmla="*/ 2147483646 w 516"/>
              <a:gd name="T29" fmla="*/ 2147483646 h 454"/>
              <a:gd name="T30" fmla="*/ 2147483646 w 516"/>
              <a:gd name="T31" fmla="*/ 2147483646 h 454"/>
              <a:gd name="T32" fmla="*/ 2147483646 w 516"/>
              <a:gd name="T33" fmla="*/ 2147483646 h 454"/>
              <a:gd name="T34" fmla="*/ 2147483646 w 516"/>
              <a:gd name="T35" fmla="*/ 2147483646 h 454"/>
              <a:gd name="T36" fmla="*/ 2147483646 w 516"/>
              <a:gd name="T37" fmla="*/ 2147483646 h 454"/>
              <a:gd name="T38" fmla="*/ 2147483646 w 516"/>
              <a:gd name="T39" fmla="*/ 2147483646 h 454"/>
              <a:gd name="T40" fmla="*/ 2147483646 w 516"/>
              <a:gd name="T41" fmla="*/ 2147483646 h 454"/>
              <a:gd name="T42" fmla="*/ 2147483646 w 516"/>
              <a:gd name="T43" fmla="*/ 2147483646 h 454"/>
              <a:gd name="T44" fmla="*/ 2147483646 w 516"/>
              <a:gd name="T45" fmla="*/ 2147483646 h 454"/>
              <a:gd name="T46" fmla="*/ 2147483646 w 516"/>
              <a:gd name="T47" fmla="*/ 2147483646 h 454"/>
              <a:gd name="T48" fmla="*/ 2147483646 w 516"/>
              <a:gd name="T49" fmla="*/ 2147483646 h 454"/>
              <a:gd name="T50" fmla="*/ 2147483646 w 516"/>
              <a:gd name="T51" fmla="*/ 2147483646 h 454"/>
              <a:gd name="T52" fmla="*/ 2147483646 w 516"/>
              <a:gd name="T53" fmla="*/ 2147483646 h 454"/>
              <a:gd name="T54" fmla="*/ 2147483646 w 516"/>
              <a:gd name="T55" fmla="*/ 2147483646 h 454"/>
              <a:gd name="T56" fmla="*/ 2147483646 w 516"/>
              <a:gd name="T57" fmla="*/ 2147483646 h 454"/>
              <a:gd name="T58" fmla="*/ 2147483646 w 516"/>
              <a:gd name="T59" fmla="*/ 2147483646 h 454"/>
              <a:gd name="T60" fmla="*/ 2147483646 w 516"/>
              <a:gd name="T61" fmla="*/ 2147483646 h 454"/>
              <a:gd name="T62" fmla="*/ 2147483646 w 516"/>
              <a:gd name="T63" fmla="*/ 2147483646 h 454"/>
              <a:gd name="T64" fmla="*/ 2147483646 w 516"/>
              <a:gd name="T65" fmla="*/ 2147483646 h 454"/>
              <a:gd name="T66" fmla="*/ 2147483646 w 516"/>
              <a:gd name="T67" fmla="*/ 2147483646 h 454"/>
              <a:gd name="T68" fmla="*/ 2147483646 w 516"/>
              <a:gd name="T69" fmla="*/ 2147483646 h 454"/>
              <a:gd name="T70" fmla="*/ 2147483646 w 516"/>
              <a:gd name="T71" fmla="*/ 2147483646 h 454"/>
              <a:gd name="T72" fmla="*/ 2147483646 w 516"/>
              <a:gd name="T73" fmla="*/ 2147483646 h 454"/>
              <a:gd name="T74" fmla="*/ 2147483646 w 516"/>
              <a:gd name="T75" fmla="*/ 2147483646 h 454"/>
              <a:gd name="T76" fmla="*/ 2147483646 w 516"/>
              <a:gd name="T77" fmla="*/ 2147483646 h 454"/>
              <a:gd name="T78" fmla="*/ 2147483646 w 516"/>
              <a:gd name="T79" fmla="*/ 2147483646 h 454"/>
              <a:gd name="T80" fmla="*/ 2147483646 w 516"/>
              <a:gd name="T81" fmla="*/ 2147483646 h 454"/>
              <a:gd name="T82" fmla="*/ 2147483646 w 516"/>
              <a:gd name="T83" fmla="*/ 2147483646 h 454"/>
              <a:gd name="T84" fmla="*/ 2147483646 w 516"/>
              <a:gd name="T85" fmla="*/ 2147483646 h 454"/>
              <a:gd name="T86" fmla="*/ 2147483646 w 516"/>
              <a:gd name="T87" fmla="*/ 2147483646 h 454"/>
              <a:gd name="T88" fmla="*/ 2147483646 w 516"/>
              <a:gd name="T89" fmla="*/ 2147483646 h 454"/>
              <a:gd name="T90" fmla="*/ 2147483646 w 516"/>
              <a:gd name="T91" fmla="*/ 2147483646 h 454"/>
              <a:gd name="T92" fmla="*/ 2147483646 w 516"/>
              <a:gd name="T93" fmla="*/ 2147483646 h 454"/>
              <a:gd name="T94" fmla="*/ 2147483646 w 516"/>
              <a:gd name="T95" fmla="*/ 2147483646 h 454"/>
              <a:gd name="T96" fmla="*/ 2147483646 w 516"/>
              <a:gd name="T97" fmla="*/ 2147483646 h 454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w 516"/>
              <a:gd name="T148" fmla="*/ 0 h 454"/>
              <a:gd name="T149" fmla="*/ 516 w 516"/>
              <a:gd name="T150" fmla="*/ 454 h 454"/>
            </a:gdLst>
            <a:ahLst/>
            <a:cxnLst>
              <a:cxn ang="T98">
                <a:pos x="T0" y="T1"/>
              </a:cxn>
              <a:cxn ang="T99">
                <a:pos x="T2" y="T3"/>
              </a:cxn>
              <a:cxn ang="T100">
                <a:pos x="T4" y="T5"/>
              </a:cxn>
              <a:cxn ang="T101">
                <a:pos x="T6" y="T7"/>
              </a:cxn>
              <a:cxn ang="T102">
                <a:pos x="T8" y="T9"/>
              </a:cxn>
              <a:cxn ang="T103">
                <a:pos x="T10" y="T11"/>
              </a:cxn>
              <a:cxn ang="T104">
                <a:pos x="T12" y="T13"/>
              </a:cxn>
              <a:cxn ang="T105">
                <a:pos x="T14" y="T15"/>
              </a:cxn>
              <a:cxn ang="T106">
                <a:pos x="T16" y="T17"/>
              </a:cxn>
              <a:cxn ang="T107">
                <a:pos x="T18" y="T19"/>
              </a:cxn>
              <a:cxn ang="T108">
                <a:pos x="T20" y="T21"/>
              </a:cxn>
              <a:cxn ang="T109">
                <a:pos x="T22" y="T23"/>
              </a:cxn>
              <a:cxn ang="T110">
                <a:pos x="T24" y="T25"/>
              </a:cxn>
              <a:cxn ang="T111">
                <a:pos x="T26" y="T27"/>
              </a:cxn>
              <a:cxn ang="T112">
                <a:pos x="T28" y="T29"/>
              </a:cxn>
              <a:cxn ang="T113">
                <a:pos x="T30" y="T31"/>
              </a:cxn>
              <a:cxn ang="T114">
                <a:pos x="T32" y="T33"/>
              </a:cxn>
              <a:cxn ang="T115">
                <a:pos x="T34" y="T35"/>
              </a:cxn>
              <a:cxn ang="T116">
                <a:pos x="T36" y="T37"/>
              </a:cxn>
              <a:cxn ang="T117">
                <a:pos x="T38" y="T39"/>
              </a:cxn>
              <a:cxn ang="T118">
                <a:pos x="T40" y="T41"/>
              </a:cxn>
              <a:cxn ang="T119">
                <a:pos x="T42" y="T43"/>
              </a:cxn>
              <a:cxn ang="T120">
                <a:pos x="T44" y="T45"/>
              </a:cxn>
              <a:cxn ang="T121">
                <a:pos x="T46" y="T47"/>
              </a:cxn>
              <a:cxn ang="T122">
                <a:pos x="T48" y="T49"/>
              </a:cxn>
              <a:cxn ang="T123">
                <a:pos x="T50" y="T51"/>
              </a:cxn>
              <a:cxn ang="T124">
                <a:pos x="T52" y="T53"/>
              </a:cxn>
              <a:cxn ang="T125">
                <a:pos x="T54" y="T55"/>
              </a:cxn>
              <a:cxn ang="T126">
                <a:pos x="T56" y="T57"/>
              </a:cxn>
              <a:cxn ang="T127">
                <a:pos x="T58" y="T59"/>
              </a:cxn>
              <a:cxn ang="T128">
                <a:pos x="T60" y="T61"/>
              </a:cxn>
              <a:cxn ang="T129">
                <a:pos x="T62" y="T63"/>
              </a:cxn>
              <a:cxn ang="T130">
                <a:pos x="T64" y="T65"/>
              </a:cxn>
              <a:cxn ang="T131">
                <a:pos x="T66" y="T67"/>
              </a:cxn>
              <a:cxn ang="T132">
                <a:pos x="T68" y="T69"/>
              </a:cxn>
              <a:cxn ang="T133">
                <a:pos x="T70" y="T71"/>
              </a:cxn>
              <a:cxn ang="T134">
                <a:pos x="T72" y="T73"/>
              </a:cxn>
              <a:cxn ang="T135">
                <a:pos x="T74" y="T75"/>
              </a:cxn>
              <a:cxn ang="T136">
                <a:pos x="T76" y="T77"/>
              </a:cxn>
              <a:cxn ang="T137">
                <a:pos x="T78" y="T79"/>
              </a:cxn>
              <a:cxn ang="T138">
                <a:pos x="T80" y="T81"/>
              </a:cxn>
              <a:cxn ang="T139">
                <a:pos x="T82" y="T83"/>
              </a:cxn>
              <a:cxn ang="T140">
                <a:pos x="T84" y="T85"/>
              </a:cxn>
              <a:cxn ang="T141">
                <a:pos x="T86" y="T87"/>
              </a:cxn>
              <a:cxn ang="T142">
                <a:pos x="T88" y="T89"/>
              </a:cxn>
              <a:cxn ang="T143">
                <a:pos x="T90" y="T91"/>
              </a:cxn>
              <a:cxn ang="T144">
                <a:pos x="T92" y="T93"/>
              </a:cxn>
              <a:cxn ang="T145">
                <a:pos x="T94" y="T95"/>
              </a:cxn>
              <a:cxn ang="T146">
                <a:pos x="T96" y="T97"/>
              </a:cxn>
            </a:cxnLst>
            <a:rect l="T147" t="T148" r="T149" b="T150"/>
            <a:pathLst>
              <a:path w="516" h="454">
                <a:moveTo>
                  <a:pt x="506" y="176"/>
                </a:moveTo>
                <a:lnTo>
                  <a:pt x="506" y="166"/>
                </a:lnTo>
                <a:lnTo>
                  <a:pt x="508" y="162"/>
                </a:lnTo>
                <a:lnTo>
                  <a:pt x="508" y="158"/>
                </a:lnTo>
                <a:lnTo>
                  <a:pt x="514" y="154"/>
                </a:lnTo>
                <a:lnTo>
                  <a:pt x="516" y="152"/>
                </a:lnTo>
                <a:lnTo>
                  <a:pt x="514" y="146"/>
                </a:lnTo>
                <a:lnTo>
                  <a:pt x="504" y="148"/>
                </a:lnTo>
                <a:lnTo>
                  <a:pt x="502" y="146"/>
                </a:lnTo>
                <a:lnTo>
                  <a:pt x="500" y="144"/>
                </a:lnTo>
                <a:lnTo>
                  <a:pt x="498" y="136"/>
                </a:lnTo>
                <a:lnTo>
                  <a:pt x="498" y="134"/>
                </a:lnTo>
                <a:lnTo>
                  <a:pt x="500" y="130"/>
                </a:lnTo>
                <a:lnTo>
                  <a:pt x="496" y="126"/>
                </a:lnTo>
                <a:lnTo>
                  <a:pt x="490" y="124"/>
                </a:lnTo>
                <a:lnTo>
                  <a:pt x="486" y="126"/>
                </a:lnTo>
                <a:lnTo>
                  <a:pt x="484" y="126"/>
                </a:lnTo>
                <a:lnTo>
                  <a:pt x="478" y="120"/>
                </a:lnTo>
                <a:lnTo>
                  <a:pt x="478" y="112"/>
                </a:lnTo>
                <a:lnTo>
                  <a:pt x="480" y="104"/>
                </a:lnTo>
                <a:lnTo>
                  <a:pt x="484" y="94"/>
                </a:lnTo>
                <a:lnTo>
                  <a:pt x="488" y="88"/>
                </a:lnTo>
                <a:lnTo>
                  <a:pt x="486" y="84"/>
                </a:lnTo>
                <a:lnTo>
                  <a:pt x="482" y="82"/>
                </a:lnTo>
                <a:lnTo>
                  <a:pt x="474" y="74"/>
                </a:lnTo>
                <a:lnTo>
                  <a:pt x="472" y="70"/>
                </a:lnTo>
                <a:lnTo>
                  <a:pt x="468" y="70"/>
                </a:lnTo>
                <a:lnTo>
                  <a:pt x="462" y="70"/>
                </a:lnTo>
                <a:lnTo>
                  <a:pt x="456" y="58"/>
                </a:lnTo>
                <a:lnTo>
                  <a:pt x="454" y="58"/>
                </a:lnTo>
                <a:lnTo>
                  <a:pt x="450" y="54"/>
                </a:lnTo>
                <a:lnTo>
                  <a:pt x="446" y="50"/>
                </a:lnTo>
                <a:lnTo>
                  <a:pt x="440" y="46"/>
                </a:lnTo>
                <a:lnTo>
                  <a:pt x="436" y="52"/>
                </a:lnTo>
                <a:lnTo>
                  <a:pt x="430" y="58"/>
                </a:lnTo>
                <a:lnTo>
                  <a:pt x="426" y="58"/>
                </a:lnTo>
                <a:lnTo>
                  <a:pt x="422" y="56"/>
                </a:lnTo>
                <a:lnTo>
                  <a:pt x="416" y="44"/>
                </a:lnTo>
                <a:lnTo>
                  <a:pt x="414" y="44"/>
                </a:lnTo>
                <a:lnTo>
                  <a:pt x="410" y="44"/>
                </a:lnTo>
                <a:lnTo>
                  <a:pt x="400" y="46"/>
                </a:lnTo>
                <a:lnTo>
                  <a:pt x="398" y="50"/>
                </a:lnTo>
                <a:lnTo>
                  <a:pt x="388" y="52"/>
                </a:lnTo>
                <a:lnTo>
                  <a:pt x="388" y="50"/>
                </a:lnTo>
                <a:lnTo>
                  <a:pt x="384" y="38"/>
                </a:lnTo>
                <a:lnTo>
                  <a:pt x="384" y="28"/>
                </a:lnTo>
                <a:lnTo>
                  <a:pt x="382" y="22"/>
                </a:lnTo>
                <a:lnTo>
                  <a:pt x="380" y="20"/>
                </a:lnTo>
                <a:lnTo>
                  <a:pt x="378" y="16"/>
                </a:lnTo>
                <a:lnTo>
                  <a:pt x="380" y="10"/>
                </a:lnTo>
                <a:lnTo>
                  <a:pt x="378" y="8"/>
                </a:lnTo>
                <a:lnTo>
                  <a:pt x="370" y="0"/>
                </a:lnTo>
                <a:lnTo>
                  <a:pt x="366" y="2"/>
                </a:lnTo>
                <a:lnTo>
                  <a:pt x="364" y="2"/>
                </a:lnTo>
                <a:lnTo>
                  <a:pt x="362" y="4"/>
                </a:lnTo>
                <a:lnTo>
                  <a:pt x="360" y="4"/>
                </a:lnTo>
                <a:lnTo>
                  <a:pt x="360" y="6"/>
                </a:lnTo>
                <a:lnTo>
                  <a:pt x="356" y="10"/>
                </a:lnTo>
                <a:lnTo>
                  <a:pt x="348" y="14"/>
                </a:lnTo>
                <a:lnTo>
                  <a:pt x="348" y="16"/>
                </a:lnTo>
                <a:lnTo>
                  <a:pt x="346" y="16"/>
                </a:lnTo>
                <a:lnTo>
                  <a:pt x="342" y="22"/>
                </a:lnTo>
                <a:lnTo>
                  <a:pt x="338" y="22"/>
                </a:lnTo>
                <a:lnTo>
                  <a:pt x="330" y="20"/>
                </a:lnTo>
                <a:lnTo>
                  <a:pt x="328" y="20"/>
                </a:lnTo>
                <a:lnTo>
                  <a:pt x="326" y="20"/>
                </a:lnTo>
                <a:lnTo>
                  <a:pt x="326" y="24"/>
                </a:lnTo>
                <a:lnTo>
                  <a:pt x="324" y="26"/>
                </a:lnTo>
                <a:lnTo>
                  <a:pt x="322" y="26"/>
                </a:lnTo>
                <a:lnTo>
                  <a:pt x="316" y="22"/>
                </a:lnTo>
                <a:lnTo>
                  <a:pt x="316" y="16"/>
                </a:lnTo>
                <a:lnTo>
                  <a:pt x="316" y="14"/>
                </a:lnTo>
                <a:lnTo>
                  <a:pt x="314" y="14"/>
                </a:lnTo>
                <a:lnTo>
                  <a:pt x="310" y="14"/>
                </a:lnTo>
                <a:lnTo>
                  <a:pt x="252" y="58"/>
                </a:lnTo>
                <a:lnTo>
                  <a:pt x="178" y="112"/>
                </a:lnTo>
                <a:lnTo>
                  <a:pt x="88" y="178"/>
                </a:lnTo>
                <a:lnTo>
                  <a:pt x="40" y="212"/>
                </a:lnTo>
                <a:lnTo>
                  <a:pt x="0" y="270"/>
                </a:lnTo>
                <a:lnTo>
                  <a:pt x="16" y="286"/>
                </a:lnTo>
                <a:lnTo>
                  <a:pt x="48" y="316"/>
                </a:lnTo>
                <a:lnTo>
                  <a:pt x="46" y="330"/>
                </a:lnTo>
                <a:lnTo>
                  <a:pt x="52" y="334"/>
                </a:lnTo>
                <a:lnTo>
                  <a:pt x="52" y="342"/>
                </a:lnTo>
                <a:lnTo>
                  <a:pt x="52" y="352"/>
                </a:lnTo>
                <a:lnTo>
                  <a:pt x="56" y="350"/>
                </a:lnTo>
                <a:lnTo>
                  <a:pt x="62" y="350"/>
                </a:lnTo>
                <a:lnTo>
                  <a:pt x="64" y="350"/>
                </a:lnTo>
                <a:lnTo>
                  <a:pt x="64" y="352"/>
                </a:lnTo>
                <a:lnTo>
                  <a:pt x="66" y="354"/>
                </a:lnTo>
                <a:lnTo>
                  <a:pt x="72" y="354"/>
                </a:lnTo>
                <a:lnTo>
                  <a:pt x="74" y="360"/>
                </a:lnTo>
                <a:lnTo>
                  <a:pt x="84" y="364"/>
                </a:lnTo>
                <a:lnTo>
                  <a:pt x="86" y="368"/>
                </a:lnTo>
                <a:lnTo>
                  <a:pt x="90" y="378"/>
                </a:lnTo>
                <a:lnTo>
                  <a:pt x="100" y="386"/>
                </a:lnTo>
                <a:lnTo>
                  <a:pt x="104" y="412"/>
                </a:lnTo>
                <a:lnTo>
                  <a:pt x="106" y="412"/>
                </a:lnTo>
                <a:lnTo>
                  <a:pt x="110" y="414"/>
                </a:lnTo>
                <a:lnTo>
                  <a:pt x="120" y="418"/>
                </a:lnTo>
                <a:lnTo>
                  <a:pt x="124" y="434"/>
                </a:lnTo>
                <a:lnTo>
                  <a:pt x="126" y="442"/>
                </a:lnTo>
                <a:lnTo>
                  <a:pt x="132" y="454"/>
                </a:lnTo>
                <a:lnTo>
                  <a:pt x="210" y="396"/>
                </a:lnTo>
                <a:lnTo>
                  <a:pt x="218" y="394"/>
                </a:lnTo>
                <a:lnTo>
                  <a:pt x="220" y="398"/>
                </a:lnTo>
                <a:lnTo>
                  <a:pt x="220" y="402"/>
                </a:lnTo>
                <a:lnTo>
                  <a:pt x="226" y="408"/>
                </a:lnTo>
                <a:lnTo>
                  <a:pt x="234" y="408"/>
                </a:lnTo>
                <a:lnTo>
                  <a:pt x="236" y="414"/>
                </a:lnTo>
                <a:lnTo>
                  <a:pt x="238" y="418"/>
                </a:lnTo>
                <a:lnTo>
                  <a:pt x="240" y="422"/>
                </a:lnTo>
                <a:lnTo>
                  <a:pt x="244" y="422"/>
                </a:lnTo>
                <a:lnTo>
                  <a:pt x="244" y="430"/>
                </a:lnTo>
                <a:lnTo>
                  <a:pt x="246" y="432"/>
                </a:lnTo>
                <a:lnTo>
                  <a:pt x="248" y="430"/>
                </a:lnTo>
                <a:lnTo>
                  <a:pt x="256" y="432"/>
                </a:lnTo>
                <a:lnTo>
                  <a:pt x="256" y="430"/>
                </a:lnTo>
                <a:lnTo>
                  <a:pt x="256" y="424"/>
                </a:lnTo>
                <a:lnTo>
                  <a:pt x="258" y="422"/>
                </a:lnTo>
                <a:lnTo>
                  <a:pt x="262" y="424"/>
                </a:lnTo>
                <a:lnTo>
                  <a:pt x="264" y="424"/>
                </a:lnTo>
                <a:lnTo>
                  <a:pt x="266" y="420"/>
                </a:lnTo>
                <a:lnTo>
                  <a:pt x="272" y="420"/>
                </a:lnTo>
                <a:lnTo>
                  <a:pt x="276" y="418"/>
                </a:lnTo>
                <a:lnTo>
                  <a:pt x="280" y="420"/>
                </a:lnTo>
                <a:lnTo>
                  <a:pt x="284" y="420"/>
                </a:lnTo>
                <a:lnTo>
                  <a:pt x="288" y="420"/>
                </a:lnTo>
                <a:lnTo>
                  <a:pt x="292" y="418"/>
                </a:lnTo>
                <a:lnTo>
                  <a:pt x="296" y="422"/>
                </a:lnTo>
                <a:lnTo>
                  <a:pt x="298" y="422"/>
                </a:lnTo>
                <a:lnTo>
                  <a:pt x="304" y="422"/>
                </a:lnTo>
                <a:lnTo>
                  <a:pt x="312" y="424"/>
                </a:lnTo>
                <a:lnTo>
                  <a:pt x="318" y="426"/>
                </a:lnTo>
                <a:lnTo>
                  <a:pt x="328" y="426"/>
                </a:lnTo>
                <a:lnTo>
                  <a:pt x="330" y="430"/>
                </a:lnTo>
                <a:lnTo>
                  <a:pt x="352" y="408"/>
                </a:lnTo>
                <a:lnTo>
                  <a:pt x="382" y="378"/>
                </a:lnTo>
                <a:lnTo>
                  <a:pt x="418" y="334"/>
                </a:lnTo>
                <a:lnTo>
                  <a:pt x="428" y="328"/>
                </a:lnTo>
                <a:lnTo>
                  <a:pt x="448" y="306"/>
                </a:lnTo>
                <a:lnTo>
                  <a:pt x="456" y="292"/>
                </a:lnTo>
                <a:lnTo>
                  <a:pt x="462" y="280"/>
                </a:lnTo>
                <a:lnTo>
                  <a:pt x="478" y="244"/>
                </a:lnTo>
                <a:lnTo>
                  <a:pt x="498" y="198"/>
                </a:lnTo>
                <a:lnTo>
                  <a:pt x="502" y="188"/>
                </a:lnTo>
                <a:lnTo>
                  <a:pt x="506" y="182"/>
                </a:lnTo>
                <a:lnTo>
                  <a:pt x="506" y="176"/>
                </a:lnTo>
                <a:close/>
              </a:path>
            </a:pathLst>
          </a:custGeom>
          <a:solidFill>
            <a:srgbClr val="F1B728"/>
          </a:solidFill>
          <a:ln w="6350">
            <a:solidFill>
              <a:schemeClr val="tx1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457200"/>
            <a:endParaRPr lang="en-US" kern="0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58" name="Freeform 36">
            <a:extLst>
              <a:ext uri="{FF2B5EF4-FFF2-40B4-BE49-F238E27FC236}">
                <a16:creationId xmlns:a16="http://schemas.microsoft.com/office/drawing/2014/main" id="{4E4DE7A8-23C0-BA6B-2B1E-5F334242F036}"/>
              </a:ext>
            </a:extLst>
          </p:cNvPr>
          <p:cNvSpPr>
            <a:spLocks/>
          </p:cNvSpPr>
          <p:nvPr/>
        </p:nvSpPr>
        <p:spPr bwMode="auto">
          <a:xfrm>
            <a:off x="2070100" y="3906520"/>
            <a:ext cx="505460" cy="533400"/>
          </a:xfrm>
          <a:custGeom>
            <a:avLst/>
            <a:gdLst>
              <a:gd name="T0" fmla="*/ 2147483646 w 398"/>
              <a:gd name="T1" fmla="*/ 2147483646 h 420"/>
              <a:gd name="T2" fmla="*/ 2147483646 w 398"/>
              <a:gd name="T3" fmla="*/ 2147483646 h 420"/>
              <a:gd name="T4" fmla="*/ 2147483646 w 398"/>
              <a:gd name="T5" fmla="*/ 2147483646 h 420"/>
              <a:gd name="T6" fmla="*/ 2147483646 w 398"/>
              <a:gd name="T7" fmla="*/ 2147483646 h 420"/>
              <a:gd name="T8" fmla="*/ 2147483646 w 398"/>
              <a:gd name="T9" fmla="*/ 2147483646 h 420"/>
              <a:gd name="T10" fmla="*/ 2147483646 w 398"/>
              <a:gd name="T11" fmla="*/ 2147483646 h 420"/>
              <a:gd name="T12" fmla="*/ 2147483646 w 398"/>
              <a:gd name="T13" fmla="*/ 2147483646 h 420"/>
              <a:gd name="T14" fmla="*/ 2147483646 w 398"/>
              <a:gd name="T15" fmla="*/ 2147483646 h 420"/>
              <a:gd name="T16" fmla="*/ 2147483646 w 398"/>
              <a:gd name="T17" fmla="*/ 2147483646 h 420"/>
              <a:gd name="T18" fmla="*/ 2147483646 w 398"/>
              <a:gd name="T19" fmla="*/ 2147483646 h 420"/>
              <a:gd name="T20" fmla="*/ 2147483646 w 398"/>
              <a:gd name="T21" fmla="*/ 2147483646 h 420"/>
              <a:gd name="T22" fmla="*/ 2147483646 w 398"/>
              <a:gd name="T23" fmla="*/ 2147483646 h 420"/>
              <a:gd name="T24" fmla="*/ 2147483646 w 398"/>
              <a:gd name="T25" fmla="*/ 2147483646 h 420"/>
              <a:gd name="T26" fmla="*/ 2147483646 w 398"/>
              <a:gd name="T27" fmla="*/ 2147483646 h 420"/>
              <a:gd name="T28" fmla="*/ 2147483646 w 398"/>
              <a:gd name="T29" fmla="*/ 2147483646 h 420"/>
              <a:gd name="T30" fmla="*/ 2147483646 w 398"/>
              <a:gd name="T31" fmla="*/ 2147483646 h 420"/>
              <a:gd name="T32" fmla="*/ 2147483646 w 398"/>
              <a:gd name="T33" fmla="*/ 2147483646 h 420"/>
              <a:gd name="T34" fmla="*/ 2147483646 w 398"/>
              <a:gd name="T35" fmla="*/ 2147483646 h 420"/>
              <a:gd name="T36" fmla="*/ 2147483646 w 398"/>
              <a:gd name="T37" fmla="*/ 2147483646 h 420"/>
              <a:gd name="T38" fmla="*/ 2147483646 w 398"/>
              <a:gd name="T39" fmla="*/ 2147483646 h 420"/>
              <a:gd name="T40" fmla="*/ 2147483646 w 398"/>
              <a:gd name="T41" fmla="*/ 2147483646 h 420"/>
              <a:gd name="T42" fmla="*/ 2147483646 w 398"/>
              <a:gd name="T43" fmla="*/ 2147483646 h 420"/>
              <a:gd name="T44" fmla="*/ 2147483646 w 398"/>
              <a:gd name="T45" fmla="*/ 2147483646 h 420"/>
              <a:gd name="T46" fmla="*/ 2147483646 w 398"/>
              <a:gd name="T47" fmla="*/ 2147483646 h 420"/>
              <a:gd name="T48" fmla="*/ 2147483646 w 398"/>
              <a:gd name="T49" fmla="*/ 2147483646 h 420"/>
              <a:gd name="T50" fmla="*/ 2147483646 w 398"/>
              <a:gd name="T51" fmla="*/ 2147483646 h 420"/>
              <a:gd name="T52" fmla="*/ 2147483646 w 398"/>
              <a:gd name="T53" fmla="*/ 2147483646 h 420"/>
              <a:gd name="T54" fmla="*/ 2147483646 w 398"/>
              <a:gd name="T55" fmla="*/ 2147483646 h 420"/>
              <a:gd name="T56" fmla="*/ 2147483646 w 398"/>
              <a:gd name="T57" fmla="*/ 2147483646 h 420"/>
              <a:gd name="T58" fmla="*/ 2147483646 w 398"/>
              <a:gd name="T59" fmla="*/ 2147483646 h 420"/>
              <a:gd name="T60" fmla="*/ 2147483646 w 398"/>
              <a:gd name="T61" fmla="*/ 2147483646 h 420"/>
              <a:gd name="T62" fmla="*/ 2147483646 w 398"/>
              <a:gd name="T63" fmla="*/ 2147483646 h 420"/>
              <a:gd name="T64" fmla="*/ 2147483646 w 398"/>
              <a:gd name="T65" fmla="*/ 2147483646 h 420"/>
              <a:gd name="T66" fmla="*/ 2147483646 w 398"/>
              <a:gd name="T67" fmla="*/ 2147483646 h 420"/>
              <a:gd name="T68" fmla="*/ 2147483646 w 398"/>
              <a:gd name="T69" fmla="*/ 2147483646 h 420"/>
              <a:gd name="T70" fmla="*/ 2147483646 w 398"/>
              <a:gd name="T71" fmla="*/ 2147483646 h 420"/>
              <a:gd name="T72" fmla="*/ 2147483646 w 398"/>
              <a:gd name="T73" fmla="*/ 2147483646 h 420"/>
              <a:gd name="T74" fmla="*/ 2147483646 w 398"/>
              <a:gd name="T75" fmla="*/ 2147483646 h 420"/>
              <a:gd name="T76" fmla="*/ 2147483646 w 398"/>
              <a:gd name="T77" fmla="*/ 2147483646 h 420"/>
              <a:gd name="T78" fmla="*/ 2147483646 w 398"/>
              <a:gd name="T79" fmla="*/ 2147483646 h 420"/>
              <a:gd name="T80" fmla="*/ 2147483646 w 398"/>
              <a:gd name="T81" fmla="*/ 2147483646 h 420"/>
              <a:gd name="T82" fmla="*/ 2147483646 w 398"/>
              <a:gd name="T83" fmla="*/ 2147483646 h 420"/>
              <a:gd name="T84" fmla="*/ 2147483646 w 398"/>
              <a:gd name="T85" fmla="*/ 2147483646 h 420"/>
              <a:gd name="T86" fmla="*/ 2147483646 w 398"/>
              <a:gd name="T87" fmla="*/ 2147483646 h 420"/>
              <a:gd name="T88" fmla="*/ 2147483646 w 398"/>
              <a:gd name="T89" fmla="*/ 2147483646 h 420"/>
              <a:gd name="T90" fmla="*/ 2147483646 w 398"/>
              <a:gd name="T91" fmla="*/ 2147483646 h 420"/>
              <a:gd name="T92" fmla="*/ 2147483646 w 398"/>
              <a:gd name="T93" fmla="*/ 2147483646 h 420"/>
              <a:gd name="T94" fmla="*/ 2147483646 w 398"/>
              <a:gd name="T95" fmla="*/ 2147483646 h 420"/>
              <a:gd name="T96" fmla="*/ 0 w 398"/>
              <a:gd name="T97" fmla="*/ 2147483646 h 420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w 398"/>
              <a:gd name="T148" fmla="*/ 0 h 420"/>
              <a:gd name="T149" fmla="*/ 398 w 398"/>
              <a:gd name="T150" fmla="*/ 420 h 420"/>
            </a:gdLst>
            <a:ahLst/>
            <a:cxnLst>
              <a:cxn ang="T98">
                <a:pos x="T0" y="T1"/>
              </a:cxn>
              <a:cxn ang="T99">
                <a:pos x="T2" y="T3"/>
              </a:cxn>
              <a:cxn ang="T100">
                <a:pos x="T4" y="T5"/>
              </a:cxn>
              <a:cxn ang="T101">
                <a:pos x="T6" y="T7"/>
              </a:cxn>
              <a:cxn ang="T102">
                <a:pos x="T8" y="T9"/>
              </a:cxn>
              <a:cxn ang="T103">
                <a:pos x="T10" y="T11"/>
              </a:cxn>
              <a:cxn ang="T104">
                <a:pos x="T12" y="T13"/>
              </a:cxn>
              <a:cxn ang="T105">
                <a:pos x="T14" y="T15"/>
              </a:cxn>
              <a:cxn ang="T106">
                <a:pos x="T16" y="T17"/>
              </a:cxn>
              <a:cxn ang="T107">
                <a:pos x="T18" y="T19"/>
              </a:cxn>
              <a:cxn ang="T108">
                <a:pos x="T20" y="T21"/>
              </a:cxn>
              <a:cxn ang="T109">
                <a:pos x="T22" y="T23"/>
              </a:cxn>
              <a:cxn ang="T110">
                <a:pos x="T24" y="T25"/>
              </a:cxn>
              <a:cxn ang="T111">
                <a:pos x="T26" y="T27"/>
              </a:cxn>
              <a:cxn ang="T112">
                <a:pos x="T28" y="T29"/>
              </a:cxn>
              <a:cxn ang="T113">
                <a:pos x="T30" y="T31"/>
              </a:cxn>
              <a:cxn ang="T114">
                <a:pos x="T32" y="T33"/>
              </a:cxn>
              <a:cxn ang="T115">
                <a:pos x="T34" y="T35"/>
              </a:cxn>
              <a:cxn ang="T116">
                <a:pos x="T36" y="T37"/>
              </a:cxn>
              <a:cxn ang="T117">
                <a:pos x="T38" y="T39"/>
              </a:cxn>
              <a:cxn ang="T118">
                <a:pos x="T40" y="T41"/>
              </a:cxn>
              <a:cxn ang="T119">
                <a:pos x="T42" y="T43"/>
              </a:cxn>
              <a:cxn ang="T120">
                <a:pos x="T44" y="T45"/>
              </a:cxn>
              <a:cxn ang="T121">
                <a:pos x="T46" y="T47"/>
              </a:cxn>
              <a:cxn ang="T122">
                <a:pos x="T48" y="T49"/>
              </a:cxn>
              <a:cxn ang="T123">
                <a:pos x="T50" y="T51"/>
              </a:cxn>
              <a:cxn ang="T124">
                <a:pos x="T52" y="T53"/>
              </a:cxn>
              <a:cxn ang="T125">
                <a:pos x="T54" y="T55"/>
              </a:cxn>
              <a:cxn ang="T126">
                <a:pos x="T56" y="T57"/>
              </a:cxn>
              <a:cxn ang="T127">
                <a:pos x="T58" y="T59"/>
              </a:cxn>
              <a:cxn ang="T128">
                <a:pos x="T60" y="T61"/>
              </a:cxn>
              <a:cxn ang="T129">
                <a:pos x="T62" y="T63"/>
              </a:cxn>
              <a:cxn ang="T130">
                <a:pos x="T64" y="T65"/>
              </a:cxn>
              <a:cxn ang="T131">
                <a:pos x="T66" y="T67"/>
              </a:cxn>
              <a:cxn ang="T132">
                <a:pos x="T68" y="T69"/>
              </a:cxn>
              <a:cxn ang="T133">
                <a:pos x="T70" y="T71"/>
              </a:cxn>
              <a:cxn ang="T134">
                <a:pos x="T72" y="T73"/>
              </a:cxn>
              <a:cxn ang="T135">
                <a:pos x="T74" y="T75"/>
              </a:cxn>
              <a:cxn ang="T136">
                <a:pos x="T76" y="T77"/>
              </a:cxn>
              <a:cxn ang="T137">
                <a:pos x="T78" y="T79"/>
              </a:cxn>
              <a:cxn ang="T138">
                <a:pos x="T80" y="T81"/>
              </a:cxn>
              <a:cxn ang="T139">
                <a:pos x="T82" y="T83"/>
              </a:cxn>
              <a:cxn ang="T140">
                <a:pos x="T84" y="T85"/>
              </a:cxn>
              <a:cxn ang="T141">
                <a:pos x="T86" y="T87"/>
              </a:cxn>
              <a:cxn ang="T142">
                <a:pos x="T88" y="T89"/>
              </a:cxn>
              <a:cxn ang="T143">
                <a:pos x="T90" y="T91"/>
              </a:cxn>
              <a:cxn ang="T144">
                <a:pos x="T92" y="T93"/>
              </a:cxn>
              <a:cxn ang="T145">
                <a:pos x="T94" y="T95"/>
              </a:cxn>
              <a:cxn ang="T146">
                <a:pos x="T96" y="T97"/>
              </a:cxn>
            </a:cxnLst>
            <a:rect l="T147" t="T148" r="T149" b="T150"/>
            <a:pathLst>
              <a:path w="398" h="420">
                <a:moveTo>
                  <a:pt x="138" y="330"/>
                </a:moveTo>
                <a:lnTo>
                  <a:pt x="146" y="320"/>
                </a:lnTo>
                <a:lnTo>
                  <a:pt x="144" y="312"/>
                </a:lnTo>
                <a:lnTo>
                  <a:pt x="146" y="308"/>
                </a:lnTo>
                <a:lnTo>
                  <a:pt x="148" y="308"/>
                </a:lnTo>
                <a:lnTo>
                  <a:pt x="158" y="308"/>
                </a:lnTo>
                <a:lnTo>
                  <a:pt x="162" y="306"/>
                </a:lnTo>
                <a:lnTo>
                  <a:pt x="162" y="302"/>
                </a:lnTo>
                <a:lnTo>
                  <a:pt x="164" y="300"/>
                </a:lnTo>
                <a:lnTo>
                  <a:pt x="174" y="304"/>
                </a:lnTo>
                <a:lnTo>
                  <a:pt x="178" y="314"/>
                </a:lnTo>
                <a:lnTo>
                  <a:pt x="180" y="314"/>
                </a:lnTo>
                <a:lnTo>
                  <a:pt x="184" y="314"/>
                </a:lnTo>
                <a:lnTo>
                  <a:pt x="186" y="316"/>
                </a:lnTo>
                <a:lnTo>
                  <a:pt x="184" y="318"/>
                </a:lnTo>
                <a:lnTo>
                  <a:pt x="182" y="322"/>
                </a:lnTo>
                <a:lnTo>
                  <a:pt x="186" y="322"/>
                </a:lnTo>
                <a:lnTo>
                  <a:pt x="192" y="322"/>
                </a:lnTo>
                <a:lnTo>
                  <a:pt x="194" y="332"/>
                </a:lnTo>
                <a:lnTo>
                  <a:pt x="194" y="336"/>
                </a:lnTo>
                <a:lnTo>
                  <a:pt x="190" y="336"/>
                </a:lnTo>
                <a:lnTo>
                  <a:pt x="184" y="340"/>
                </a:lnTo>
                <a:lnTo>
                  <a:pt x="176" y="344"/>
                </a:lnTo>
                <a:lnTo>
                  <a:pt x="174" y="344"/>
                </a:lnTo>
                <a:lnTo>
                  <a:pt x="172" y="344"/>
                </a:lnTo>
                <a:lnTo>
                  <a:pt x="168" y="352"/>
                </a:lnTo>
                <a:lnTo>
                  <a:pt x="164" y="358"/>
                </a:lnTo>
                <a:lnTo>
                  <a:pt x="164" y="360"/>
                </a:lnTo>
                <a:lnTo>
                  <a:pt x="164" y="372"/>
                </a:lnTo>
                <a:lnTo>
                  <a:pt x="164" y="376"/>
                </a:lnTo>
                <a:lnTo>
                  <a:pt x="164" y="386"/>
                </a:lnTo>
                <a:lnTo>
                  <a:pt x="168" y="394"/>
                </a:lnTo>
                <a:lnTo>
                  <a:pt x="176" y="398"/>
                </a:lnTo>
                <a:lnTo>
                  <a:pt x="176" y="406"/>
                </a:lnTo>
                <a:lnTo>
                  <a:pt x="178" y="408"/>
                </a:lnTo>
                <a:lnTo>
                  <a:pt x="180" y="410"/>
                </a:lnTo>
                <a:lnTo>
                  <a:pt x="184" y="416"/>
                </a:lnTo>
                <a:lnTo>
                  <a:pt x="194" y="420"/>
                </a:lnTo>
                <a:lnTo>
                  <a:pt x="200" y="416"/>
                </a:lnTo>
                <a:lnTo>
                  <a:pt x="202" y="416"/>
                </a:lnTo>
                <a:lnTo>
                  <a:pt x="204" y="420"/>
                </a:lnTo>
                <a:lnTo>
                  <a:pt x="208" y="406"/>
                </a:lnTo>
                <a:lnTo>
                  <a:pt x="210" y="398"/>
                </a:lnTo>
                <a:lnTo>
                  <a:pt x="212" y="392"/>
                </a:lnTo>
                <a:lnTo>
                  <a:pt x="218" y="394"/>
                </a:lnTo>
                <a:lnTo>
                  <a:pt x="224" y="390"/>
                </a:lnTo>
                <a:lnTo>
                  <a:pt x="218" y="380"/>
                </a:lnTo>
                <a:lnTo>
                  <a:pt x="224" y="378"/>
                </a:lnTo>
                <a:lnTo>
                  <a:pt x="224" y="374"/>
                </a:lnTo>
                <a:lnTo>
                  <a:pt x="234" y="368"/>
                </a:lnTo>
                <a:lnTo>
                  <a:pt x="246" y="360"/>
                </a:lnTo>
                <a:lnTo>
                  <a:pt x="248" y="358"/>
                </a:lnTo>
                <a:lnTo>
                  <a:pt x="252" y="352"/>
                </a:lnTo>
                <a:lnTo>
                  <a:pt x="250" y="350"/>
                </a:lnTo>
                <a:lnTo>
                  <a:pt x="252" y="342"/>
                </a:lnTo>
                <a:lnTo>
                  <a:pt x="254" y="338"/>
                </a:lnTo>
                <a:lnTo>
                  <a:pt x="250" y="332"/>
                </a:lnTo>
                <a:lnTo>
                  <a:pt x="248" y="326"/>
                </a:lnTo>
                <a:lnTo>
                  <a:pt x="252" y="326"/>
                </a:lnTo>
                <a:lnTo>
                  <a:pt x="256" y="326"/>
                </a:lnTo>
                <a:lnTo>
                  <a:pt x="262" y="330"/>
                </a:lnTo>
                <a:lnTo>
                  <a:pt x="262" y="326"/>
                </a:lnTo>
                <a:lnTo>
                  <a:pt x="262" y="322"/>
                </a:lnTo>
                <a:lnTo>
                  <a:pt x="262" y="318"/>
                </a:lnTo>
                <a:lnTo>
                  <a:pt x="268" y="312"/>
                </a:lnTo>
                <a:lnTo>
                  <a:pt x="274" y="306"/>
                </a:lnTo>
                <a:lnTo>
                  <a:pt x="274" y="304"/>
                </a:lnTo>
                <a:lnTo>
                  <a:pt x="278" y="302"/>
                </a:lnTo>
                <a:lnTo>
                  <a:pt x="278" y="300"/>
                </a:lnTo>
                <a:lnTo>
                  <a:pt x="284" y="296"/>
                </a:lnTo>
                <a:lnTo>
                  <a:pt x="286" y="296"/>
                </a:lnTo>
                <a:lnTo>
                  <a:pt x="288" y="298"/>
                </a:lnTo>
                <a:lnTo>
                  <a:pt x="290" y="300"/>
                </a:lnTo>
                <a:lnTo>
                  <a:pt x="296" y="296"/>
                </a:lnTo>
                <a:lnTo>
                  <a:pt x="298" y="296"/>
                </a:lnTo>
                <a:lnTo>
                  <a:pt x="300" y="296"/>
                </a:lnTo>
                <a:lnTo>
                  <a:pt x="304" y="294"/>
                </a:lnTo>
                <a:lnTo>
                  <a:pt x="312" y="290"/>
                </a:lnTo>
                <a:lnTo>
                  <a:pt x="318" y="290"/>
                </a:lnTo>
                <a:lnTo>
                  <a:pt x="320" y="290"/>
                </a:lnTo>
                <a:lnTo>
                  <a:pt x="326" y="290"/>
                </a:lnTo>
                <a:lnTo>
                  <a:pt x="330" y="288"/>
                </a:lnTo>
                <a:lnTo>
                  <a:pt x="334" y="288"/>
                </a:lnTo>
                <a:lnTo>
                  <a:pt x="340" y="286"/>
                </a:lnTo>
                <a:lnTo>
                  <a:pt x="340" y="280"/>
                </a:lnTo>
                <a:lnTo>
                  <a:pt x="346" y="272"/>
                </a:lnTo>
                <a:lnTo>
                  <a:pt x="350" y="272"/>
                </a:lnTo>
                <a:lnTo>
                  <a:pt x="352" y="268"/>
                </a:lnTo>
                <a:lnTo>
                  <a:pt x="352" y="266"/>
                </a:lnTo>
                <a:lnTo>
                  <a:pt x="358" y="266"/>
                </a:lnTo>
                <a:lnTo>
                  <a:pt x="366" y="264"/>
                </a:lnTo>
                <a:lnTo>
                  <a:pt x="370" y="264"/>
                </a:lnTo>
                <a:lnTo>
                  <a:pt x="372" y="266"/>
                </a:lnTo>
                <a:lnTo>
                  <a:pt x="382" y="258"/>
                </a:lnTo>
                <a:lnTo>
                  <a:pt x="384" y="254"/>
                </a:lnTo>
                <a:lnTo>
                  <a:pt x="390" y="258"/>
                </a:lnTo>
                <a:lnTo>
                  <a:pt x="392" y="258"/>
                </a:lnTo>
                <a:lnTo>
                  <a:pt x="398" y="258"/>
                </a:lnTo>
                <a:lnTo>
                  <a:pt x="394" y="228"/>
                </a:lnTo>
                <a:lnTo>
                  <a:pt x="392" y="144"/>
                </a:lnTo>
                <a:lnTo>
                  <a:pt x="256" y="14"/>
                </a:lnTo>
                <a:lnTo>
                  <a:pt x="254" y="10"/>
                </a:lnTo>
                <a:lnTo>
                  <a:pt x="250" y="10"/>
                </a:lnTo>
                <a:lnTo>
                  <a:pt x="246" y="10"/>
                </a:lnTo>
                <a:lnTo>
                  <a:pt x="238" y="8"/>
                </a:lnTo>
                <a:lnTo>
                  <a:pt x="234" y="6"/>
                </a:lnTo>
                <a:lnTo>
                  <a:pt x="232" y="2"/>
                </a:lnTo>
                <a:lnTo>
                  <a:pt x="228" y="2"/>
                </a:lnTo>
                <a:lnTo>
                  <a:pt x="226" y="2"/>
                </a:lnTo>
                <a:lnTo>
                  <a:pt x="224" y="0"/>
                </a:lnTo>
                <a:lnTo>
                  <a:pt x="216" y="0"/>
                </a:lnTo>
                <a:lnTo>
                  <a:pt x="214" y="2"/>
                </a:lnTo>
                <a:lnTo>
                  <a:pt x="212" y="2"/>
                </a:lnTo>
                <a:lnTo>
                  <a:pt x="210" y="2"/>
                </a:lnTo>
                <a:lnTo>
                  <a:pt x="204" y="8"/>
                </a:lnTo>
                <a:lnTo>
                  <a:pt x="198" y="12"/>
                </a:lnTo>
                <a:lnTo>
                  <a:pt x="196" y="14"/>
                </a:lnTo>
                <a:lnTo>
                  <a:pt x="194" y="16"/>
                </a:lnTo>
                <a:lnTo>
                  <a:pt x="190" y="20"/>
                </a:lnTo>
                <a:lnTo>
                  <a:pt x="190" y="24"/>
                </a:lnTo>
                <a:lnTo>
                  <a:pt x="186" y="26"/>
                </a:lnTo>
                <a:lnTo>
                  <a:pt x="186" y="30"/>
                </a:lnTo>
                <a:lnTo>
                  <a:pt x="186" y="34"/>
                </a:lnTo>
                <a:lnTo>
                  <a:pt x="184" y="36"/>
                </a:lnTo>
                <a:lnTo>
                  <a:pt x="184" y="38"/>
                </a:lnTo>
                <a:lnTo>
                  <a:pt x="184" y="46"/>
                </a:lnTo>
                <a:lnTo>
                  <a:pt x="186" y="54"/>
                </a:lnTo>
                <a:lnTo>
                  <a:pt x="184" y="56"/>
                </a:lnTo>
                <a:lnTo>
                  <a:pt x="184" y="62"/>
                </a:lnTo>
                <a:lnTo>
                  <a:pt x="184" y="66"/>
                </a:lnTo>
                <a:lnTo>
                  <a:pt x="182" y="72"/>
                </a:lnTo>
                <a:lnTo>
                  <a:pt x="180" y="78"/>
                </a:lnTo>
                <a:lnTo>
                  <a:pt x="178" y="84"/>
                </a:lnTo>
                <a:lnTo>
                  <a:pt x="178" y="88"/>
                </a:lnTo>
                <a:lnTo>
                  <a:pt x="176" y="96"/>
                </a:lnTo>
                <a:lnTo>
                  <a:pt x="176" y="102"/>
                </a:lnTo>
                <a:lnTo>
                  <a:pt x="176" y="104"/>
                </a:lnTo>
                <a:lnTo>
                  <a:pt x="176" y="108"/>
                </a:lnTo>
                <a:lnTo>
                  <a:pt x="174" y="116"/>
                </a:lnTo>
                <a:lnTo>
                  <a:pt x="174" y="120"/>
                </a:lnTo>
                <a:lnTo>
                  <a:pt x="174" y="122"/>
                </a:lnTo>
                <a:lnTo>
                  <a:pt x="172" y="128"/>
                </a:lnTo>
                <a:lnTo>
                  <a:pt x="168" y="134"/>
                </a:lnTo>
                <a:lnTo>
                  <a:pt x="166" y="136"/>
                </a:lnTo>
                <a:lnTo>
                  <a:pt x="166" y="138"/>
                </a:lnTo>
                <a:lnTo>
                  <a:pt x="166" y="140"/>
                </a:lnTo>
                <a:lnTo>
                  <a:pt x="164" y="144"/>
                </a:lnTo>
                <a:lnTo>
                  <a:pt x="164" y="152"/>
                </a:lnTo>
                <a:lnTo>
                  <a:pt x="164" y="154"/>
                </a:lnTo>
                <a:lnTo>
                  <a:pt x="162" y="156"/>
                </a:lnTo>
                <a:lnTo>
                  <a:pt x="162" y="162"/>
                </a:lnTo>
                <a:lnTo>
                  <a:pt x="158" y="168"/>
                </a:lnTo>
                <a:lnTo>
                  <a:pt x="156" y="170"/>
                </a:lnTo>
                <a:lnTo>
                  <a:pt x="150" y="174"/>
                </a:lnTo>
                <a:lnTo>
                  <a:pt x="146" y="176"/>
                </a:lnTo>
                <a:lnTo>
                  <a:pt x="144" y="176"/>
                </a:lnTo>
                <a:lnTo>
                  <a:pt x="142" y="176"/>
                </a:lnTo>
                <a:lnTo>
                  <a:pt x="138" y="178"/>
                </a:lnTo>
                <a:lnTo>
                  <a:pt x="132" y="178"/>
                </a:lnTo>
                <a:lnTo>
                  <a:pt x="130" y="180"/>
                </a:lnTo>
                <a:lnTo>
                  <a:pt x="126" y="180"/>
                </a:lnTo>
                <a:lnTo>
                  <a:pt x="122" y="182"/>
                </a:lnTo>
                <a:lnTo>
                  <a:pt x="118" y="182"/>
                </a:lnTo>
                <a:lnTo>
                  <a:pt x="116" y="182"/>
                </a:lnTo>
                <a:lnTo>
                  <a:pt x="114" y="182"/>
                </a:lnTo>
                <a:lnTo>
                  <a:pt x="110" y="182"/>
                </a:lnTo>
                <a:lnTo>
                  <a:pt x="108" y="182"/>
                </a:lnTo>
                <a:lnTo>
                  <a:pt x="104" y="186"/>
                </a:lnTo>
                <a:lnTo>
                  <a:pt x="100" y="186"/>
                </a:lnTo>
                <a:lnTo>
                  <a:pt x="96" y="182"/>
                </a:lnTo>
                <a:lnTo>
                  <a:pt x="94" y="182"/>
                </a:lnTo>
                <a:lnTo>
                  <a:pt x="90" y="180"/>
                </a:lnTo>
                <a:lnTo>
                  <a:pt x="88" y="180"/>
                </a:lnTo>
                <a:lnTo>
                  <a:pt x="86" y="180"/>
                </a:lnTo>
                <a:lnTo>
                  <a:pt x="80" y="180"/>
                </a:lnTo>
                <a:lnTo>
                  <a:pt x="78" y="180"/>
                </a:lnTo>
                <a:lnTo>
                  <a:pt x="76" y="180"/>
                </a:lnTo>
                <a:lnTo>
                  <a:pt x="74" y="182"/>
                </a:lnTo>
                <a:lnTo>
                  <a:pt x="72" y="182"/>
                </a:lnTo>
                <a:lnTo>
                  <a:pt x="68" y="186"/>
                </a:lnTo>
                <a:lnTo>
                  <a:pt x="60" y="188"/>
                </a:lnTo>
                <a:lnTo>
                  <a:pt x="60" y="190"/>
                </a:lnTo>
                <a:lnTo>
                  <a:pt x="56" y="190"/>
                </a:lnTo>
                <a:lnTo>
                  <a:pt x="48" y="192"/>
                </a:lnTo>
                <a:lnTo>
                  <a:pt x="46" y="192"/>
                </a:lnTo>
                <a:lnTo>
                  <a:pt x="44" y="194"/>
                </a:lnTo>
                <a:lnTo>
                  <a:pt x="30" y="196"/>
                </a:lnTo>
                <a:lnTo>
                  <a:pt x="26" y="198"/>
                </a:lnTo>
                <a:lnTo>
                  <a:pt x="24" y="198"/>
                </a:lnTo>
                <a:lnTo>
                  <a:pt x="20" y="198"/>
                </a:lnTo>
                <a:lnTo>
                  <a:pt x="16" y="200"/>
                </a:lnTo>
                <a:lnTo>
                  <a:pt x="10" y="204"/>
                </a:lnTo>
                <a:lnTo>
                  <a:pt x="8" y="204"/>
                </a:lnTo>
                <a:lnTo>
                  <a:pt x="4" y="206"/>
                </a:lnTo>
                <a:lnTo>
                  <a:pt x="2" y="206"/>
                </a:lnTo>
                <a:lnTo>
                  <a:pt x="0" y="208"/>
                </a:lnTo>
                <a:lnTo>
                  <a:pt x="130" y="324"/>
                </a:lnTo>
                <a:lnTo>
                  <a:pt x="138" y="330"/>
                </a:lnTo>
                <a:close/>
              </a:path>
            </a:pathLst>
          </a:custGeom>
          <a:solidFill>
            <a:srgbClr val="F1B728"/>
          </a:solidFill>
          <a:ln w="6350">
            <a:solidFill>
              <a:schemeClr val="tx1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457200">
              <a:defRPr/>
            </a:pPr>
            <a:endParaRPr lang="en-US" kern="0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59" name="Freeform 37">
            <a:extLst>
              <a:ext uri="{FF2B5EF4-FFF2-40B4-BE49-F238E27FC236}">
                <a16:creationId xmlns:a16="http://schemas.microsoft.com/office/drawing/2014/main" id="{4DFD6EB1-C62F-6B0B-AFA4-CFC78E00F2E9}"/>
              </a:ext>
            </a:extLst>
          </p:cNvPr>
          <p:cNvSpPr>
            <a:spLocks/>
          </p:cNvSpPr>
          <p:nvPr/>
        </p:nvSpPr>
        <p:spPr bwMode="auto">
          <a:xfrm>
            <a:off x="3482340" y="3982720"/>
            <a:ext cx="889000" cy="688340"/>
          </a:xfrm>
          <a:custGeom>
            <a:avLst/>
            <a:gdLst>
              <a:gd name="T0" fmla="*/ 2147483646 w 700"/>
              <a:gd name="T1" fmla="*/ 2147483646 h 542"/>
              <a:gd name="T2" fmla="*/ 2147483646 w 700"/>
              <a:gd name="T3" fmla="*/ 2147483646 h 542"/>
              <a:gd name="T4" fmla="*/ 2147483646 w 700"/>
              <a:gd name="T5" fmla="*/ 2147483646 h 542"/>
              <a:gd name="T6" fmla="*/ 2147483646 w 700"/>
              <a:gd name="T7" fmla="*/ 2147483646 h 542"/>
              <a:gd name="T8" fmla="*/ 2147483646 w 700"/>
              <a:gd name="T9" fmla="*/ 2147483646 h 542"/>
              <a:gd name="T10" fmla="*/ 2147483646 w 700"/>
              <a:gd name="T11" fmla="*/ 2147483646 h 542"/>
              <a:gd name="T12" fmla="*/ 2147483646 w 700"/>
              <a:gd name="T13" fmla="*/ 2147483646 h 542"/>
              <a:gd name="T14" fmla="*/ 2147483646 w 700"/>
              <a:gd name="T15" fmla="*/ 2147483646 h 542"/>
              <a:gd name="T16" fmla="*/ 2147483646 w 700"/>
              <a:gd name="T17" fmla="*/ 2147483646 h 542"/>
              <a:gd name="T18" fmla="*/ 2147483646 w 700"/>
              <a:gd name="T19" fmla="*/ 2147483646 h 542"/>
              <a:gd name="T20" fmla="*/ 2147483646 w 700"/>
              <a:gd name="T21" fmla="*/ 2147483646 h 542"/>
              <a:gd name="T22" fmla="*/ 2147483646 w 700"/>
              <a:gd name="T23" fmla="*/ 2147483646 h 542"/>
              <a:gd name="T24" fmla="*/ 2147483646 w 700"/>
              <a:gd name="T25" fmla="*/ 2147483646 h 542"/>
              <a:gd name="T26" fmla="*/ 2147483646 w 700"/>
              <a:gd name="T27" fmla="*/ 2147483646 h 542"/>
              <a:gd name="T28" fmla="*/ 2147483646 w 700"/>
              <a:gd name="T29" fmla="*/ 2147483646 h 542"/>
              <a:gd name="T30" fmla="*/ 2147483646 w 700"/>
              <a:gd name="T31" fmla="*/ 2147483646 h 542"/>
              <a:gd name="T32" fmla="*/ 2147483646 w 700"/>
              <a:gd name="T33" fmla="*/ 2147483646 h 542"/>
              <a:gd name="T34" fmla="*/ 2147483646 w 700"/>
              <a:gd name="T35" fmla="*/ 2147483646 h 542"/>
              <a:gd name="T36" fmla="*/ 2147483646 w 700"/>
              <a:gd name="T37" fmla="*/ 2147483646 h 542"/>
              <a:gd name="T38" fmla="*/ 2147483646 w 700"/>
              <a:gd name="T39" fmla="*/ 2147483646 h 542"/>
              <a:gd name="T40" fmla="*/ 2147483646 w 700"/>
              <a:gd name="T41" fmla="*/ 2147483646 h 542"/>
              <a:gd name="T42" fmla="*/ 2147483646 w 700"/>
              <a:gd name="T43" fmla="*/ 2147483646 h 542"/>
              <a:gd name="T44" fmla="*/ 2147483646 w 700"/>
              <a:gd name="T45" fmla="*/ 2147483646 h 542"/>
              <a:gd name="T46" fmla="*/ 2147483646 w 700"/>
              <a:gd name="T47" fmla="*/ 2147483646 h 542"/>
              <a:gd name="T48" fmla="*/ 2147483646 w 700"/>
              <a:gd name="T49" fmla="*/ 2147483646 h 542"/>
              <a:gd name="T50" fmla="*/ 2147483646 w 700"/>
              <a:gd name="T51" fmla="*/ 2147483646 h 542"/>
              <a:gd name="T52" fmla="*/ 2147483646 w 700"/>
              <a:gd name="T53" fmla="*/ 2147483646 h 542"/>
              <a:gd name="T54" fmla="*/ 2147483646 w 700"/>
              <a:gd name="T55" fmla="*/ 2147483646 h 542"/>
              <a:gd name="T56" fmla="*/ 2147483646 w 700"/>
              <a:gd name="T57" fmla="*/ 2147483646 h 542"/>
              <a:gd name="T58" fmla="*/ 2147483646 w 700"/>
              <a:gd name="T59" fmla="*/ 2147483646 h 542"/>
              <a:gd name="T60" fmla="*/ 2147483646 w 700"/>
              <a:gd name="T61" fmla="*/ 2147483646 h 542"/>
              <a:gd name="T62" fmla="*/ 2147483646 w 700"/>
              <a:gd name="T63" fmla="*/ 2147483646 h 542"/>
              <a:gd name="T64" fmla="*/ 2147483646 w 700"/>
              <a:gd name="T65" fmla="*/ 2147483646 h 542"/>
              <a:gd name="T66" fmla="*/ 2147483646 w 700"/>
              <a:gd name="T67" fmla="*/ 2147483646 h 542"/>
              <a:gd name="T68" fmla="*/ 2147483646 w 700"/>
              <a:gd name="T69" fmla="*/ 2147483646 h 542"/>
              <a:gd name="T70" fmla="*/ 2147483646 w 700"/>
              <a:gd name="T71" fmla="*/ 2147483646 h 542"/>
              <a:gd name="T72" fmla="*/ 2147483646 w 700"/>
              <a:gd name="T73" fmla="*/ 2147483646 h 542"/>
              <a:gd name="T74" fmla="*/ 2147483646 w 700"/>
              <a:gd name="T75" fmla="*/ 2147483646 h 542"/>
              <a:gd name="T76" fmla="*/ 2147483646 w 700"/>
              <a:gd name="T77" fmla="*/ 2147483646 h 542"/>
              <a:gd name="T78" fmla="*/ 2147483646 w 700"/>
              <a:gd name="T79" fmla="*/ 2147483646 h 542"/>
              <a:gd name="T80" fmla="*/ 2147483646 w 700"/>
              <a:gd name="T81" fmla="*/ 2147483646 h 542"/>
              <a:gd name="T82" fmla="*/ 2147483646 w 700"/>
              <a:gd name="T83" fmla="*/ 2147483646 h 542"/>
              <a:gd name="T84" fmla="*/ 2147483646 w 700"/>
              <a:gd name="T85" fmla="*/ 2147483646 h 542"/>
              <a:gd name="T86" fmla="*/ 2147483646 w 700"/>
              <a:gd name="T87" fmla="*/ 2147483646 h 542"/>
              <a:gd name="T88" fmla="*/ 2147483646 w 700"/>
              <a:gd name="T89" fmla="*/ 2147483646 h 542"/>
              <a:gd name="T90" fmla="*/ 2147483646 w 700"/>
              <a:gd name="T91" fmla="*/ 2147483646 h 542"/>
              <a:gd name="T92" fmla="*/ 2147483646 w 700"/>
              <a:gd name="T93" fmla="*/ 2147483646 h 542"/>
              <a:gd name="T94" fmla="*/ 2147483646 w 700"/>
              <a:gd name="T95" fmla="*/ 2147483646 h 542"/>
              <a:gd name="T96" fmla="*/ 2147483646 w 700"/>
              <a:gd name="T97" fmla="*/ 2147483646 h 542"/>
              <a:gd name="T98" fmla="*/ 2147483646 w 700"/>
              <a:gd name="T99" fmla="*/ 2147483646 h 542"/>
              <a:gd name="T100" fmla="*/ 2147483646 w 700"/>
              <a:gd name="T101" fmla="*/ 2147483646 h 542"/>
              <a:gd name="T102" fmla="*/ 2147483646 w 700"/>
              <a:gd name="T103" fmla="*/ 2147483646 h 542"/>
              <a:gd name="T104" fmla="*/ 2147483646 w 700"/>
              <a:gd name="T105" fmla="*/ 2147483646 h 542"/>
              <a:gd name="T106" fmla="*/ 2147483646 w 700"/>
              <a:gd name="T107" fmla="*/ 2147483646 h 542"/>
              <a:gd name="T108" fmla="*/ 2147483646 w 700"/>
              <a:gd name="T109" fmla="*/ 2147483646 h 542"/>
              <a:gd name="T110" fmla="*/ 2147483646 w 700"/>
              <a:gd name="T111" fmla="*/ 2147483646 h 542"/>
              <a:gd name="T112" fmla="*/ 2147483646 w 700"/>
              <a:gd name="T113" fmla="*/ 2147483646 h 542"/>
              <a:gd name="T114" fmla="*/ 2147483646 w 700"/>
              <a:gd name="T115" fmla="*/ 2147483646 h 542"/>
              <a:gd name="T116" fmla="*/ 2147483646 w 700"/>
              <a:gd name="T117" fmla="*/ 2147483646 h 542"/>
              <a:gd name="T118" fmla="*/ 2147483646 w 700"/>
              <a:gd name="T119" fmla="*/ 2147483646 h 542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w 700"/>
              <a:gd name="T181" fmla="*/ 0 h 542"/>
              <a:gd name="T182" fmla="*/ 700 w 700"/>
              <a:gd name="T183" fmla="*/ 542 h 542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T180" t="T181" r="T182" b="T183"/>
            <a:pathLst>
              <a:path w="700" h="542">
                <a:moveTo>
                  <a:pt x="558" y="234"/>
                </a:moveTo>
                <a:lnTo>
                  <a:pt x="550" y="228"/>
                </a:lnTo>
                <a:lnTo>
                  <a:pt x="550" y="226"/>
                </a:lnTo>
                <a:lnTo>
                  <a:pt x="544" y="222"/>
                </a:lnTo>
                <a:lnTo>
                  <a:pt x="540" y="220"/>
                </a:lnTo>
                <a:lnTo>
                  <a:pt x="532" y="230"/>
                </a:lnTo>
                <a:lnTo>
                  <a:pt x="530" y="220"/>
                </a:lnTo>
                <a:lnTo>
                  <a:pt x="502" y="166"/>
                </a:lnTo>
                <a:lnTo>
                  <a:pt x="520" y="152"/>
                </a:lnTo>
                <a:lnTo>
                  <a:pt x="522" y="152"/>
                </a:lnTo>
                <a:lnTo>
                  <a:pt x="488" y="62"/>
                </a:lnTo>
                <a:lnTo>
                  <a:pt x="510" y="36"/>
                </a:lnTo>
                <a:lnTo>
                  <a:pt x="508" y="32"/>
                </a:lnTo>
                <a:lnTo>
                  <a:pt x="498" y="32"/>
                </a:lnTo>
                <a:lnTo>
                  <a:pt x="492" y="30"/>
                </a:lnTo>
                <a:lnTo>
                  <a:pt x="484" y="28"/>
                </a:lnTo>
                <a:lnTo>
                  <a:pt x="478" y="28"/>
                </a:lnTo>
                <a:lnTo>
                  <a:pt x="476" y="28"/>
                </a:lnTo>
                <a:lnTo>
                  <a:pt x="472" y="24"/>
                </a:lnTo>
                <a:lnTo>
                  <a:pt x="468" y="26"/>
                </a:lnTo>
                <a:lnTo>
                  <a:pt x="464" y="26"/>
                </a:lnTo>
                <a:lnTo>
                  <a:pt x="460" y="26"/>
                </a:lnTo>
                <a:lnTo>
                  <a:pt x="456" y="24"/>
                </a:lnTo>
                <a:lnTo>
                  <a:pt x="452" y="26"/>
                </a:lnTo>
                <a:lnTo>
                  <a:pt x="446" y="26"/>
                </a:lnTo>
                <a:lnTo>
                  <a:pt x="444" y="30"/>
                </a:lnTo>
                <a:lnTo>
                  <a:pt x="442" y="30"/>
                </a:lnTo>
                <a:lnTo>
                  <a:pt x="438" y="28"/>
                </a:lnTo>
                <a:lnTo>
                  <a:pt x="436" y="30"/>
                </a:lnTo>
                <a:lnTo>
                  <a:pt x="436" y="36"/>
                </a:lnTo>
                <a:lnTo>
                  <a:pt x="436" y="38"/>
                </a:lnTo>
                <a:lnTo>
                  <a:pt x="428" y="36"/>
                </a:lnTo>
                <a:lnTo>
                  <a:pt x="426" y="38"/>
                </a:lnTo>
                <a:lnTo>
                  <a:pt x="424" y="36"/>
                </a:lnTo>
                <a:lnTo>
                  <a:pt x="424" y="28"/>
                </a:lnTo>
                <a:lnTo>
                  <a:pt x="420" y="28"/>
                </a:lnTo>
                <a:lnTo>
                  <a:pt x="418" y="24"/>
                </a:lnTo>
                <a:lnTo>
                  <a:pt x="416" y="20"/>
                </a:lnTo>
                <a:lnTo>
                  <a:pt x="414" y="14"/>
                </a:lnTo>
                <a:lnTo>
                  <a:pt x="406" y="14"/>
                </a:lnTo>
                <a:lnTo>
                  <a:pt x="400" y="8"/>
                </a:lnTo>
                <a:lnTo>
                  <a:pt x="400" y="4"/>
                </a:lnTo>
                <a:lnTo>
                  <a:pt x="398" y="0"/>
                </a:lnTo>
                <a:lnTo>
                  <a:pt x="390" y="2"/>
                </a:lnTo>
                <a:lnTo>
                  <a:pt x="312" y="60"/>
                </a:lnTo>
                <a:lnTo>
                  <a:pt x="314" y="60"/>
                </a:lnTo>
                <a:lnTo>
                  <a:pt x="322" y="62"/>
                </a:lnTo>
                <a:lnTo>
                  <a:pt x="324" y="64"/>
                </a:lnTo>
                <a:lnTo>
                  <a:pt x="352" y="72"/>
                </a:lnTo>
                <a:lnTo>
                  <a:pt x="358" y="74"/>
                </a:lnTo>
                <a:lnTo>
                  <a:pt x="366" y="92"/>
                </a:lnTo>
                <a:lnTo>
                  <a:pt x="358" y="96"/>
                </a:lnTo>
                <a:lnTo>
                  <a:pt x="286" y="162"/>
                </a:lnTo>
                <a:lnTo>
                  <a:pt x="208" y="208"/>
                </a:lnTo>
                <a:lnTo>
                  <a:pt x="0" y="330"/>
                </a:lnTo>
                <a:lnTo>
                  <a:pt x="8" y="330"/>
                </a:lnTo>
                <a:lnTo>
                  <a:pt x="8" y="336"/>
                </a:lnTo>
                <a:lnTo>
                  <a:pt x="12" y="338"/>
                </a:lnTo>
                <a:lnTo>
                  <a:pt x="18" y="342"/>
                </a:lnTo>
                <a:lnTo>
                  <a:pt x="20" y="344"/>
                </a:lnTo>
                <a:lnTo>
                  <a:pt x="24" y="346"/>
                </a:lnTo>
                <a:lnTo>
                  <a:pt x="28" y="346"/>
                </a:lnTo>
                <a:lnTo>
                  <a:pt x="34" y="346"/>
                </a:lnTo>
                <a:lnTo>
                  <a:pt x="34" y="350"/>
                </a:lnTo>
                <a:lnTo>
                  <a:pt x="36" y="352"/>
                </a:lnTo>
                <a:lnTo>
                  <a:pt x="38" y="354"/>
                </a:lnTo>
                <a:lnTo>
                  <a:pt x="40" y="356"/>
                </a:lnTo>
                <a:lnTo>
                  <a:pt x="40" y="360"/>
                </a:lnTo>
                <a:lnTo>
                  <a:pt x="38" y="364"/>
                </a:lnTo>
                <a:lnTo>
                  <a:pt x="38" y="366"/>
                </a:lnTo>
                <a:lnTo>
                  <a:pt x="42" y="366"/>
                </a:lnTo>
                <a:lnTo>
                  <a:pt x="46" y="366"/>
                </a:lnTo>
                <a:lnTo>
                  <a:pt x="54" y="366"/>
                </a:lnTo>
                <a:lnTo>
                  <a:pt x="60" y="370"/>
                </a:lnTo>
                <a:lnTo>
                  <a:pt x="68" y="372"/>
                </a:lnTo>
                <a:lnTo>
                  <a:pt x="72" y="370"/>
                </a:lnTo>
                <a:lnTo>
                  <a:pt x="76" y="364"/>
                </a:lnTo>
                <a:lnTo>
                  <a:pt x="80" y="362"/>
                </a:lnTo>
                <a:lnTo>
                  <a:pt x="86" y="362"/>
                </a:lnTo>
                <a:lnTo>
                  <a:pt x="92" y="366"/>
                </a:lnTo>
                <a:lnTo>
                  <a:pt x="104" y="380"/>
                </a:lnTo>
                <a:lnTo>
                  <a:pt x="108" y="386"/>
                </a:lnTo>
                <a:lnTo>
                  <a:pt x="112" y="386"/>
                </a:lnTo>
                <a:lnTo>
                  <a:pt x="114" y="386"/>
                </a:lnTo>
                <a:lnTo>
                  <a:pt x="120" y="392"/>
                </a:lnTo>
                <a:lnTo>
                  <a:pt x="130" y="396"/>
                </a:lnTo>
                <a:lnTo>
                  <a:pt x="132" y="402"/>
                </a:lnTo>
                <a:lnTo>
                  <a:pt x="142" y="406"/>
                </a:lnTo>
                <a:lnTo>
                  <a:pt x="144" y="406"/>
                </a:lnTo>
                <a:lnTo>
                  <a:pt x="144" y="400"/>
                </a:lnTo>
                <a:lnTo>
                  <a:pt x="142" y="396"/>
                </a:lnTo>
                <a:lnTo>
                  <a:pt x="142" y="388"/>
                </a:lnTo>
                <a:lnTo>
                  <a:pt x="146" y="386"/>
                </a:lnTo>
                <a:lnTo>
                  <a:pt x="148" y="386"/>
                </a:lnTo>
                <a:lnTo>
                  <a:pt x="150" y="388"/>
                </a:lnTo>
                <a:lnTo>
                  <a:pt x="154" y="388"/>
                </a:lnTo>
                <a:lnTo>
                  <a:pt x="158" y="388"/>
                </a:lnTo>
                <a:lnTo>
                  <a:pt x="158" y="386"/>
                </a:lnTo>
                <a:lnTo>
                  <a:pt x="158" y="384"/>
                </a:lnTo>
                <a:lnTo>
                  <a:pt x="156" y="384"/>
                </a:lnTo>
                <a:lnTo>
                  <a:pt x="150" y="380"/>
                </a:lnTo>
                <a:lnTo>
                  <a:pt x="150" y="378"/>
                </a:lnTo>
                <a:lnTo>
                  <a:pt x="154" y="372"/>
                </a:lnTo>
                <a:lnTo>
                  <a:pt x="158" y="374"/>
                </a:lnTo>
                <a:lnTo>
                  <a:pt x="162" y="374"/>
                </a:lnTo>
                <a:lnTo>
                  <a:pt x="164" y="374"/>
                </a:lnTo>
                <a:lnTo>
                  <a:pt x="164" y="372"/>
                </a:lnTo>
                <a:lnTo>
                  <a:pt x="166" y="370"/>
                </a:lnTo>
                <a:lnTo>
                  <a:pt x="168" y="364"/>
                </a:lnTo>
                <a:lnTo>
                  <a:pt x="172" y="362"/>
                </a:lnTo>
                <a:lnTo>
                  <a:pt x="172" y="360"/>
                </a:lnTo>
                <a:lnTo>
                  <a:pt x="176" y="356"/>
                </a:lnTo>
                <a:lnTo>
                  <a:pt x="176" y="360"/>
                </a:lnTo>
                <a:lnTo>
                  <a:pt x="178" y="364"/>
                </a:lnTo>
                <a:lnTo>
                  <a:pt x="176" y="368"/>
                </a:lnTo>
                <a:lnTo>
                  <a:pt x="174" y="372"/>
                </a:lnTo>
                <a:lnTo>
                  <a:pt x="174" y="380"/>
                </a:lnTo>
                <a:lnTo>
                  <a:pt x="178" y="382"/>
                </a:lnTo>
                <a:lnTo>
                  <a:pt x="184" y="388"/>
                </a:lnTo>
                <a:lnTo>
                  <a:pt x="186" y="398"/>
                </a:lnTo>
                <a:lnTo>
                  <a:pt x="190" y="400"/>
                </a:lnTo>
                <a:lnTo>
                  <a:pt x="194" y="400"/>
                </a:lnTo>
                <a:lnTo>
                  <a:pt x="196" y="398"/>
                </a:lnTo>
                <a:lnTo>
                  <a:pt x="196" y="392"/>
                </a:lnTo>
                <a:lnTo>
                  <a:pt x="194" y="388"/>
                </a:lnTo>
                <a:lnTo>
                  <a:pt x="196" y="384"/>
                </a:lnTo>
                <a:lnTo>
                  <a:pt x="198" y="380"/>
                </a:lnTo>
                <a:lnTo>
                  <a:pt x="208" y="380"/>
                </a:lnTo>
                <a:lnTo>
                  <a:pt x="216" y="380"/>
                </a:lnTo>
                <a:lnTo>
                  <a:pt x="226" y="384"/>
                </a:lnTo>
                <a:lnTo>
                  <a:pt x="232" y="388"/>
                </a:lnTo>
                <a:lnTo>
                  <a:pt x="232" y="400"/>
                </a:lnTo>
                <a:lnTo>
                  <a:pt x="234" y="402"/>
                </a:lnTo>
                <a:lnTo>
                  <a:pt x="238" y="402"/>
                </a:lnTo>
                <a:lnTo>
                  <a:pt x="244" y="402"/>
                </a:lnTo>
                <a:lnTo>
                  <a:pt x="250" y="410"/>
                </a:lnTo>
                <a:lnTo>
                  <a:pt x="248" y="416"/>
                </a:lnTo>
                <a:lnTo>
                  <a:pt x="248" y="420"/>
                </a:lnTo>
                <a:lnTo>
                  <a:pt x="250" y="422"/>
                </a:lnTo>
                <a:lnTo>
                  <a:pt x="252" y="424"/>
                </a:lnTo>
                <a:lnTo>
                  <a:pt x="250" y="426"/>
                </a:lnTo>
                <a:lnTo>
                  <a:pt x="248" y="428"/>
                </a:lnTo>
                <a:lnTo>
                  <a:pt x="248" y="432"/>
                </a:lnTo>
                <a:lnTo>
                  <a:pt x="248" y="436"/>
                </a:lnTo>
                <a:lnTo>
                  <a:pt x="248" y="438"/>
                </a:lnTo>
                <a:lnTo>
                  <a:pt x="248" y="440"/>
                </a:lnTo>
                <a:lnTo>
                  <a:pt x="252" y="444"/>
                </a:lnTo>
                <a:lnTo>
                  <a:pt x="258" y="456"/>
                </a:lnTo>
                <a:lnTo>
                  <a:pt x="266" y="458"/>
                </a:lnTo>
                <a:lnTo>
                  <a:pt x="266" y="460"/>
                </a:lnTo>
                <a:lnTo>
                  <a:pt x="268" y="460"/>
                </a:lnTo>
                <a:lnTo>
                  <a:pt x="270" y="464"/>
                </a:lnTo>
                <a:lnTo>
                  <a:pt x="276" y="470"/>
                </a:lnTo>
                <a:lnTo>
                  <a:pt x="278" y="470"/>
                </a:lnTo>
                <a:lnTo>
                  <a:pt x="282" y="470"/>
                </a:lnTo>
                <a:lnTo>
                  <a:pt x="284" y="470"/>
                </a:lnTo>
                <a:lnTo>
                  <a:pt x="284" y="474"/>
                </a:lnTo>
                <a:lnTo>
                  <a:pt x="282" y="480"/>
                </a:lnTo>
                <a:lnTo>
                  <a:pt x="286" y="486"/>
                </a:lnTo>
                <a:lnTo>
                  <a:pt x="290" y="490"/>
                </a:lnTo>
                <a:lnTo>
                  <a:pt x="294" y="488"/>
                </a:lnTo>
                <a:lnTo>
                  <a:pt x="296" y="486"/>
                </a:lnTo>
                <a:lnTo>
                  <a:pt x="298" y="480"/>
                </a:lnTo>
                <a:lnTo>
                  <a:pt x="300" y="476"/>
                </a:lnTo>
                <a:lnTo>
                  <a:pt x="302" y="476"/>
                </a:lnTo>
                <a:lnTo>
                  <a:pt x="304" y="478"/>
                </a:lnTo>
                <a:lnTo>
                  <a:pt x="306" y="480"/>
                </a:lnTo>
                <a:lnTo>
                  <a:pt x="304" y="488"/>
                </a:lnTo>
                <a:lnTo>
                  <a:pt x="304" y="496"/>
                </a:lnTo>
                <a:lnTo>
                  <a:pt x="306" y="504"/>
                </a:lnTo>
                <a:lnTo>
                  <a:pt x="312" y="506"/>
                </a:lnTo>
                <a:lnTo>
                  <a:pt x="310" y="512"/>
                </a:lnTo>
                <a:lnTo>
                  <a:pt x="340" y="518"/>
                </a:lnTo>
                <a:lnTo>
                  <a:pt x="458" y="542"/>
                </a:lnTo>
                <a:lnTo>
                  <a:pt x="504" y="504"/>
                </a:lnTo>
                <a:lnTo>
                  <a:pt x="532" y="476"/>
                </a:lnTo>
                <a:lnTo>
                  <a:pt x="650" y="378"/>
                </a:lnTo>
                <a:lnTo>
                  <a:pt x="682" y="348"/>
                </a:lnTo>
                <a:lnTo>
                  <a:pt x="700" y="328"/>
                </a:lnTo>
                <a:lnTo>
                  <a:pt x="572" y="242"/>
                </a:lnTo>
                <a:lnTo>
                  <a:pt x="558" y="234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 w="6350">
            <a:solidFill>
              <a:schemeClr val="tx2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457200">
              <a:defRPr/>
            </a:pPr>
            <a:endParaRPr lang="en-US" kern="0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60" name="Freeform 38">
            <a:extLst>
              <a:ext uri="{FF2B5EF4-FFF2-40B4-BE49-F238E27FC236}">
                <a16:creationId xmlns:a16="http://schemas.microsoft.com/office/drawing/2014/main" id="{77191BC9-1126-9118-284D-84DC08884551}"/>
              </a:ext>
            </a:extLst>
          </p:cNvPr>
          <p:cNvSpPr>
            <a:spLocks/>
          </p:cNvSpPr>
          <p:nvPr/>
        </p:nvSpPr>
        <p:spPr bwMode="auto">
          <a:xfrm>
            <a:off x="3860800" y="4399280"/>
            <a:ext cx="1046480" cy="835660"/>
          </a:xfrm>
          <a:custGeom>
            <a:avLst/>
            <a:gdLst>
              <a:gd name="T0" fmla="*/ 2147483646 w 824"/>
              <a:gd name="T1" fmla="*/ 2147483646 h 658"/>
              <a:gd name="T2" fmla="*/ 2147483646 w 824"/>
              <a:gd name="T3" fmla="*/ 2147483646 h 658"/>
              <a:gd name="T4" fmla="*/ 2147483646 w 824"/>
              <a:gd name="T5" fmla="*/ 2147483646 h 658"/>
              <a:gd name="T6" fmla="*/ 2147483646 w 824"/>
              <a:gd name="T7" fmla="*/ 2147483646 h 658"/>
              <a:gd name="T8" fmla="*/ 2147483646 w 824"/>
              <a:gd name="T9" fmla="*/ 2147483646 h 658"/>
              <a:gd name="T10" fmla="*/ 2147483646 w 824"/>
              <a:gd name="T11" fmla="*/ 2147483646 h 658"/>
              <a:gd name="T12" fmla="*/ 2147483646 w 824"/>
              <a:gd name="T13" fmla="*/ 2147483646 h 658"/>
              <a:gd name="T14" fmla="*/ 0 w 824"/>
              <a:gd name="T15" fmla="*/ 2147483646 h 658"/>
              <a:gd name="T16" fmla="*/ 2147483646 w 824"/>
              <a:gd name="T17" fmla="*/ 2147483646 h 658"/>
              <a:gd name="T18" fmla="*/ 2147483646 w 824"/>
              <a:gd name="T19" fmla="*/ 2147483646 h 658"/>
              <a:gd name="T20" fmla="*/ 2147483646 w 824"/>
              <a:gd name="T21" fmla="*/ 2147483646 h 658"/>
              <a:gd name="T22" fmla="*/ 2147483646 w 824"/>
              <a:gd name="T23" fmla="*/ 2147483646 h 658"/>
              <a:gd name="T24" fmla="*/ 2147483646 w 824"/>
              <a:gd name="T25" fmla="*/ 2147483646 h 658"/>
              <a:gd name="T26" fmla="*/ 2147483646 w 824"/>
              <a:gd name="T27" fmla="*/ 2147483646 h 658"/>
              <a:gd name="T28" fmla="*/ 2147483646 w 824"/>
              <a:gd name="T29" fmla="*/ 2147483646 h 658"/>
              <a:gd name="T30" fmla="*/ 2147483646 w 824"/>
              <a:gd name="T31" fmla="*/ 2147483646 h 658"/>
              <a:gd name="T32" fmla="*/ 2147483646 w 824"/>
              <a:gd name="T33" fmla="*/ 2147483646 h 658"/>
              <a:gd name="T34" fmla="*/ 2147483646 w 824"/>
              <a:gd name="T35" fmla="*/ 2147483646 h 658"/>
              <a:gd name="T36" fmla="*/ 2147483646 w 824"/>
              <a:gd name="T37" fmla="*/ 2147483646 h 658"/>
              <a:gd name="T38" fmla="*/ 2147483646 w 824"/>
              <a:gd name="T39" fmla="*/ 2147483646 h 658"/>
              <a:gd name="T40" fmla="*/ 2147483646 w 824"/>
              <a:gd name="T41" fmla="*/ 2147483646 h 658"/>
              <a:gd name="T42" fmla="*/ 2147483646 w 824"/>
              <a:gd name="T43" fmla="*/ 2147483646 h 658"/>
              <a:gd name="T44" fmla="*/ 2147483646 w 824"/>
              <a:gd name="T45" fmla="*/ 2147483646 h 658"/>
              <a:gd name="T46" fmla="*/ 2147483646 w 824"/>
              <a:gd name="T47" fmla="*/ 2147483646 h 658"/>
              <a:gd name="T48" fmla="*/ 2147483646 w 824"/>
              <a:gd name="T49" fmla="*/ 2147483646 h 658"/>
              <a:gd name="T50" fmla="*/ 2147483646 w 824"/>
              <a:gd name="T51" fmla="*/ 2147483646 h 658"/>
              <a:gd name="T52" fmla="*/ 2147483646 w 824"/>
              <a:gd name="T53" fmla="*/ 2147483646 h 658"/>
              <a:gd name="T54" fmla="*/ 2147483646 w 824"/>
              <a:gd name="T55" fmla="*/ 2147483646 h 658"/>
              <a:gd name="T56" fmla="*/ 2147483646 w 824"/>
              <a:gd name="T57" fmla="*/ 2147483646 h 658"/>
              <a:gd name="T58" fmla="*/ 2147483646 w 824"/>
              <a:gd name="T59" fmla="*/ 2147483646 h 658"/>
              <a:gd name="T60" fmla="*/ 2147483646 w 824"/>
              <a:gd name="T61" fmla="*/ 2147483646 h 658"/>
              <a:gd name="T62" fmla="*/ 2147483646 w 824"/>
              <a:gd name="T63" fmla="*/ 2147483646 h 658"/>
              <a:gd name="T64" fmla="*/ 2147483646 w 824"/>
              <a:gd name="T65" fmla="*/ 2147483646 h 658"/>
              <a:gd name="T66" fmla="*/ 2147483646 w 824"/>
              <a:gd name="T67" fmla="*/ 2147483646 h 658"/>
              <a:gd name="T68" fmla="*/ 2147483646 w 824"/>
              <a:gd name="T69" fmla="*/ 2147483646 h 658"/>
              <a:gd name="T70" fmla="*/ 2147483646 w 824"/>
              <a:gd name="T71" fmla="*/ 2147483646 h 658"/>
              <a:gd name="T72" fmla="*/ 2147483646 w 824"/>
              <a:gd name="T73" fmla="*/ 2147483646 h 658"/>
              <a:gd name="T74" fmla="*/ 2147483646 w 824"/>
              <a:gd name="T75" fmla="*/ 2147483646 h 658"/>
              <a:gd name="T76" fmla="*/ 2147483646 w 824"/>
              <a:gd name="T77" fmla="*/ 2147483646 h 658"/>
              <a:gd name="T78" fmla="*/ 2147483646 w 824"/>
              <a:gd name="T79" fmla="*/ 2147483646 h 658"/>
              <a:gd name="T80" fmla="*/ 2147483646 w 824"/>
              <a:gd name="T81" fmla="*/ 2147483646 h 658"/>
              <a:gd name="T82" fmla="*/ 2147483646 w 824"/>
              <a:gd name="T83" fmla="*/ 2147483646 h 658"/>
              <a:gd name="T84" fmla="*/ 2147483646 w 824"/>
              <a:gd name="T85" fmla="*/ 2147483646 h 658"/>
              <a:gd name="T86" fmla="*/ 2147483646 w 824"/>
              <a:gd name="T87" fmla="*/ 2147483646 h 658"/>
              <a:gd name="T88" fmla="*/ 2147483646 w 824"/>
              <a:gd name="T89" fmla="*/ 2147483646 h 658"/>
              <a:gd name="T90" fmla="*/ 2147483646 w 824"/>
              <a:gd name="T91" fmla="*/ 2147483646 h 658"/>
              <a:gd name="T92" fmla="*/ 2147483646 w 824"/>
              <a:gd name="T93" fmla="*/ 2147483646 h 658"/>
              <a:gd name="T94" fmla="*/ 2147483646 w 824"/>
              <a:gd name="T95" fmla="*/ 2147483646 h 658"/>
              <a:gd name="T96" fmla="*/ 2147483646 w 824"/>
              <a:gd name="T97" fmla="*/ 2147483646 h 658"/>
              <a:gd name="T98" fmla="*/ 2147483646 w 824"/>
              <a:gd name="T99" fmla="*/ 2147483646 h 658"/>
              <a:gd name="T100" fmla="*/ 2147483646 w 824"/>
              <a:gd name="T101" fmla="*/ 2147483646 h 658"/>
              <a:gd name="T102" fmla="*/ 2147483646 w 824"/>
              <a:gd name="T103" fmla="*/ 2147483646 h 658"/>
              <a:gd name="T104" fmla="*/ 2147483646 w 824"/>
              <a:gd name="T105" fmla="*/ 2147483646 h 658"/>
              <a:gd name="T106" fmla="*/ 2147483646 w 824"/>
              <a:gd name="T107" fmla="*/ 2147483646 h 658"/>
              <a:gd name="T108" fmla="*/ 2147483646 w 824"/>
              <a:gd name="T109" fmla="*/ 2147483646 h 658"/>
              <a:gd name="T110" fmla="*/ 2147483646 w 824"/>
              <a:gd name="T111" fmla="*/ 2147483646 h 658"/>
              <a:gd name="T112" fmla="*/ 2147483646 w 824"/>
              <a:gd name="T113" fmla="*/ 2147483646 h 658"/>
              <a:gd name="T114" fmla="*/ 2147483646 w 824"/>
              <a:gd name="T115" fmla="*/ 2147483646 h 658"/>
              <a:gd name="T116" fmla="*/ 2147483646 w 824"/>
              <a:gd name="T117" fmla="*/ 2147483646 h 658"/>
              <a:gd name="T118" fmla="*/ 2147483646 w 824"/>
              <a:gd name="T119" fmla="*/ 2147483646 h 658"/>
              <a:gd name="T120" fmla="*/ 2147483646 w 824"/>
              <a:gd name="T121" fmla="*/ 2147483646 h 658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w 824"/>
              <a:gd name="T184" fmla="*/ 0 h 658"/>
              <a:gd name="T185" fmla="*/ 824 w 824"/>
              <a:gd name="T186" fmla="*/ 658 h 658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T183" t="T184" r="T185" b="T186"/>
            <a:pathLst>
              <a:path w="824" h="658">
                <a:moveTo>
                  <a:pt x="702" y="238"/>
                </a:moveTo>
                <a:lnTo>
                  <a:pt x="700" y="238"/>
                </a:lnTo>
                <a:lnTo>
                  <a:pt x="696" y="238"/>
                </a:lnTo>
                <a:lnTo>
                  <a:pt x="678" y="248"/>
                </a:lnTo>
                <a:lnTo>
                  <a:pt x="668" y="252"/>
                </a:lnTo>
                <a:lnTo>
                  <a:pt x="652" y="258"/>
                </a:lnTo>
                <a:lnTo>
                  <a:pt x="640" y="260"/>
                </a:lnTo>
                <a:lnTo>
                  <a:pt x="638" y="260"/>
                </a:lnTo>
                <a:lnTo>
                  <a:pt x="630" y="258"/>
                </a:lnTo>
                <a:lnTo>
                  <a:pt x="624" y="256"/>
                </a:lnTo>
                <a:lnTo>
                  <a:pt x="622" y="256"/>
                </a:lnTo>
                <a:lnTo>
                  <a:pt x="612" y="254"/>
                </a:lnTo>
                <a:lnTo>
                  <a:pt x="606" y="260"/>
                </a:lnTo>
                <a:lnTo>
                  <a:pt x="602" y="258"/>
                </a:lnTo>
                <a:lnTo>
                  <a:pt x="596" y="256"/>
                </a:lnTo>
                <a:lnTo>
                  <a:pt x="594" y="252"/>
                </a:lnTo>
                <a:lnTo>
                  <a:pt x="590" y="256"/>
                </a:lnTo>
                <a:lnTo>
                  <a:pt x="582" y="254"/>
                </a:lnTo>
                <a:lnTo>
                  <a:pt x="556" y="250"/>
                </a:lnTo>
                <a:lnTo>
                  <a:pt x="554" y="248"/>
                </a:lnTo>
                <a:lnTo>
                  <a:pt x="546" y="242"/>
                </a:lnTo>
                <a:lnTo>
                  <a:pt x="530" y="230"/>
                </a:lnTo>
                <a:lnTo>
                  <a:pt x="484" y="188"/>
                </a:lnTo>
                <a:lnTo>
                  <a:pt x="468" y="176"/>
                </a:lnTo>
                <a:lnTo>
                  <a:pt x="470" y="46"/>
                </a:lnTo>
                <a:lnTo>
                  <a:pt x="402" y="0"/>
                </a:lnTo>
                <a:lnTo>
                  <a:pt x="384" y="20"/>
                </a:lnTo>
                <a:lnTo>
                  <a:pt x="352" y="50"/>
                </a:lnTo>
                <a:lnTo>
                  <a:pt x="234" y="148"/>
                </a:lnTo>
                <a:lnTo>
                  <a:pt x="206" y="176"/>
                </a:lnTo>
                <a:lnTo>
                  <a:pt x="160" y="214"/>
                </a:lnTo>
                <a:lnTo>
                  <a:pt x="42" y="190"/>
                </a:lnTo>
                <a:lnTo>
                  <a:pt x="12" y="184"/>
                </a:lnTo>
                <a:lnTo>
                  <a:pt x="12" y="186"/>
                </a:lnTo>
                <a:lnTo>
                  <a:pt x="8" y="198"/>
                </a:lnTo>
                <a:lnTo>
                  <a:pt x="8" y="202"/>
                </a:lnTo>
                <a:lnTo>
                  <a:pt x="8" y="206"/>
                </a:lnTo>
                <a:lnTo>
                  <a:pt x="4" y="208"/>
                </a:lnTo>
                <a:lnTo>
                  <a:pt x="2" y="212"/>
                </a:lnTo>
                <a:lnTo>
                  <a:pt x="0" y="214"/>
                </a:lnTo>
                <a:lnTo>
                  <a:pt x="4" y="216"/>
                </a:lnTo>
                <a:lnTo>
                  <a:pt x="8" y="218"/>
                </a:lnTo>
                <a:lnTo>
                  <a:pt x="14" y="226"/>
                </a:lnTo>
                <a:lnTo>
                  <a:pt x="22" y="236"/>
                </a:lnTo>
                <a:lnTo>
                  <a:pt x="26" y="238"/>
                </a:lnTo>
                <a:lnTo>
                  <a:pt x="36" y="238"/>
                </a:lnTo>
                <a:lnTo>
                  <a:pt x="48" y="242"/>
                </a:lnTo>
                <a:lnTo>
                  <a:pt x="54" y="240"/>
                </a:lnTo>
                <a:lnTo>
                  <a:pt x="56" y="230"/>
                </a:lnTo>
                <a:lnTo>
                  <a:pt x="60" y="230"/>
                </a:lnTo>
                <a:lnTo>
                  <a:pt x="66" y="230"/>
                </a:lnTo>
                <a:lnTo>
                  <a:pt x="74" y="230"/>
                </a:lnTo>
                <a:lnTo>
                  <a:pt x="82" y="230"/>
                </a:lnTo>
                <a:lnTo>
                  <a:pt x="82" y="232"/>
                </a:lnTo>
                <a:lnTo>
                  <a:pt x="78" y="234"/>
                </a:lnTo>
                <a:lnTo>
                  <a:pt x="76" y="236"/>
                </a:lnTo>
                <a:lnTo>
                  <a:pt x="70" y="238"/>
                </a:lnTo>
                <a:lnTo>
                  <a:pt x="70" y="240"/>
                </a:lnTo>
                <a:lnTo>
                  <a:pt x="70" y="244"/>
                </a:lnTo>
                <a:lnTo>
                  <a:pt x="70" y="250"/>
                </a:lnTo>
                <a:lnTo>
                  <a:pt x="66" y="252"/>
                </a:lnTo>
                <a:lnTo>
                  <a:pt x="64" y="252"/>
                </a:lnTo>
                <a:lnTo>
                  <a:pt x="56" y="254"/>
                </a:lnTo>
                <a:lnTo>
                  <a:pt x="56" y="262"/>
                </a:lnTo>
                <a:lnTo>
                  <a:pt x="60" y="270"/>
                </a:lnTo>
                <a:lnTo>
                  <a:pt x="70" y="270"/>
                </a:lnTo>
                <a:lnTo>
                  <a:pt x="82" y="272"/>
                </a:lnTo>
                <a:lnTo>
                  <a:pt x="86" y="276"/>
                </a:lnTo>
                <a:lnTo>
                  <a:pt x="86" y="286"/>
                </a:lnTo>
                <a:lnTo>
                  <a:pt x="92" y="288"/>
                </a:lnTo>
                <a:lnTo>
                  <a:pt x="96" y="292"/>
                </a:lnTo>
                <a:lnTo>
                  <a:pt x="96" y="304"/>
                </a:lnTo>
                <a:lnTo>
                  <a:pt x="94" y="310"/>
                </a:lnTo>
                <a:lnTo>
                  <a:pt x="94" y="314"/>
                </a:lnTo>
                <a:lnTo>
                  <a:pt x="108" y="322"/>
                </a:lnTo>
                <a:lnTo>
                  <a:pt x="74" y="364"/>
                </a:lnTo>
                <a:lnTo>
                  <a:pt x="126" y="456"/>
                </a:lnTo>
                <a:lnTo>
                  <a:pt x="86" y="454"/>
                </a:lnTo>
                <a:lnTo>
                  <a:pt x="76" y="452"/>
                </a:lnTo>
                <a:lnTo>
                  <a:pt x="82" y="456"/>
                </a:lnTo>
                <a:lnTo>
                  <a:pt x="92" y="466"/>
                </a:lnTo>
                <a:lnTo>
                  <a:pt x="120" y="484"/>
                </a:lnTo>
                <a:lnTo>
                  <a:pt x="124" y="486"/>
                </a:lnTo>
                <a:lnTo>
                  <a:pt x="142" y="506"/>
                </a:lnTo>
                <a:lnTo>
                  <a:pt x="154" y="524"/>
                </a:lnTo>
                <a:lnTo>
                  <a:pt x="170" y="542"/>
                </a:lnTo>
                <a:lnTo>
                  <a:pt x="198" y="574"/>
                </a:lnTo>
                <a:lnTo>
                  <a:pt x="204" y="610"/>
                </a:lnTo>
                <a:lnTo>
                  <a:pt x="216" y="612"/>
                </a:lnTo>
                <a:lnTo>
                  <a:pt x="238" y="618"/>
                </a:lnTo>
                <a:lnTo>
                  <a:pt x="246" y="620"/>
                </a:lnTo>
                <a:lnTo>
                  <a:pt x="312" y="644"/>
                </a:lnTo>
                <a:lnTo>
                  <a:pt x="338" y="652"/>
                </a:lnTo>
                <a:lnTo>
                  <a:pt x="342" y="652"/>
                </a:lnTo>
                <a:lnTo>
                  <a:pt x="346" y="650"/>
                </a:lnTo>
                <a:lnTo>
                  <a:pt x="348" y="650"/>
                </a:lnTo>
                <a:lnTo>
                  <a:pt x="350" y="650"/>
                </a:lnTo>
                <a:lnTo>
                  <a:pt x="352" y="652"/>
                </a:lnTo>
                <a:lnTo>
                  <a:pt x="354" y="650"/>
                </a:lnTo>
                <a:lnTo>
                  <a:pt x="360" y="652"/>
                </a:lnTo>
                <a:lnTo>
                  <a:pt x="362" y="650"/>
                </a:lnTo>
                <a:lnTo>
                  <a:pt x="366" y="652"/>
                </a:lnTo>
                <a:lnTo>
                  <a:pt x="370" y="648"/>
                </a:lnTo>
                <a:lnTo>
                  <a:pt x="372" y="650"/>
                </a:lnTo>
                <a:lnTo>
                  <a:pt x="378" y="650"/>
                </a:lnTo>
                <a:lnTo>
                  <a:pt x="382" y="652"/>
                </a:lnTo>
                <a:lnTo>
                  <a:pt x="386" y="656"/>
                </a:lnTo>
                <a:lnTo>
                  <a:pt x="396" y="658"/>
                </a:lnTo>
                <a:lnTo>
                  <a:pt x="406" y="652"/>
                </a:lnTo>
                <a:lnTo>
                  <a:pt x="416" y="644"/>
                </a:lnTo>
                <a:lnTo>
                  <a:pt x="422" y="640"/>
                </a:lnTo>
                <a:lnTo>
                  <a:pt x="424" y="636"/>
                </a:lnTo>
                <a:lnTo>
                  <a:pt x="430" y="636"/>
                </a:lnTo>
                <a:lnTo>
                  <a:pt x="432" y="632"/>
                </a:lnTo>
                <a:lnTo>
                  <a:pt x="438" y="626"/>
                </a:lnTo>
                <a:lnTo>
                  <a:pt x="440" y="626"/>
                </a:lnTo>
                <a:lnTo>
                  <a:pt x="442" y="628"/>
                </a:lnTo>
                <a:lnTo>
                  <a:pt x="440" y="636"/>
                </a:lnTo>
                <a:lnTo>
                  <a:pt x="442" y="638"/>
                </a:lnTo>
                <a:lnTo>
                  <a:pt x="448" y="634"/>
                </a:lnTo>
                <a:lnTo>
                  <a:pt x="452" y="638"/>
                </a:lnTo>
                <a:lnTo>
                  <a:pt x="452" y="644"/>
                </a:lnTo>
                <a:lnTo>
                  <a:pt x="452" y="652"/>
                </a:lnTo>
                <a:lnTo>
                  <a:pt x="456" y="656"/>
                </a:lnTo>
                <a:lnTo>
                  <a:pt x="458" y="656"/>
                </a:lnTo>
                <a:lnTo>
                  <a:pt x="464" y="652"/>
                </a:lnTo>
                <a:lnTo>
                  <a:pt x="466" y="652"/>
                </a:lnTo>
                <a:lnTo>
                  <a:pt x="470" y="654"/>
                </a:lnTo>
                <a:lnTo>
                  <a:pt x="472" y="652"/>
                </a:lnTo>
                <a:lnTo>
                  <a:pt x="476" y="644"/>
                </a:lnTo>
                <a:lnTo>
                  <a:pt x="478" y="632"/>
                </a:lnTo>
                <a:lnTo>
                  <a:pt x="478" y="630"/>
                </a:lnTo>
                <a:lnTo>
                  <a:pt x="482" y="630"/>
                </a:lnTo>
                <a:lnTo>
                  <a:pt x="486" y="636"/>
                </a:lnTo>
                <a:lnTo>
                  <a:pt x="486" y="644"/>
                </a:lnTo>
                <a:lnTo>
                  <a:pt x="484" y="648"/>
                </a:lnTo>
                <a:lnTo>
                  <a:pt x="490" y="654"/>
                </a:lnTo>
                <a:lnTo>
                  <a:pt x="502" y="658"/>
                </a:lnTo>
                <a:lnTo>
                  <a:pt x="510" y="656"/>
                </a:lnTo>
                <a:lnTo>
                  <a:pt x="512" y="656"/>
                </a:lnTo>
                <a:lnTo>
                  <a:pt x="516" y="656"/>
                </a:lnTo>
                <a:lnTo>
                  <a:pt x="518" y="656"/>
                </a:lnTo>
                <a:lnTo>
                  <a:pt x="520" y="654"/>
                </a:lnTo>
                <a:lnTo>
                  <a:pt x="522" y="654"/>
                </a:lnTo>
                <a:lnTo>
                  <a:pt x="524" y="654"/>
                </a:lnTo>
                <a:lnTo>
                  <a:pt x="526" y="652"/>
                </a:lnTo>
                <a:lnTo>
                  <a:pt x="528" y="652"/>
                </a:lnTo>
                <a:lnTo>
                  <a:pt x="530" y="650"/>
                </a:lnTo>
                <a:lnTo>
                  <a:pt x="536" y="648"/>
                </a:lnTo>
                <a:lnTo>
                  <a:pt x="538" y="646"/>
                </a:lnTo>
                <a:lnTo>
                  <a:pt x="540" y="644"/>
                </a:lnTo>
                <a:lnTo>
                  <a:pt x="542" y="640"/>
                </a:lnTo>
                <a:lnTo>
                  <a:pt x="544" y="638"/>
                </a:lnTo>
                <a:lnTo>
                  <a:pt x="544" y="636"/>
                </a:lnTo>
                <a:lnTo>
                  <a:pt x="546" y="634"/>
                </a:lnTo>
                <a:lnTo>
                  <a:pt x="552" y="630"/>
                </a:lnTo>
                <a:lnTo>
                  <a:pt x="552" y="628"/>
                </a:lnTo>
                <a:lnTo>
                  <a:pt x="554" y="626"/>
                </a:lnTo>
                <a:lnTo>
                  <a:pt x="554" y="622"/>
                </a:lnTo>
                <a:lnTo>
                  <a:pt x="556" y="620"/>
                </a:lnTo>
                <a:lnTo>
                  <a:pt x="558" y="620"/>
                </a:lnTo>
                <a:lnTo>
                  <a:pt x="560" y="618"/>
                </a:lnTo>
                <a:lnTo>
                  <a:pt x="562" y="618"/>
                </a:lnTo>
                <a:lnTo>
                  <a:pt x="564" y="614"/>
                </a:lnTo>
                <a:lnTo>
                  <a:pt x="564" y="612"/>
                </a:lnTo>
                <a:lnTo>
                  <a:pt x="564" y="610"/>
                </a:lnTo>
                <a:lnTo>
                  <a:pt x="564" y="608"/>
                </a:lnTo>
                <a:lnTo>
                  <a:pt x="562" y="604"/>
                </a:lnTo>
                <a:lnTo>
                  <a:pt x="560" y="600"/>
                </a:lnTo>
                <a:lnTo>
                  <a:pt x="558" y="598"/>
                </a:lnTo>
                <a:lnTo>
                  <a:pt x="558" y="596"/>
                </a:lnTo>
                <a:lnTo>
                  <a:pt x="558" y="594"/>
                </a:lnTo>
                <a:lnTo>
                  <a:pt x="558" y="592"/>
                </a:lnTo>
                <a:lnTo>
                  <a:pt x="560" y="586"/>
                </a:lnTo>
                <a:lnTo>
                  <a:pt x="562" y="582"/>
                </a:lnTo>
                <a:lnTo>
                  <a:pt x="562" y="580"/>
                </a:lnTo>
                <a:lnTo>
                  <a:pt x="570" y="574"/>
                </a:lnTo>
                <a:lnTo>
                  <a:pt x="572" y="566"/>
                </a:lnTo>
                <a:lnTo>
                  <a:pt x="576" y="562"/>
                </a:lnTo>
                <a:lnTo>
                  <a:pt x="580" y="558"/>
                </a:lnTo>
                <a:lnTo>
                  <a:pt x="582" y="558"/>
                </a:lnTo>
                <a:lnTo>
                  <a:pt x="582" y="556"/>
                </a:lnTo>
                <a:lnTo>
                  <a:pt x="586" y="554"/>
                </a:lnTo>
                <a:lnTo>
                  <a:pt x="590" y="554"/>
                </a:lnTo>
                <a:lnTo>
                  <a:pt x="592" y="554"/>
                </a:lnTo>
                <a:lnTo>
                  <a:pt x="594" y="554"/>
                </a:lnTo>
                <a:lnTo>
                  <a:pt x="596" y="554"/>
                </a:lnTo>
                <a:lnTo>
                  <a:pt x="596" y="550"/>
                </a:lnTo>
                <a:lnTo>
                  <a:pt x="596" y="548"/>
                </a:lnTo>
                <a:lnTo>
                  <a:pt x="594" y="546"/>
                </a:lnTo>
                <a:lnTo>
                  <a:pt x="592" y="544"/>
                </a:lnTo>
                <a:lnTo>
                  <a:pt x="590" y="542"/>
                </a:lnTo>
                <a:lnTo>
                  <a:pt x="590" y="540"/>
                </a:lnTo>
                <a:lnTo>
                  <a:pt x="590" y="538"/>
                </a:lnTo>
                <a:lnTo>
                  <a:pt x="588" y="532"/>
                </a:lnTo>
                <a:lnTo>
                  <a:pt x="590" y="532"/>
                </a:lnTo>
                <a:lnTo>
                  <a:pt x="590" y="528"/>
                </a:lnTo>
                <a:lnTo>
                  <a:pt x="590" y="526"/>
                </a:lnTo>
                <a:lnTo>
                  <a:pt x="594" y="520"/>
                </a:lnTo>
                <a:lnTo>
                  <a:pt x="598" y="514"/>
                </a:lnTo>
                <a:lnTo>
                  <a:pt x="604" y="510"/>
                </a:lnTo>
                <a:lnTo>
                  <a:pt x="606" y="508"/>
                </a:lnTo>
                <a:lnTo>
                  <a:pt x="608" y="504"/>
                </a:lnTo>
                <a:lnTo>
                  <a:pt x="610" y="500"/>
                </a:lnTo>
                <a:lnTo>
                  <a:pt x="614" y="494"/>
                </a:lnTo>
                <a:lnTo>
                  <a:pt x="616" y="492"/>
                </a:lnTo>
                <a:lnTo>
                  <a:pt x="620" y="490"/>
                </a:lnTo>
                <a:lnTo>
                  <a:pt x="622" y="490"/>
                </a:lnTo>
                <a:lnTo>
                  <a:pt x="624" y="488"/>
                </a:lnTo>
                <a:lnTo>
                  <a:pt x="626" y="486"/>
                </a:lnTo>
                <a:lnTo>
                  <a:pt x="628" y="484"/>
                </a:lnTo>
                <a:lnTo>
                  <a:pt x="630" y="482"/>
                </a:lnTo>
                <a:lnTo>
                  <a:pt x="630" y="478"/>
                </a:lnTo>
                <a:lnTo>
                  <a:pt x="628" y="476"/>
                </a:lnTo>
                <a:lnTo>
                  <a:pt x="628" y="474"/>
                </a:lnTo>
                <a:lnTo>
                  <a:pt x="628" y="472"/>
                </a:lnTo>
                <a:lnTo>
                  <a:pt x="630" y="468"/>
                </a:lnTo>
                <a:lnTo>
                  <a:pt x="632" y="466"/>
                </a:lnTo>
                <a:lnTo>
                  <a:pt x="634" y="464"/>
                </a:lnTo>
                <a:lnTo>
                  <a:pt x="634" y="458"/>
                </a:lnTo>
                <a:lnTo>
                  <a:pt x="638" y="456"/>
                </a:lnTo>
                <a:lnTo>
                  <a:pt x="640" y="454"/>
                </a:lnTo>
                <a:lnTo>
                  <a:pt x="640" y="450"/>
                </a:lnTo>
                <a:lnTo>
                  <a:pt x="642" y="448"/>
                </a:lnTo>
                <a:lnTo>
                  <a:pt x="644" y="446"/>
                </a:lnTo>
                <a:lnTo>
                  <a:pt x="644" y="442"/>
                </a:lnTo>
                <a:lnTo>
                  <a:pt x="650" y="438"/>
                </a:lnTo>
                <a:lnTo>
                  <a:pt x="652" y="434"/>
                </a:lnTo>
                <a:lnTo>
                  <a:pt x="658" y="434"/>
                </a:lnTo>
                <a:lnTo>
                  <a:pt x="660" y="432"/>
                </a:lnTo>
                <a:lnTo>
                  <a:pt x="662" y="432"/>
                </a:lnTo>
                <a:lnTo>
                  <a:pt x="664" y="432"/>
                </a:lnTo>
                <a:lnTo>
                  <a:pt x="666" y="432"/>
                </a:lnTo>
                <a:lnTo>
                  <a:pt x="666" y="430"/>
                </a:lnTo>
                <a:lnTo>
                  <a:pt x="668" y="430"/>
                </a:lnTo>
                <a:lnTo>
                  <a:pt x="672" y="428"/>
                </a:lnTo>
                <a:lnTo>
                  <a:pt x="674" y="422"/>
                </a:lnTo>
                <a:lnTo>
                  <a:pt x="676" y="420"/>
                </a:lnTo>
                <a:lnTo>
                  <a:pt x="678" y="418"/>
                </a:lnTo>
                <a:lnTo>
                  <a:pt x="682" y="416"/>
                </a:lnTo>
                <a:lnTo>
                  <a:pt x="684" y="412"/>
                </a:lnTo>
                <a:lnTo>
                  <a:pt x="686" y="410"/>
                </a:lnTo>
                <a:lnTo>
                  <a:pt x="692" y="402"/>
                </a:lnTo>
                <a:lnTo>
                  <a:pt x="694" y="398"/>
                </a:lnTo>
                <a:lnTo>
                  <a:pt x="698" y="396"/>
                </a:lnTo>
                <a:lnTo>
                  <a:pt x="702" y="392"/>
                </a:lnTo>
                <a:lnTo>
                  <a:pt x="704" y="388"/>
                </a:lnTo>
                <a:lnTo>
                  <a:pt x="708" y="386"/>
                </a:lnTo>
                <a:lnTo>
                  <a:pt x="710" y="384"/>
                </a:lnTo>
                <a:lnTo>
                  <a:pt x="712" y="380"/>
                </a:lnTo>
                <a:lnTo>
                  <a:pt x="714" y="376"/>
                </a:lnTo>
                <a:lnTo>
                  <a:pt x="718" y="370"/>
                </a:lnTo>
                <a:lnTo>
                  <a:pt x="720" y="370"/>
                </a:lnTo>
                <a:lnTo>
                  <a:pt x="720" y="368"/>
                </a:lnTo>
                <a:lnTo>
                  <a:pt x="724" y="366"/>
                </a:lnTo>
                <a:lnTo>
                  <a:pt x="728" y="364"/>
                </a:lnTo>
                <a:lnTo>
                  <a:pt x="730" y="362"/>
                </a:lnTo>
                <a:lnTo>
                  <a:pt x="734" y="360"/>
                </a:lnTo>
                <a:lnTo>
                  <a:pt x="738" y="356"/>
                </a:lnTo>
                <a:lnTo>
                  <a:pt x="742" y="352"/>
                </a:lnTo>
                <a:lnTo>
                  <a:pt x="746" y="348"/>
                </a:lnTo>
                <a:lnTo>
                  <a:pt x="748" y="346"/>
                </a:lnTo>
                <a:lnTo>
                  <a:pt x="750" y="344"/>
                </a:lnTo>
                <a:lnTo>
                  <a:pt x="752" y="342"/>
                </a:lnTo>
                <a:lnTo>
                  <a:pt x="752" y="340"/>
                </a:lnTo>
                <a:lnTo>
                  <a:pt x="754" y="338"/>
                </a:lnTo>
                <a:lnTo>
                  <a:pt x="760" y="332"/>
                </a:lnTo>
                <a:lnTo>
                  <a:pt x="764" y="330"/>
                </a:lnTo>
                <a:lnTo>
                  <a:pt x="766" y="326"/>
                </a:lnTo>
                <a:lnTo>
                  <a:pt x="770" y="324"/>
                </a:lnTo>
                <a:lnTo>
                  <a:pt x="772" y="322"/>
                </a:lnTo>
                <a:lnTo>
                  <a:pt x="778" y="316"/>
                </a:lnTo>
                <a:lnTo>
                  <a:pt x="782" y="312"/>
                </a:lnTo>
                <a:lnTo>
                  <a:pt x="784" y="310"/>
                </a:lnTo>
                <a:lnTo>
                  <a:pt x="786" y="308"/>
                </a:lnTo>
                <a:lnTo>
                  <a:pt x="790" y="306"/>
                </a:lnTo>
                <a:lnTo>
                  <a:pt x="790" y="304"/>
                </a:lnTo>
                <a:lnTo>
                  <a:pt x="790" y="302"/>
                </a:lnTo>
                <a:lnTo>
                  <a:pt x="794" y="296"/>
                </a:lnTo>
                <a:lnTo>
                  <a:pt x="794" y="294"/>
                </a:lnTo>
                <a:lnTo>
                  <a:pt x="794" y="292"/>
                </a:lnTo>
                <a:lnTo>
                  <a:pt x="796" y="290"/>
                </a:lnTo>
                <a:lnTo>
                  <a:pt x="796" y="288"/>
                </a:lnTo>
                <a:lnTo>
                  <a:pt x="798" y="288"/>
                </a:lnTo>
                <a:lnTo>
                  <a:pt x="800" y="286"/>
                </a:lnTo>
                <a:lnTo>
                  <a:pt x="800" y="284"/>
                </a:lnTo>
                <a:lnTo>
                  <a:pt x="802" y="280"/>
                </a:lnTo>
                <a:lnTo>
                  <a:pt x="804" y="278"/>
                </a:lnTo>
                <a:lnTo>
                  <a:pt x="804" y="276"/>
                </a:lnTo>
                <a:lnTo>
                  <a:pt x="806" y="274"/>
                </a:lnTo>
                <a:lnTo>
                  <a:pt x="808" y="272"/>
                </a:lnTo>
                <a:lnTo>
                  <a:pt x="808" y="270"/>
                </a:lnTo>
                <a:lnTo>
                  <a:pt x="812" y="268"/>
                </a:lnTo>
                <a:lnTo>
                  <a:pt x="812" y="262"/>
                </a:lnTo>
                <a:lnTo>
                  <a:pt x="814" y="262"/>
                </a:lnTo>
                <a:lnTo>
                  <a:pt x="814" y="260"/>
                </a:lnTo>
                <a:lnTo>
                  <a:pt x="814" y="258"/>
                </a:lnTo>
                <a:lnTo>
                  <a:pt x="816" y="252"/>
                </a:lnTo>
                <a:lnTo>
                  <a:pt x="818" y="244"/>
                </a:lnTo>
                <a:lnTo>
                  <a:pt x="820" y="238"/>
                </a:lnTo>
                <a:lnTo>
                  <a:pt x="822" y="234"/>
                </a:lnTo>
                <a:lnTo>
                  <a:pt x="822" y="232"/>
                </a:lnTo>
                <a:lnTo>
                  <a:pt x="824" y="230"/>
                </a:lnTo>
                <a:lnTo>
                  <a:pt x="808" y="230"/>
                </a:lnTo>
                <a:lnTo>
                  <a:pt x="702" y="238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 w="6350">
            <a:solidFill>
              <a:schemeClr val="tx2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457200"/>
            <a:endParaRPr lang="en-US" kern="0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61" name="Freeform 39">
            <a:extLst>
              <a:ext uri="{FF2B5EF4-FFF2-40B4-BE49-F238E27FC236}">
                <a16:creationId xmlns:a16="http://schemas.microsoft.com/office/drawing/2014/main" id="{96A4FBE7-9CA0-5A62-12F5-B6DBE402C6E6}"/>
              </a:ext>
            </a:extLst>
          </p:cNvPr>
          <p:cNvSpPr>
            <a:spLocks/>
          </p:cNvSpPr>
          <p:nvPr/>
        </p:nvSpPr>
        <p:spPr bwMode="auto">
          <a:xfrm>
            <a:off x="3634740" y="4973320"/>
            <a:ext cx="485140" cy="632460"/>
          </a:xfrm>
          <a:custGeom>
            <a:avLst/>
            <a:gdLst>
              <a:gd name="T0" fmla="*/ 2147483646 w 382"/>
              <a:gd name="T1" fmla="*/ 2147483646 h 498"/>
              <a:gd name="T2" fmla="*/ 2147483646 w 382"/>
              <a:gd name="T3" fmla="*/ 2147483646 h 498"/>
              <a:gd name="T4" fmla="*/ 2147483646 w 382"/>
              <a:gd name="T5" fmla="*/ 2147483646 h 498"/>
              <a:gd name="T6" fmla="*/ 2147483646 w 382"/>
              <a:gd name="T7" fmla="*/ 2147483646 h 498"/>
              <a:gd name="T8" fmla="*/ 2147483646 w 382"/>
              <a:gd name="T9" fmla="*/ 2147483646 h 498"/>
              <a:gd name="T10" fmla="*/ 2147483646 w 382"/>
              <a:gd name="T11" fmla="*/ 2147483646 h 498"/>
              <a:gd name="T12" fmla="*/ 2147483646 w 382"/>
              <a:gd name="T13" fmla="*/ 2147483646 h 498"/>
              <a:gd name="T14" fmla="*/ 2147483646 w 382"/>
              <a:gd name="T15" fmla="*/ 2147483646 h 498"/>
              <a:gd name="T16" fmla="*/ 2147483646 w 382"/>
              <a:gd name="T17" fmla="*/ 2147483646 h 498"/>
              <a:gd name="T18" fmla="*/ 2147483646 w 382"/>
              <a:gd name="T19" fmla="*/ 2147483646 h 498"/>
              <a:gd name="T20" fmla="*/ 2147483646 w 382"/>
              <a:gd name="T21" fmla="*/ 2147483646 h 498"/>
              <a:gd name="T22" fmla="*/ 2147483646 w 382"/>
              <a:gd name="T23" fmla="*/ 2147483646 h 498"/>
              <a:gd name="T24" fmla="*/ 2147483646 w 382"/>
              <a:gd name="T25" fmla="*/ 2147483646 h 498"/>
              <a:gd name="T26" fmla="*/ 2147483646 w 382"/>
              <a:gd name="T27" fmla="*/ 2147483646 h 498"/>
              <a:gd name="T28" fmla="*/ 2147483646 w 382"/>
              <a:gd name="T29" fmla="*/ 2147483646 h 498"/>
              <a:gd name="T30" fmla="*/ 2147483646 w 382"/>
              <a:gd name="T31" fmla="*/ 2147483646 h 498"/>
              <a:gd name="T32" fmla="*/ 2147483646 w 382"/>
              <a:gd name="T33" fmla="*/ 2147483646 h 498"/>
              <a:gd name="T34" fmla="*/ 2147483646 w 382"/>
              <a:gd name="T35" fmla="*/ 2147483646 h 498"/>
              <a:gd name="T36" fmla="*/ 2147483646 w 382"/>
              <a:gd name="T37" fmla="*/ 2147483646 h 498"/>
              <a:gd name="T38" fmla="*/ 2147483646 w 382"/>
              <a:gd name="T39" fmla="*/ 2147483646 h 498"/>
              <a:gd name="T40" fmla="*/ 2147483646 w 382"/>
              <a:gd name="T41" fmla="*/ 2147483646 h 498"/>
              <a:gd name="T42" fmla="*/ 2147483646 w 382"/>
              <a:gd name="T43" fmla="*/ 2147483646 h 498"/>
              <a:gd name="T44" fmla="*/ 2147483646 w 382"/>
              <a:gd name="T45" fmla="*/ 2147483646 h 498"/>
              <a:gd name="T46" fmla="*/ 2147483646 w 382"/>
              <a:gd name="T47" fmla="*/ 2147483646 h 498"/>
              <a:gd name="T48" fmla="*/ 2147483646 w 382"/>
              <a:gd name="T49" fmla="*/ 2147483646 h 498"/>
              <a:gd name="T50" fmla="*/ 2147483646 w 382"/>
              <a:gd name="T51" fmla="*/ 2147483646 h 498"/>
              <a:gd name="T52" fmla="*/ 2147483646 w 382"/>
              <a:gd name="T53" fmla="*/ 2147483646 h 498"/>
              <a:gd name="T54" fmla="*/ 2147483646 w 382"/>
              <a:gd name="T55" fmla="*/ 2147483646 h 498"/>
              <a:gd name="T56" fmla="*/ 2147483646 w 382"/>
              <a:gd name="T57" fmla="*/ 2147483646 h 498"/>
              <a:gd name="T58" fmla="*/ 2147483646 w 382"/>
              <a:gd name="T59" fmla="*/ 2147483646 h 498"/>
              <a:gd name="T60" fmla="*/ 2147483646 w 382"/>
              <a:gd name="T61" fmla="*/ 2147483646 h 498"/>
              <a:gd name="T62" fmla="*/ 2147483646 w 382"/>
              <a:gd name="T63" fmla="*/ 2147483646 h 498"/>
              <a:gd name="T64" fmla="*/ 2147483646 w 382"/>
              <a:gd name="T65" fmla="*/ 2147483646 h 498"/>
              <a:gd name="T66" fmla="*/ 2147483646 w 382"/>
              <a:gd name="T67" fmla="*/ 2147483646 h 498"/>
              <a:gd name="T68" fmla="*/ 2147483646 w 382"/>
              <a:gd name="T69" fmla="*/ 2147483646 h 498"/>
              <a:gd name="T70" fmla="*/ 2147483646 w 382"/>
              <a:gd name="T71" fmla="*/ 2147483646 h 498"/>
              <a:gd name="T72" fmla="*/ 2147483646 w 382"/>
              <a:gd name="T73" fmla="*/ 2147483646 h 498"/>
              <a:gd name="T74" fmla="*/ 2147483646 w 382"/>
              <a:gd name="T75" fmla="*/ 2147483646 h 498"/>
              <a:gd name="T76" fmla="*/ 2147483646 w 382"/>
              <a:gd name="T77" fmla="*/ 2147483646 h 498"/>
              <a:gd name="T78" fmla="*/ 2147483646 w 382"/>
              <a:gd name="T79" fmla="*/ 2147483646 h 498"/>
              <a:gd name="T80" fmla="*/ 2147483646 w 382"/>
              <a:gd name="T81" fmla="*/ 2147483646 h 498"/>
              <a:gd name="T82" fmla="*/ 2147483646 w 382"/>
              <a:gd name="T83" fmla="*/ 2147483646 h 498"/>
              <a:gd name="T84" fmla="*/ 2147483646 w 382"/>
              <a:gd name="T85" fmla="*/ 2147483646 h 498"/>
              <a:gd name="T86" fmla="*/ 2147483646 w 382"/>
              <a:gd name="T87" fmla="*/ 2147483646 h 498"/>
              <a:gd name="T88" fmla="*/ 2147483646 w 382"/>
              <a:gd name="T89" fmla="*/ 2147483646 h 498"/>
              <a:gd name="T90" fmla="*/ 2147483646 w 382"/>
              <a:gd name="T91" fmla="*/ 2147483646 h 498"/>
              <a:gd name="T92" fmla="*/ 2147483646 w 382"/>
              <a:gd name="T93" fmla="*/ 2147483646 h 498"/>
              <a:gd name="T94" fmla="*/ 2147483646 w 382"/>
              <a:gd name="T95" fmla="*/ 2147483646 h 498"/>
              <a:gd name="T96" fmla="*/ 2147483646 w 382"/>
              <a:gd name="T97" fmla="*/ 2147483646 h 498"/>
              <a:gd name="T98" fmla="*/ 2147483646 w 382"/>
              <a:gd name="T99" fmla="*/ 2147483646 h 498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w 382"/>
              <a:gd name="T151" fmla="*/ 0 h 498"/>
              <a:gd name="T152" fmla="*/ 382 w 382"/>
              <a:gd name="T153" fmla="*/ 498 h 498"/>
            </a:gdLst>
            <a:ahLst/>
            <a:cxnLst>
              <a:cxn ang="T100">
                <a:pos x="T0" y="T1"/>
              </a:cxn>
              <a:cxn ang="T101">
                <a:pos x="T2" y="T3"/>
              </a:cxn>
              <a:cxn ang="T102">
                <a:pos x="T4" y="T5"/>
              </a:cxn>
              <a:cxn ang="T103">
                <a:pos x="T6" y="T7"/>
              </a:cxn>
              <a:cxn ang="T104">
                <a:pos x="T8" y="T9"/>
              </a:cxn>
              <a:cxn ang="T105">
                <a:pos x="T10" y="T11"/>
              </a:cxn>
              <a:cxn ang="T106">
                <a:pos x="T12" y="T13"/>
              </a:cxn>
              <a:cxn ang="T107">
                <a:pos x="T14" y="T15"/>
              </a:cxn>
              <a:cxn ang="T108">
                <a:pos x="T16" y="T17"/>
              </a:cxn>
              <a:cxn ang="T109">
                <a:pos x="T18" y="T19"/>
              </a:cxn>
              <a:cxn ang="T110">
                <a:pos x="T20" y="T21"/>
              </a:cxn>
              <a:cxn ang="T111">
                <a:pos x="T22" y="T23"/>
              </a:cxn>
              <a:cxn ang="T112">
                <a:pos x="T24" y="T25"/>
              </a:cxn>
              <a:cxn ang="T113">
                <a:pos x="T26" y="T27"/>
              </a:cxn>
              <a:cxn ang="T114">
                <a:pos x="T28" y="T29"/>
              </a:cxn>
              <a:cxn ang="T115">
                <a:pos x="T30" y="T31"/>
              </a:cxn>
              <a:cxn ang="T116">
                <a:pos x="T32" y="T33"/>
              </a:cxn>
              <a:cxn ang="T117">
                <a:pos x="T34" y="T35"/>
              </a:cxn>
              <a:cxn ang="T118">
                <a:pos x="T36" y="T37"/>
              </a:cxn>
              <a:cxn ang="T119">
                <a:pos x="T38" y="T39"/>
              </a:cxn>
              <a:cxn ang="T120">
                <a:pos x="T40" y="T41"/>
              </a:cxn>
              <a:cxn ang="T121">
                <a:pos x="T42" y="T43"/>
              </a:cxn>
              <a:cxn ang="T122">
                <a:pos x="T44" y="T45"/>
              </a:cxn>
              <a:cxn ang="T123">
                <a:pos x="T46" y="T47"/>
              </a:cxn>
              <a:cxn ang="T124">
                <a:pos x="T48" y="T49"/>
              </a:cxn>
              <a:cxn ang="T125">
                <a:pos x="T50" y="T51"/>
              </a:cxn>
              <a:cxn ang="T126">
                <a:pos x="T52" y="T53"/>
              </a:cxn>
              <a:cxn ang="T127">
                <a:pos x="T54" y="T55"/>
              </a:cxn>
              <a:cxn ang="T128">
                <a:pos x="T56" y="T57"/>
              </a:cxn>
              <a:cxn ang="T129">
                <a:pos x="T58" y="T59"/>
              </a:cxn>
              <a:cxn ang="T130">
                <a:pos x="T60" y="T61"/>
              </a:cxn>
              <a:cxn ang="T131">
                <a:pos x="T62" y="T63"/>
              </a:cxn>
              <a:cxn ang="T132">
                <a:pos x="T64" y="T65"/>
              </a:cxn>
              <a:cxn ang="T133">
                <a:pos x="T66" y="T67"/>
              </a:cxn>
              <a:cxn ang="T134">
                <a:pos x="T68" y="T69"/>
              </a:cxn>
              <a:cxn ang="T135">
                <a:pos x="T70" y="T71"/>
              </a:cxn>
              <a:cxn ang="T136">
                <a:pos x="T72" y="T73"/>
              </a:cxn>
              <a:cxn ang="T137">
                <a:pos x="T74" y="T75"/>
              </a:cxn>
              <a:cxn ang="T138">
                <a:pos x="T76" y="T77"/>
              </a:cxn>
              <a:cxn ang="T139">
                <a:pos x="T78" y="T79"/>
              </a:cxn>
              <a:cxn ang="T140">
                <a:pos x="T80" y="T81"/>
              </a:cxn>
              <a:cxn ang="T141">
                <a:pos x="T82" y="T83"/>
              </a:cxn>
              <a:cxn ang="T142">
                <a:pos x="T84" y="T85"/>
              </a:cxn>
              <a:cxn ang="T143">
                <a:pos x="T86" y="T87"/>
              </a:cxn>
              <a:cxn ang="T144">
                <a:pos x="T88" y="T89"/>
              </a:cxn>
              <a:cxn ang="T145">
                <a:pos x="T90" y="T91"/>
              </a:cxn>
              <a:cxn ang="T146">
                <a:pos x="T92" y="T93"/>
              </a:cxn>
              <a:cxn ang="T147">
                <a:pos x="T94" y="T95"/>
              </a:cxn>
              <a:cxn ang="T148">
                <a:pos x="T96" y="T97"/>
              </a:cxn>
              <a:cxn ang="T149">
                <a:pos x="T98" y="T99"/>
              </a:cxn>
            </a:cxnLst>
            <a:rect l="T150" t="T151" r="T152" b="T153"/>
            <a:pathLst>
              <a:path w="382" h="498">
                <a:moveTo>
                  <a:pt x="218" y="480"/>
                </a:moveTo>
                <a:lnTo>
                  <a:pt x="222" y="470"/>
                </a:lnTo>
                <a:lnTo>
                  <a:pt x="222" y="468"/>
                </a:lnTo>
                <a:lnTo>
                  <a:pt x="264" y="390"/>
                </a:lnTo>
                <a:lnTo>
                  <a:pt x="300" y="330"/>
                </a:lnTo>
                <a:lnTo>
                  <a:pt x="306" y="312"/>
                </a:lnTo>
                <a:lnTo>
                  <a:pt x="360" y="214"/>
                </a:lnTo>
                <a:lnTo>
                  <a:pt x="374" y="194"/>
                </a:lnTo>
                <a:lnTo>
                  <a:pt x="376" y="184"/>
                </a:lnTo>
                <a:lnTo>
                  <a:pt x="382" y="164"/>
                </a:lnTo>
                <a:lnTo>
                  <a:pt x="382" y="160"/>
                </a:lnTo>
                <a:lnTo>
                  <a:pt x="382" y="158"/>
                </a:lnTo>
                <a:lnTo>
                  <a:pt x="376" y="122"/>
                </a:lnTo>
                <a:lnTo>
                  <a:pt x="348" y="90"/>
                </a:lnTo>
                <a:lnTo>
                  <a:pt x="332" y="72"/>
                </a:lnTo>
                <a:lnTo>
                  <a:pt x="320" y="54"/>
                </a:lnTo>
                <a:lnTo>
                  <a:pt x="302" y="34"/>
                </a:lnTo>
                <a:lnTo>
                  <a:pt x="298" y="32"/>
                </a:lnTo>
                <a:lnTo>
                  <a:pt x="270" y="14"/>
                </a:lnTo>
                <a:lnTo>
                  <a:pt x="260" y="4"/>
                </a:lnTo>
                <a:lnTo>
                  <a:pt x="254" y="0"/>
                </a:lnTo>
                <a:lnTo>
                  <a:pt x="214" y="18"/>
                </a:lnTo>
                <a:lnTo>
                  <a:pt x="200" y="22"/>
                </a:lnTo>
                <a:lnTo>
                  <a:pt x="184" y="32"/>
                </a:lnTo>
                <a:lnTo>
                  <a:pt x="166" y="38"/>
                </a:lnTo>
                <a:lnTo>
                  <a:pt x="158" y="42"/>
                </a:lnTo>
                <a:lnTo>
                  <a:pt x="146" y="48"/>
                </a:lnTo>
                <a:lnTo>
                  <a:pt x="134" y="52"/>
                </a:lnTo>
                <a:lnTo>
                  <a:pt x="142" y="56"/>
                </a:lnTo>
                <a:lnTo>
                  <a:pt x="150" y="66"/>
                </a:lnTo>
                <a:lnTo>
                  <a:pt x="152" y="74"/>
                </a:lnTo>
                <a:lnTo>
                  <a:pt x="152" y="84"/>
                </a:lnTo>
                <a:lnTo>
                  <a:pt x="160" y="90"/>
                </a:lnTo>
                <a:lnTo>
                  <a:pt x="170" y="96"/>
                </a:lnTo>
                <a:lnTo>
                  <a:pt x="178" y="104"/>
                </a:lnTo>
                <a:lnTo>
                  <a:pt x="178" y="112"/>
                </a:lnTo>
                <a:lnTo>
                  <a:pt x="174" y="120"/>
                </a:lnTo>
                <a:lnTo>
                  <a:pt x="168" y="126"/>
                </a:lnTo>
                <a:lnTo>
                  <a:pt x="160" y="130"/>
                </a:lnTo>
                <a:lnTo>
                  <a:pt x="150" y="138"/>
                </a:lnTo>
                <a:lnTo>
                  <a:pt x="150" y="144"/>
                </a:lnTo>
                <a:lnTo>
                  <a:pt x="156" y="150"/>
                </a:lnTo>
                <a:lnTo>
                  <a:pt x="166" y="156"/>
                </a:lnTo>
                <a:lnTo>
                  <a:pt x="174" y="162"/>
                </a:lnTo>
                <a:lnTo>
                  <a:pt x="178" y="174"/>
                </a:lnTo>
                <a:lnTo>
                  <a:pt x="182" y="188"/>
                </a:lnTo>
                <a:lnTo>
                  <a:pt x="192" y="198"/>
                </a:lnTo>
                <a:lnTo>
                  <a:pt x="192" y="206"/>
                </a:lnTo>
                <a:lnTo>
                  <a:pt x="186" y="212"/>
                </a:lnTo>
                <a:lnTo>
                  <a:pt x="176" y="218"/>
                </a:lnTo>
                <a:lnTo>
                  <a:pt x="174" y="218"/>
                </a:lnTo>
                <a:lnTo>
                  <a:pt x="170" y="218"/>
                </a:lnTo>
                <a:lnTo>
                  <a:pt x="170" y="214"/>
                </a:lnTo>
                <a:lnTo>
                  <a:pt x="170" y="202"/>
                </a:lnTo>
                <a:lnTo>
                  <a:pt x="166" y="196"/>
                </a:lnTo>
                <a:lnTo>
                  <a:pt x="164" y="192"/>
                </a:lnTo>
                <a:lnTo>
                  <a:pt x="160" y="188"/>
                </a:lnTo>
                <a:lnTo>
                  <a:pt x="160" y="186"/>
                </a:lnTo>
                <a:lnTo>
                  <a:pt x="152" y="186"/>
                </a:lnTo>
                <a:lnTo>
                  <a:pt x="148" y="186"/>
                </a:lnTo>
                <a:lnTo>
                  <a:pt x="142" y="180"/>
                </a:lnTo>
                <a:lnTo>
                  <a:pt x="138" y="176"/>
                </a:lnTo>
                <a:lnTo>
                  <a:pt x="128" y="174"/>
                </a:lnTo>
                <a:lnTo>
                  <a:pt x="122" y="174"/>
                </a:lnTo>
                <a:lnTo>
                  <a:pt x="114" y="176"/>
                </a:lnTo>
                <a:lnTo>
                  <a:pt x="106" y="174"/>
                </a:lnTo>
                <a:lnTo>
                  <a:pt x="98" y="174"/>
                </a:lnTo>
                <a:lnTo>
                  <a:pt x="96" y="178"/>
                </a:lnTo>
                <a:lnTo>
                  <a:pt x="96" y="182"/>
                </a:lnTo>
                <a:lnTo>
                  <a:pt x="98" y="186"/>
                </a:lnTo>
                <a:lnTo>
                  <a:pt x="104" y="192"/>
                </a:lnTo>
                <a:lnTo>
                  <a:pt x="106" y="194"/>
                </a:lnTo>
                <a:lnTo>
                  <a:pt x="104" y="196"/>
                </a:lnTo>
                <a:lnTo>
                  <a:pt x="96" y="198"/>
                </a:lnTo>
                <a:lnTo>
                  <a:pt x="92" y="206"/>
                </a:lnTo>
                <a:lnTo>
                  <a:pt x="86" y="210"/>
                </a:lnTo>
                <a:lnTo>
                  <a:pt x="80" y="212"/>
                </a:lnTo>
                <a:lnTo>
                  <a:pt x="78" y="214"/>
                </a:lnTo>
                <a:lnTo>
                  <a:pt x="74" y="220"/>
                </a:lnTo>
                <a:lnTo>
                  <a:pt x="72" y="220"/>
                </a:lnTo>
                <a:lnTo>
                  <a:pt x="62" y="228"/>
                </a:lnTo>
                <a:lnTo>
                  <a:pt x="52" y="240"/>
                </a:lnTo>
                <a:lnTo>
                  <a:pt x="40" y="250"/>
                </a:lnTo>
                <a:lnTo>
                  <a:pt x="28" y="256"/>
                </a:lnTo>
                <a:lnTo>
                  <a:pt x="26" y="260"/>
                </a:lnTo>
                <a:lnTo>
                  <a:pt x="28" y="266"/>
                </a:lnTo>
                <a:lnTo>
                  <a:pt x="26" y="274"/>
                </a:lnTo>
                <a:lnTo>
                  <a:pt x="24" y="286"/>
                </a:lnTo>
                <a:lnTo>
                  <a:pt x="24" y="292"/>
                </a:lnTo>
                <a:lnTo>
                  <a:pt x="20" y="300"/>
                </a:lnTo>
                <a:lnTo>
                  <a:pt x="8" y="304"/>
                </a:lnTo>
                <a:lnTo>
                  <a:pt x="6" y="308"/>
                </a:lnTo>
                <a:lnTo>
                  <a:pt x="0" y="314"/>
                </a:lnTo>
                <a:lnTo>
                  <a:pt x="6" y="322"/>
                </a:lnTo>
                <a:lnTo>
                  <a:pt x="66" y="376"/>
                </a:lnTo>
                <a:lnTo>
                  <a:pt x="158" y="452"/>
                </a:lnTo>
                <a:lnTo>
                  <a:pt x="204" y="494"/>
                </a:lnTo>
                <a:lnTo>
                  <a:pt x="208" y="498"/>
                </a:lnTo>
                <a:lnTo>
                  <a:pt x="212" y="492"/>
                </a:lnTo>
                <a:lnTo>
                  <a:pt x="218" y="480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 w="6350">
            <a:solidFill>
              <a:schemeClr val="tx2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457200"/>
            <a:endParaRPr lang="en-US" kern="0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62" name="Freeform 40">
            <a:extLst>
              <a:ext uri="{FF2B5EF4-FFF2-40B4-BE49-F238E27FC236}">
                <a16:creationId xmlns:a16="http://schemas.microsoft.com/office/drawing/2014/main" id="{A6921030-F3D5-F3C1-7AC1-AC0F7BC70220}"/>
              </a:ext>
            </a:extLst>
          </p:cNvPr>
          <p:cNvSpPr>
            <a:spLocks/>
          </p:cNvSpPr>
          <p:nvPr/>
        </p:nvSpPr>
        <p:spPr bwMode="auto">
          <a:xfrm>
            <a:off x="3898900" y="5173980"/>
            <a:ext cx="716280" cy="513080"/>
          </a:xfrm>
          <a:custGeom>
            <a:avLst/>
            <a:gdLst>
              <a:gd name="T0" fmla="*/ 2147483646 w 564"/>
              <a:gd name="T1" fmla="*/ 2147483646 h 404"/>
              <a:gd name="T2" fmla="*/ 2147483646 w 564"/>
              <a:gd name="T3" fmla="*/ 2147483646 h 404"/>
              <a:gd name="T4" fmla="*/ 2147483646 w 564"/>
              <a:gd name="T5" fmla="*/ 2147483646 h 404"/>
              <a:gd name="T6" fmla="*/ 2147483646 w 564"/>
              <a:gd name="T7" fmla="*/ 2147483646 h 404"/>
              <a:gd name="T8" fmla="*/ 2147483646 w 564"/>
              <a:gd name="T9" fmla="*/ 2147483646 h 404"/>
              <a:gd name="T10" fmla="*/ 2147483646 w 564"/>
              <a:gd name="T11" fmla="*/ 2147483646 h 404"/>
              <a:gd name="T12" fmla="*/ 2147483646 w 564"/>
              <a:gd name="T13" fmla="*/ 2147483646 h 404"/>
              <a:gd name="T14" fmla="*/ 2147483646 w 564"/>
              <a:gd name="T15" fmla="*/ 2147483646 h 404"/>
              <a:gd name="T16" fmla="*/ 2147483646 w 564"/>
              <a:gd name="T17" fmla="*/ 2147483646 h 404"/>
              <a:gd name="T18" fmla="*/ 2147483646 w 564"/>
              <a:gd name="T19" fmla="*/ 2147483646 h 404"/>
              <a:gd name="T20" fmla="*/ 2147483646 w 564"/>
              <a:gd name="T21" fmla="*/ 2147483646 h 404"/>
              <a:gd name="T22" fmla="*/ 2147483646 w 564"/>
              <a:gd name="T23" fmla="*/ 2147483646 h 404"/>
              <a:gd name="T24" fmla="*/ 2147483646 w 564"/>
              <a:gd name="T25" fmla="*/ 2147483646 h 404"/>
              <a:gd name="T26" fmla="*/ 2147483646 w 564"/>
              <a:gd name="T27" fmla="*/ 2147483646 h 404"/>
              <a:gd name="T28" fmla="*/ 2147483646 w 564"/>
              <a:gd name="T29" fmla="*/ 2147483646 h 404"/>
              <a:gd name="T30" fmla="*/ 2147483646 w 564"/>
              <a:gd name="T31" fmla="*/ 2147483646 h 404"/>
              <a:gd name="T32" fmla="*/ 2147483646 w 564"/>
              <a:gd name="T33" fmla="*/ 2147483646 h 404"/>
              <a:gd name="T34" fmla="*/ 2147483646 w 564"/>
              <a:gd name="T35" fmla="*/ 2147483646 h 404"/>
              <a:gd name="T36" fmla="*/ 2147483646 w 564"/>
              <a:gd name="T37" fmla="*/ 2147483646 h 404"/>
              <a:gd name="T38" fmla="*/ 2147483646 w 564"/>
              <a:gd name="T39" fmla="*/ 2147483646 h 404"/>
              <a:gd name="T40" fmla="*/ 2147483646 w 564"/>
              <a:gd name="T41" fmla="*/ 2147483646 h 404"/>
              <a:gd name="T42" fmla="*/ 2147483646 w 564"/>
              <a:gd name="T43" fmla="*/ 2147483646 h 404"/>
              <a:gd name="T44" fmla="*/ 2147483646 w 564"/>
              <a:gd name="T45" fmla="*/ 2147483646 h 404"/>
              <a:gd name="T46" fmla="*/ 2147483646 w 564"/>
              <a:gd name="T47" fmla="*/ 2147483646 h 404"/>
              <a:gd name="T48" fmla="*/ 2147483646 w 564"/>
              <a:gd name="T49" fmla="*/ 2147483646 h 404"/>
              <a:gd name="T50" fmla="*/ 2147483646 w 564"/>
              <a:gd name="T51" fmla="*/ 2147483646 h 404"/>
              <a:gd name="T52" fmla="*/ 2147483646 w 564"/>
              <a:gd name="T53" fmla="*/ 2147483646 h 404"/>
              <a:gd name="T54" fmla="*/ 2147483646 w 564"/>
              <a:gd name="T55" fmla="*/ 2147483646 h 404"/>
              <a:gd name="T56" fmla="*/ 2147483646 w 564"/>
              <a:gd name="T57" fmla="*/ 2147483646 h 404"/>
              <a:gd name="T58" fmla="*/ 2147483646 w 564"/>
              <a:gd name="T59" fmla="*/ 2147483646 h 404"/>
              <a:gd name="T60" fmla="*/ 2147483646 w 564"/>
              <a:gd name="T61" fmla="*/ 2147483646 h 404"/>
              <a:gd name="T62" fmla="*/ 2147483646 w 564"/>
              <a:gd name="T63" fmla="*/ 2147483646 h 404"/>
              <a:gd name="T64" fmla="*/ 2147483646 w 564"/>
              <a:gd name="T65" fmla="*/ 2147483646 h 404"/>
              <a:gd name="T66" fmla="*/ 2147483646 w 564"/>
              <a:gd name="T67" fmla="*/ 2147483646 h 404"/>
              <a:gd name="T68" fmla="*/ 2147483646 w 564"/>
              <a:gd name="T69" fmla="*/ 2147483646 h 404"/>
              <a:gd name="T70" fmla="*/ 2147483646 w 564"/>
              <a:gd name="T71" fmla="*/ 2147483646 h 404"/>
              <a:gd name="T72" fmla="*/ 2147483646 w 564"/>
              <a:gd name="T73" fmla="*/ 2147483646 h 404"/>
              <a:gd name="T74" fmla="*/ 2147483646 w 564"/>
              <a:gd name="T75" fmla="*/ 2147483646 h 404"/>
              <a:gd name="T76" fmla="*/ 2147483646 w 564"/>
              <a:gd name="T77" fmla="*/ 2147483646 h 404"/>
              <a:gd name="T78" fmla="*/ 2147483646 w 564"/>
              <a:gd name="T79" fmla="*/ 2147483646 h 404"/>
              <a:gd name="T80" fmla="*/ 2147483646 w 564"/>
              <a:gd name="T81" fmla="*/ 2147483646 h 404"/>
              <a:gd name="T82" fmla="*/ 2147483646 w 564"/>
              <a:gd name="T83" fmla="*/ 2147483646 h 404"/>
              <a:gd name="T84" fmla="*/ 2147483646 w 564"/>
              <a:gd name="T85" fmla="*/ 2147483646 h 404"/>
              <a:gd name="T86" fmla="*/ 2147483646 w 564"/>
              <a:gd name="T87" fmla="*/ 2147483646 h 404"/>
              <a:gd name="T88" fmla="*/ 2147483646 w 564"/>
              <a:gd name="T89" fmla="*/ 2147483646 h 404"/>
              <a:gd name="T90" fmla="*/ 2147483646 w 564"/>
              <a:gd name="T91" fmla="*/ 2147483646 h 404"/>
              <a:gd name="T92" fmla="*/ 2147483646 w 564"/>
              <a:gd name="T93" fmla="*/ 2147483646 h 404"/>
              <a:gd name="T94" fmla="*/ 2147483646 w 564"/>
              <a:gd name="T95" fmla="*/ 2147483646 h 404"/>
              <a:gd name="T96" fmla="*/ 2147483646 w 564"/>
              <a:gd name="T97" fmla="*/ 2147483646 h 404"/>
              <a:gd name="T98" fmla="*/ 2147483646 w 564"/>
              <a:gd name="T99" fmla="*/ 2147483646 h 404"/>
              <a:gd name="T100" fmla="*/ 2147483646 w 564"/>
              <a:gd name="T101" fmla="*/ 2147483646 h 404"/>
              <a:gd name="T102" fmla="*/ 2147483646 w 564"/>
              <a:gd name="T103" fmla="*/ 2147483646 h 404"/>
              <a:gd name="T104" fmla="*/ 2147483646 w 564"/>
              <a:gd name="T105" fmla="*/ 2147483646 h 404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w 564"/>
              <a:gd name="T160" fmla="*/ 0 h 404"/>
              <a:gd name="T161" fmla="*/ 564 w 564"/>
              <a:gd name="T162" fmla="*/ 404 h 404"/>
            </a:gdLst>
            <a:ahLst/>
            <a:cxnLst>
              <a:cxn ang="T106">
                <a:pos x="T0" y="T1"/>
              </a:cxn>
              <a:cxn ang="T107">
                <a:pos x="T2" y="T3"/>
              </a:cxn>
              <a:cxn ang="T108">
                <a:pos x="T4" y="T5"/>
              </a:cxn>
              <a:cxn ang="T109">
                <a:pos x="T6" y="T7"/>
              </a:cxn>
              <a:cxn ang="T110">
                <a:pos x="T8" y="T9"/>
              </a:cxn>
              <a:cxn ang="T111">
                <a:pos x="T10" y="T11"/>
              </a:cxn>
              <a:cxn ang="T112">
                <a:pos x="T12" y="T13"/>
              </a:cxn>
              <a:cxn ang="T113">
                <a:pos x="T14" y="T15"/>
              </a:cxn>
              <a:cxn ang="T114">
                <a:pos x="T16" y="T17"/>
              </a:cxn>
              <a:cxn ang="T115">
                <a:pos x="T18" y="T19"/>
              </a:cxn>
              <a:cxn ang="T116">
                <a:pos x="T20" y="T21"/>
              </a:cxn>
              <a:cxn ang="T117">
                <a:pos x="T22" y="T23"/>
              </a:cxn>
              <a:cxn ang="T118">
                <a:pos x="T24" y="T25"/>
              </a:cxn>
              <a:cxn ang="T119">
                <a:pos x="T26" y="T27"/>
              </a:cxn>
              <a:cxn ang="T120">
                <a:pos x="T28" y="T29"/>
              </a:cxn>
              <a:cxn ang="T121">
                <a:pos x="T30" y="T31"/>
              </a:cxn>
              <a:cxn ang="T122">
                <a:pos x="T32" y="T33"/>
              </a:cxn>
              <a:cxn ang="T123">
                <a:pos x="T34" y="T35"/>
              </a:cxn>
              <a:cxn ang="T124">
                <a:pos x="T36" y="T37"/>
              </a:cxn>
              <a:cxn ang="T125">
                <a:pos x="T38" y="T39"/>
              </a:cxn>
              <a:cxn ang="T126">
                <a:pos x="T40" y="T41"/>
              </a:cxn>
              <a:cxn ang="T127">
                <a:pos x="T42" y="T43"/>
              </a:cxn>
              <a:cxn ang="T128">
                <a:pos x="T44" y="T45"/>
              </a:cxn>
              <a:cxn ang="T129">
                <a:pos x="T46" y="T47"/>
              </a:cxn>
              <a:cxn ang="T130">
                <a:pos x="T48" y="T49"/>
              </a:cxn>
              <a:cxn ang="T131">
                <a:pos x="T50" y="T51"/>
              </a:cxn>
              <a:cxn ang="T132">
                <a:pos x="T52" y="T53"/>
              </a:cxn>
              <a:cxn ang="T133">
                <a:pos x="T54" y="T55"/>
              </a:cxn>
              <a:cxn ang="T134">
                <a:pos x="T56" y="T57"/>
              </a:cxn>
              <a:cxn ang="T135">
                <a:pos x="T58" y="T59"/>
              </a:cxn>
              <a:cxn ang="T136">
                <a:pos x="T60" y="T61"/>
              </a:cxn>
              <a:cxn ang="T137">
                <a:pos x="T62" y="T63"/>
              </a:cxn>
              <a:cxn ang="T138">
                <a:pos x="T64" y="T65"/>
              </a:cxn>
              <a:cxn ang="T139">
                <a:pos x="T66" y="T67"/>
              </a:cxn>
              <a:cxn ang="T140">
                <a:pos x="T68" y="T69"/>
              </a:cxn>
              <a:cxn ang="T141">
                <a:pos x="T70" y="T71"/>
              </a:cxn>
              <a:cxn ang="T142">
                <a:pos x="T72" y="T73"/>
              </a:cxn>
              <a:cxn ang="T143">
                <a:pos x="T74" y="T75"/>
              </a:cxn>
              <a:cxn ang="T144">
                <a:pos x="T76" y="T77"/>
              </a:cxn>
              <a:cxn ang="T145">
                <a:pos x="T78" y="T79"/>
              </a:cxn>
              <a:cxn ang="T146">
                <a:pos x="T80" y="T81"/>
              </a:cxn>
              <a:cxn ang="T147">
                <a:pos x="T82" y="T83"/>
              </a:cxn>
              <a:cxn ang="T148">
                <a:pos x="T84" y="T85"/>
              </a:cxn>
              <a:cxn ang="T149">
                <a:pos x="T86" y="T87"/>
              </a:cxn>
              <a:cxn ang="T150">
                <a:pos x="T88" y="T89"/>
              </a:cxn>
              <a:cxn ang="T151">
                <a:pos x="T90" y="T91"/>
              </a:cxn>
              <a:cxn ang="T152">
                <a:pos x="T92" y="T93"/>
              </a:cxn>
              <a:cxn ang="T153">
                <a:pos x="T94" y="T95"/>
              </a:cxn>
              <a:cxn ang="T154">
                <a:pos x="T96" y="T97"/>
              </a:cxn>
              <a:cxn ang="T155">
                <a:pos x="T98" y="T99"/>
              </a:cxn>
              <a:cxn ang="T156">
                <a:pos x="T100" y="T101"/>
              </a:cxn>
              <a:cxn ang="T157">
                <a:pos x="T102" y="T103"/>
              </a:cxn>
              <a:cxn ang="T158">
                <a:pos x="T104" y="T105"/>
              </a:cxn>
            </a:cxnLst>
            <a:rect l="T159" t="T160" r="T161" b="T162"/>
            <a:pathLst>
              <a:path w="564" h="404">
                <a:moveTo>
                  <a:pt x="460" y="44"/>
                </a:moveTo>
                <a:lnTo>
                  <a:pt x="454" y="38"/>
                </a:lnTo>
                <a:lnTo>
                  <a:pt x="456" y="34"/>
                </a:lnTo>
                <a:lnTo>
                  <a:pt x="456" y="26"/>
                </a:lnTo>
                <a:lnTo>
                  <a:pt x="452" y="20"/>
                </a:lnTo>
                <a:lnTo>
                  <a:pt x="448" y="20"/>
                </a:lnTo>
                <a:lnTo>
                  <a:pt x="448" y="22"/>
                </a:lnTo>
                <a:lnTo>
                  <a:pt x="446" y="34"/>
                </a:lnTo>
                <a:lnTo>
                  <a:pt x="442" y="42"/>
                </a:lnTo>
                <a:lnTo>
                  <a:pt x="440" y="44"/>
                </a:lnTo>
                <a:lnTo>
                  <a:pt x="436" y="42"/>
                </a:lnTo>
                <a:lnTo>
                  <a:pt x="434" y="42"/>
                </a:lnTo>
                <a:lnTo>
                  <a:pt x="428" y="46"/>
                </a:lnTo>
                <a:lnTo>
                  <a:pt x="426" y="46"/>
                </a:lnTo>
                <a:lnTo>
                  <a:pt x="422" y="42"/>
                </a:lnTo>
                <a:lnTo>
                  <a:pt x="422" y="34"/>
                </a:lnTo>
                <a:lnTo>
                  <a:pt x="422" y="28"/>
                </a:lnTo>
                <a:lnTo>
                  <a:pt x="418" y="24"/>
                </a:lnTo>
                <a:lnTo>
                  <a:pt x="412" y="28"/>
                </a:lnTo>
                <a:lnTo>
                  <a:pt x="410" y="26"/>
                </a:lnTo>
                <a:lnTo>
                  <a:pt x="412" y="18"/>
                </a:lnTo>
                <a:lnTo>
                  <a:pt x="410" y="16"/>
                </a:lnTo>
                <a:lnTo>
                  <a:pt x="408" y="16"/>
                </a:lnTo>
                <a:lnTo>
                  <a:pt x="402" y="22"/>
                </a:lnTo>
                <a:lnTo>
                  <a:pt x="400" y="26"/>
                </a:lnTo>
                <a:lnTo>
                  <a:pt x="394" y="26"/>
                </a:lnTo>
                <a:lnTo>
                  <a:pt x="392" y="30"/>
                </a:lnTo>
                <a:lnTo>
                  <a:pt x="386" y="34"/>
                </a:lnTo>
                <a:lnTo>
                  <a:pt x="376" y="42"/>
                </a:lnTo>
                <a:lnTo>
                  <a:pt x="366" y="48"/>
                </a:lnTo>
                <a:lnTo>
                  <a:pt x="356" y="46"/>
                </a:lnTo>
                <a:lnTo>
                  <a:pt x="352" y="42"/>
                </a:lnTo>
                <a:lnTo>
                  <a:pt x="348" y="40"/>
                </a:lnTo>
                <a:lnTo>
                  <a:pt x="342" y="40"/>
                </a:lnTo>
                <a:lnTo>
                  <a:pt x="340" y="38"/>
                </a:lnTo>
                <a:lnTo>
                  <a:pt x="336" y="42"/>
                </a:lnTo>
                <a:lnTo>
                  <a:pt x="332" y="40"/>
                </a:lnTo>
                <a:lnTo>
                  <a:pt x="330" y="42"/>
                </a:lnTo>
                <a:lnTo>
                  <a:pt x="324" y="40"/>
                </a:lnTo>
                <a:lnTo>
                  <a:pt x="322" y="42"/>
                </a:lnTo>
                <a:lnTo>
                  <a:pt x="320" y="40"/>
                </a:lnTo>
                <a:lnTo>
                  <a:pt x="318" y="40"/>
                </a:lnTo>
                <a:lnTo>
                  <a:pt x="316" y="40"/>
                </a:lnTo>
                <a:lnTo>
                  <a:pt x="312" y="42"/>
                </a:lnTo>
                <a:lnTo>
                  <a:pt x="308" y="42"/>
                </a:lnTo>
                <a:lnTo>
                  <a:pt x="282" y="34"/>
                </a:lnTo>
                <a:lnTo>
                  <a:pt x="216" y="10"/>
                </a:lnTo>
                <a:lnTo>
                  <a:pt x="208" y="8"/>
                </a:lnTo>
                <a:lnTo>
                  <a:pt x="186" y="2"/>
                </a:lnTo>
                <a:lnTo>
                  <a:pt x="174" y="0"/>
                </a:lnTo>
                <a:lnTo>
                  <a:pt x="174" y="2"/>
                </a:lnTo>
                <a:lnTo>
                  <a:pt x="174" y="6"/>
                </a:lnTo>
                <a:lnTo>
                  <a:pt x="168" y="26"/>
                </a:lnTo>
                <a:lnTo>
                  <a:pt x="166" y="36"/>
                </a:lnTo>
                <a:lnTo>
                  <a:pt x="152" y="56"/>
                </a:lnTo>
                <a:lnTo>
                  <a:pt x="98" y="154"/>
                </a:lnTo>
                <a:lnTo>
                  <a:pt x="92" y="172"/>
                </a:lnTo>
                <a:lnTo>
                  <a:pt x="56" y="232"/>
                </a:lnTo>
                <a:lnTo>
                  <a:pt x="14" y="310"/>
                </a:lnTo>
                <a:lnTo>
                  <a:pt x="14" y="312"/>
                </a:lnTo>
                <a:lnTo>
                  <a:pt x="10" y="322"/>
                </a:lnTo>
                <a:lnTo>
                  <a:pt x="4" y="334"/>
                </a:lnTo>
                <a:lnTo>
                  <a:pt x="0" y="340"/>
                </a:lnTo>
                <a:lnTo>
                  <a:pt x="4" y="342"/>
                </a:lnTo>
                <a:lnTo>
                  <a:pt x="8" y="344"/>
                </a:lnTo>
                <a:lnTo>
                  <a:pt x="10" y="344"/>
                </a:lnTo>
                <a:lnTo>
                  <a:pt x="12" y="344"/>
                </a:lnTo>
                <a:lnTo>
                  <a:pt x="20" y="346"/>
                </a:lnTo>
                <a:lnTo>
                  <a:pt x="22" y="348"/>
                </a:lnTo>
                <a:lnTo>
                  <a:pt x="28" y="354"/>
                </a:lnTo>
                <a:lnTo>
                  <a:pt x="38" y="360"/>
                </a:lnTo>
                <a:lnTo>
                  <a:pt x="42" y="366"/>
                </a:lnTo>
                <a:lnTo>
                  <a:pt x="46" y="372"/>
                </a:lnTo>
                <a:lnTo>
                  <a:pt x="48" y="376"/>
                </a:lnTo>
                <a:lnTo>
                  <a:pt x="52" y="378"/>
                </a:lnTo>
                <a:lnTo>
                  <a:pt x="54" y="380"/>
                </a:lnTo>
                <a:lnTo>
                  <a:pt x="56" y="380"/>
                </a:lnTo>
                <a:lnTo>
                  <a:pt x="58" y="380"/>
                </a:lnTo>
                <a:lnTo>
                  <a:pt x="60" y="380"/>
                </a:lnTo>
                <a:lnTo>
                  <a:pt x="62" y="380"/>
                </a:lnTo>
                <a:lnTo>
                  <a:pt x="66" y="382"/>
                </a:lnTo>
                <a:lnTo>
                  <a:pt x="70" y="386"/>
                </a:lnTo>
                <a:lnTo>
                  <a:pt x="74" y="394"/>
                </a:lnTo>
                <a:lnTo>
                  <a:pt x="76" y="402"/>
                </a:lnTo>
                <a:lnTo>
                  <a:pt x="76" y="404"/>
                </a:lnTo>
                <a:lnTo>
                  <a:pt x="86" y="402"/>
                </a:lnTo>
                <a:lnTo>
                  <a:pt x="92" y="400"/>
                </a:lnTo>
                <a:lnTo>
                  <a:pt x="94" y="398"/>
                </a:lnTo>
                <a:lnTo>
                  <a:pt x="104" y="396"/>
                </a:lnTo>
                <a:lnTo>
                  <a:pt x="112" y="390"/>
                </a:lnTo>
                <a:lnTo>
                  <a:pt x="118" y="388"/>
                </a:lnTo>
                <a:lnTo>
                  <a:pt x="124" y="386"/>
                </a:lnTo>
                <a:lnTo>
                  <a:pt x="134" y="378"/>
                </a:lnTo>
                <a:lnTo>
                  <a:pt x="136" y="378"/>
                </a:lnTo>
                <a:lnTo>
                  <a:pt x="156" y="366"/>
                </a:lnTo>
                <a:lnTo>
                  <a:pt x="166" y="360"/>
                </a:lnTo>
                <a:lnTo>
                  <a:pt x="182" y="350"/>
                </a:lnTo>
                <a:lnTo>
                  <a:pt x="198" y="342"/>
                </a:lnTo>
                <a:lnTo>
                  <a:pt x="204" y="336"/>
                </a:lnTo>
                <a:lnTo>
                  <a:pt x="210" y="332"/>
                </a:lnTo>
                <a:lnTo>
                  <a:pt x="214" y="330"/>
                </a:lnTo>
                <a:lnTo>
                  <a:pt x="218" y="328"/>
                </a:lnTo>
                <a:lnTo>
                  <a:pt x="222" y="326"/>
                </a:lnTo>
                <a:lnTo>
                  <a:pt x="226" y="324"/>
                </a:lnTo>
                <a:lnTo>
                  <a:pt x="228" y="324"/>
                </a:lnTo>
                <a:lnTo>
                  <a:pt x="230" y="318"/>
                </a:lnTo>
                <a:lnTo>
                  <a:pt x="238" y="314"/>
                </a:lnTo>
                <a:lnTo>
                  <a:pt x="246" y="308"/>
                </a:lnTo>
                <a:lnTo>
                  <a:pt x="252" y="304"/>
                </a:lnTo>
                <a:lnTo>
                  <a:pt x="260" y="298"/>
                </a:lnTo>
                <a:lnTo>
                  <a:pt x="268" y="294"/>
                </a:lnTo>
                <a:lnTo>
                  <a:pt x="272" y="292"/>
                </a:lnTo>
                <a:lnTo>
                  <a:pt x="282" y="288"/>
                </a:lnTo>
                <a:lnTo>
                  <a:pt x="290" y="288"/>
                </a:lnTo>
                <a:lnTo>
                  <a:pt x="302" y="282"/>
                </a:lnTo>
                <a:lnTo>
                  <a:pt x="304" y="282"/>
                </a:lnTo>
                <a:lnTo>
                  <a:pt x="306" y="282"/>
                </a:lnTo>
                <a:lnTo>
                  <a:pt x="312" y="280"/>
                </a:lnTo>
                <a:lnTo>
                  <a:pt x="312" y="282"/>
                </a:lnTo>
                <a:lnTo>
                  <a:pt x="314" y="282"/>
                </a:lnTo>
                <a:lnTo>
                  <a:pt x="316" y="286"/>
                </a:lnTo>
                <a:lnTo>
                  <a:pt x="318" y="288"/>
                </a:lnTo>
                <a:lnTo>
                  <a:pt x="320" y="292"/>
                </a:lnTo>
                <a:lnTo>
                  <a:pt x="322" y="298"/>
                </a:lnTo>
                <a:lnTo>
                  <a:pt x="324" y="306"/>
                </a:lnTo>
                <a:lnTo>
                  <a:pt x="324" y="314"/>
                </a:lnTo>
                <a:lnTo>
                  <a:pt x="324" y="318"/>
                </a:lnTo>
                <a:lnTo>
                  <a:pt x="324" y="322"/>
                </a:lnTo>
                <a:lnTo>
                  <a:pt x="322" y="324"/>
                </a:lnTo>
                <a:lnTo>
                  <a:pt x="324" y="326"/>
                </a:lnTo>
                <a:lnTo>
                  <a:pt x="324" y="328"/>
                </a:lnTo>
                <a:lnTo>
                  <a:pt x="326" y="330"/>
                </a:lnTo>
                <a:lnTo>
                  <a:pt x="330" y="332"/>
                </a:lnTo>
                <a:lnTo>
                  <a:pt x="332" y="334"/>
                </a:lnTo>
                <a:lnTo>
                  <a:pt x="334" y="336"/>
                </a:lnTo>
                <a:lnTo>
                  <a:pt x="336" y="342"/>
                </a:lnTo>
                <a:lnTo>
                  <a:pt x="340" y="344"/>
                </a:lnTo>
                <a:lnTo>
                  <a:pt x="342" y="344"/>
                </a:lnTo>
                <a:lnTo>
                  <a:pt x="344" y="342"/>
                </a:lnTo>
                <a:lnTo>
                  <a:pt x="350" y="340"/>
                </a:lnTo>
                <a:lnTo>
                  <a:pt x="352" y="340"/>
                </a:lnTo>
                <a:lnTo>
                  <a:pt x="354" y="340"/>
                </a:lnTo>
                <a:lnTo>
                  <a:pt x="358" y="336"/>
                </a:lnTo>
                <a:lnTo>
                  <a:pt x="364" y="336"/>
                </a:lnTo>
                <a:lnTo>
                  <a:pt x="364" y="334"/>
                </a:lnTo>
                <a:lnTo>
                  <a:pt x="366" y="332"/>
                </a:lnTo>
                <a:lnTo>
                  <a:pt x="368" y="330"/>
                </a:lnTo>
                <a:lnTo>
                  <a:pt x="370" y="330"/>
                </a:lnTo>
                <a:lnTo>
                  <a:pt x="370" y="328"/>
                </a:lnTo>
                <a:lnTo>
                  <a:pt x="374" y="326"/>
                </a:lnTo>
                <a:lnTo>
                  <a:pt x="376" y="324"/>
                </a:lnTo>
                <a:lnTo>
                  <a:pt x="384" y="316"/>
                </a:lnTo>
                <a:lnTo>
                  <a:pt x="392" y="310"/>
                </a:lnTo>
                <a:lnTo>
                  <a:pt x="404" y="304"/>
                </a:lnTo>
                <a:lnTo>
                  <a:pt x="418" y="296"/>
                </a:lnTo>
                <a:lnTo>
                  <a:pt x="424" y="294"/>
                </a:lnTo>
                <a:lnTo>
                  <a:pt x="426" y="292"/>
                </a:lnTo>
                <a:lnTo>
                  <a:pt x="428" y="292"/>
                </a:lnTo>
                <a:lnTo>
                  <a:pt x="430" y="290"/>
                </a:lnTo>
                <a:lnTo>
                  <a:pt x="434" y="288"/>
                </a:lnTo>
                <a:lnTo>
                  <a:pt x="436" y="288"/>
                </a:lnTo>
                <a:lnTo>
                  <a:pt x="438" y="282"/>
                </a:lnTo>
                <a:lnTo>
                  <a:pt x="438" y="280"/>
                </a:lnTo>
                <a:lnTo>
                  <a:pt x="438" y="276"/>
                </a:lnTo>
                <a:lnTo>
                  <a:pt x="442" y="276"/>
                </a:lnTo>
                <a:lnTo>
                  <a:pt x="442" y="274"/>
                </a:lnTo>
                <a:lnTo>
                  <a:pt x="446" y="272"/>
                </a:lnTo>
                <a:lnTo>
                  <a:pt x="448" y="270"/>
                </a:lnTo>
                <a:lnTo>
                  <a:pt x="458" y="268"/>
                </a:lnTo>
                <a:lnTo>
                  <a:pt x="470" y="264"/>
                </a:lnTo>
                <a:lnTo>
                  <a:pt x="480" y="260"/>
                </a:lnTo>
                <a:lnTo>
                  <a:pt x="486" y="258"/>
                </a:lnTo>
                <a:lnTo>
                  <a:pt x="488" y="256"/>
                </a:lnTo>
                <a:lnTo>
                  <a:pt x="490" y="254"/>
                </a:lnTo>
                <a:lnTo>
                  <a:pt x="492" y="252"/>
                </a:lnTo>
                <a:lnTo>
                  <a:pt x="496" y="250"/>
                </a:lnTo>
                <a:lnTo>
                  <a:pt x="500" y="242"/>
                </a:lnTo>
                <a:lnTo>
                  <a:pt x="506" y="234"/>
                </a:lnTo>
                <a:lnTo>
                  <a:pt x="510" y="226"/>
                </a:lnTo>
                <a:lnTo>
                  <a:pt x="512" y="220"/>
                </a:lnTo>
                <a:lnTo>
                  <a:pt x="508" y="218"/>
                </a:lnTo>
                <a:lnTo>
                  <a:pt x="500" y="216"/>
                </a:lnTo>
                <a:lnTo>
                  <a:pt x="490" y="226"/>
                </a:lnTo>
                <a:lnTo>
                  <a:pt x="472" y="220"/>
                </a:lnTo>
                <a:lnTo>
                  <a:pt x="468" y="218"/>
                </a:lnTo>
                <a:lnTo>
                  <a:pt x="464" y="218"/>
                </a:lnTo>
                <a:lnTo>
                  <a:pt x="472" y="216"/>
                </a:lnTo>
                <a:lnTo>
                  <a:pt x="474" y="214"/>
                </a:lnTo>
                <a:lnTo>
                  <a:pt x="480" y="210"/>
                </a:lnTo>
                <a:lnTo>
                  <a:pt x="486" y="206"/>
                </a:lnTo>
                <a:lnTo>
                  <a:pt x="474" y="186"/>
                </a:lnTo>
                <a:lnTo>
                  <a:pt x="474" y="184"/>
                </a:lnTo>
                <a:lnTo>
                  <a:pt x="498" y="170"/>
                </a:lnTo>
                <a:lnTo>
                  <a:pt x="510" y="164"/>
                </a:lnTo>
                <a:lnTo>
                  <a:pt x="516" y="162"/>
                </a:lnTo>
                <a:lnTo>
                  <a:pt x="516" y="160"/>
                </a:lnTo>
                <a:lnTo>
                  <a:pt x="524" y="156"/>
                </a:lnTo>
                <a:lnTo>
                  <a:pt x="530" y="150"/>
                </a:lnTo>
                <a:lnTo>
                  <a:pt x="534" y="148"/>
                </a:lnTo>
                <a:lnTo>
                  <a:pt x="538" y="146"/>
                </a:lnTo>
                <a:lnTo>
                  <a:pt x="542" y="142"/>
                </a:lnTo>
                <a:lnTo>
                  <a:pt x="552" y="132"/>
                </a:lnTo>
                <a:lnTo>
                  <a:pt x="558" y="126"/>
                </a:lnTo>
                <a:lnTo>
                  <a:pt x="562" y="118"/>
                </a:lnTo>
                <a:lnTo>
                  <a:pt x="564" y="114"/>
                </a:lnTo>
                <a:lnTo>
                  <a:pt x="550" y="102"/>
                </a:lnTo>
                <a:lnTo>
                  <a:pt x="548" y="102"/>
                </a:lnTo>
                <a:lnTo>
                  <a:pt x="548" y="100"/>
                </a:lnTo>
                <a:lnTo>
                  <a:pt x="510" y="74"/>
                </a:lnTo>
                <a:lnTo>
                  <a:pt x="478" y="52"/>
                </a:lnTo>
                <a:lnTo>
                  <a:pt x="480" y="46"/>
                </a:lnTo>
                <a:lnTo>
                  <a:pt x="472" y="48"/>
                </a:lnTo>
                <a:lnTo>
                  <a:pt x="460" y="44"/>
                </a:lnTo>
                <a:close/>
              </a:path>
            </a:pathLst>
          </a:custGeom>
          <a:solidFill>
            <a:srgbClr val="666766"/>
          </a:solidFill>
          <a:ln w="6350">
            <a:solidFill>
              <a:schemeClr val="tx1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457200">
              <a:defRPr/>
            </a:pPr>
            <a:endParaRPr lang="en-US" kern="0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63" name="Freeform 41">
            <a:extLst>
              <a:ext uri="{FF2B5EF4-FFF2-40B4-BE49-F238E27FC236}">
                <a16:creationId xmlns:a16="http://schemas.microsoft.com/office/drawing/2014/main" id="{893FB0EF-D4F6-22E8-726A-6BFF1547BD63}"/>
              </a:ext>
            </a:extLst>
          </p:cNvPr>
          <p:cNvSpPr>
            <a:spLocks/>
          </p:cNvSpPr>
          <p:nvPr/>
        </p:nvSpPr>
        <p:spPr bwMode="auto">
          <a:xfrm>
            <a:off x="2146300" y="4805680"/>
            <a:ext cx="693420" cy="668020"/>
          </a:xfrm>
          <a:custGeom>
            <a:avLst/>
            <a:gdLst>
              <a:gd name="T0" fmla="*/ 2147483646 w 546"/>
              <a:gd name="T1" fmla="*/ 2147483646 h 526"/>
              <a:gd name="T2" fmla="*/ 2147483646 w 546"/>
              <a:gd name="T3" fmla="*/ 2147483646 h 526"/>
              <a:gd name="T4" fmla="*/ 2147483646 w 546"/>
              <a:gd name="T5" fmla="*/ 2147483646 h 526"/>
              <a:gd name="T6" fmla="*/ 2147483646 w 546"/>
              <a:gd name="T7" fmla="*/ 2147483646 h 526"/>
              <a:gd name="T8" fmla="*/ 2147483646 w 546"/>
              <a:gd name="T9" fmla="*/ 2147483646 h 526"/>
              <a:gd name="T10" fmla="*/ 2147483646 w 546"/>
              <a:gd name="T11" fmla="*/ 2147483646 h 526"/>
              <a:gd name="T12" fmla="*/ 2147483646 w 546"/>
              <a:gd name="T13" fmla="*/ 2147483646 h 526"/>
              <a:gd name="T14" fmla="*/ 2147483646 w 546"/>
              <a:gd name="T15" fmla="*/ 2147483646 h 526"/>
              <a:gd name="T16" fmla="*/ 2147483646 w 546"/>
              <a:gd name="T17" fmla="*/ 2147483646 h 526"/>
              <a:gd name="T18" fmla="*/ 2147483646 w 546"/>
              <a:gd name="T19" fmla="*/ 2147483646 h 526"/>
              <a:gd name="T20" fmla="*/ 2147483646 w 546"/>
              <a:gd name="T21" fmla="*/ 2147483646 h 526"/>
              <a:gd name="T22" fmla="*/ 2147483646 w 546"/>
              <a:gd name="T23" fmla="*/ 2147483646 h 526"/>
              <a:gd name="T24" fmla="*/ 2147483646 w 546"/>
              <a:gd name="T25" fmla="*/ 2147483646 h 526"/>
              <a:gd name="T26" fmla="*/ 2147483646 w 546"/>
              <a:gd name="T27" fmla="*/ 2147483646 h 526"/>
              <a:gd name="T28" fmla="*/ 2147483646 w 546"/>
              <a:gd name="T29" fmla="*/ 2147483646 h 526"/>
              <a:gd name="T30" fmla="*/ 2147483646 w 546"/>
              <a:gd name="T31" fmla="*/ 2147483646 h 526"/>
              <a:gd name="T32" fmla="*/ 2147483646 w 546"/>
              <a:gd name="T33" fmla="*/ 2147483646 h 526"/>
              <a:gd name="T34" fmla="*/ 2147483646 w 546"/>
              <a:gd name="T35" fmla="*/ 2147483646 h 526"/>
              <a:gd name="T36" fmla="*/ 2147483646 w 546"/>
              <a:gd name="T37" fmla="*/ 2147483646 h 526"/>
              <a:gd name="T38" fmla="*/ 2147483646 w 546"/>
              <a:gd name="T39" fmla="*/ 2147483646 h 526"/>
              <a:gd name="T40" fmla="*/ 2147483646 w 546"/>
              <a:gd name="T41" fmla="*/ 2147483646 h 526"/>
              <a:gd name="T42" fmla="*/ 2147483646 w 546"/>
              <a:gd name="T43" fmla="*/ 2147483646 h 526"/>
              <a:gd name="T44" fmla="*/ 2147483646 w 546"/>
              <a:gd name="T45" fmla="*/ 2147483646 h 526"/>
              <a:gd name="T46" fmla="*/ 2147483646 w 546"/>
              <a:gd name="T47" fmla="*/ 2147483646 h 526"/>
              <a:gd name="T48" fmla="*/ 2147483646 w 546"/>
              <a:gd name="T49" fmla="*/ 2147483646 h 526"/>
              <a:gd name="T50" fmla="*/ 0 w 546"/>
              <a:gd name="T51" fmla="*/ 2147483646 h 526"/>
              <a:gd name="T52" fmla="*/ 2147483646 w 546"/>
              <a:gd name="T53" fmla="*/ 2147483646 h 526"/>
              <a:gd name="T54" fmla="*/ 2147483646 w 546"/>
              <a:gd name="T55" fmla="*/ 2147483646 h 526"/>
              <a:gd name="T56" fmla="*/ 2147483646 w 546"/>
              <a:gd name="T57" fmla="*/ 2147483646 h 526"/>
              <a:gd name="T58" fmla="*/ 2147483646 w 546"/>
              <a:gd name="T59" fmla="*/ 2147483646 h 526"/>
              <a:gd name="T60" fmla="*/ 2147483646 w 546"/>
              <a:gd name="T61" fmla="*/ 2147483646 h 526"/>
              <a:gd name="T62" fmla="*/ 2147483646 w 546"/>
              <a:gd name="T63" fmla="*/ 2147483646 h 526"/>
              <a:gd name="T64" fmla="*/ 2147483646 w 546"/>
              <a:gd name="T65" fmla="*/ 2147483646 h 526"/>
              <a:gd name="T66" fmla="*/ 2147483646 w 546"/>
              <a:gd name="T67" fmla="*/ 2147483646 h 526"/>
              <a:gd name="T68" fmla="*/ 2147483646 w 546"/>
              <a:gd name="T69" fmla="*/ 2147483646 h 526"/>
              <a:gd name="T70" fmla="*/ 2147483646 w 546"/>
              <a:gd name="T71" fmla="*/ 2147483646 h 526"/>
              <a:gd name="T72" fmla="*/ 2147483646 w 546"/>
              <a:gd name="T73" fmla="*/ 2147483646 h 526"/>
              <a:gd name="T74" fmla="*/ 2147483646 w 546"/>
              <a:gd name="T75" fmla="*/ 2147483646 h 526"/>
              <a:gd name="T76" fmla="*/ 2147483646 w 546"/>
              <a:gd name="T77" fmla="*/ 2147483646 h 526"/>
              <a:gd name="T78" fmla="*/ 2147483646 w 546"/>
              <a:gd name="T79" fmla="*/ 2147483646 h 526"/>
              <a:gd name="T80" fmla="*/ 2147483646 w 546"/>
              <a:gd name="T81" fmla="*/ 2147483646 h 526"/>
              <a:gd name="T82" fmla="*/ 2147483646 w 546"/>
              <a:gd name="T83" fmla="*/ 2147483646 h 526"/>
              <a:gd name="T84" fmla="*/ 2147483646 w 546"/>
              <a:gd name="T85" fmla="*/ 2147483646 h 526"/>
              <a:gd name="T86" fmla="*/ 2147483646 w 546"/>
              <a:gd name="T87" fmla="*/ 2147483646 h 526"/>
              <a:gd name="T88" fmla="*/ 2147483646 w 546"/>
              <a:gd name="T89" fmla="*/ 2147483646 h 526"/>
              <a:gd name="T90" fmla="*/ 2147483646 w 546"/>
              <a:gd name="T91" fmla="*/ 2147483646 h 526"/>
              <a:gd name="T92" fmla="*/ 2147483646 w 546"/>
              <a:gd name="T93" fmla="*/ 2147483646 h 526"/>
              <a:gd name="T94" fmla="*/ 2147483646 w 546"/>
              <a:gd name="T95" fmla="*/ 2147483646 h 526"/>
              <a:gd name="T96" fmla="*/ 2147483646 w 546"/>
              <a:gd name="T97" fmla="*/ 2147483646 h 526"/>
              <a:gd name="T98" fmla="*/ 2147483646 w 546"/>
              <a:gd name="T99" fmla="*/ 2147483646 h 526"/>
              <a:gd name="T100" fmla="*/ 2147483646 w 546"/>
              <a:gd name="T101" fmla="*/ 2147483646 h 526"/>
              <a:gd name="T102" fmla="*/ 2147483646 w 546"/>
              <a:gd name="T103" fmla="*/ 2147483646 h 526"/>
              <a:gd name="T104" fmla="*/ 2147483646 w 546"/>
              <a:gd name="T105" fmla="*/ 2147483646 h 526"/>
              <a:gd name="T106" fmla="*/ 2147483646 w 546"/>
              <a:gd name="T107" fmla="*/ 2147483646 h 526"/>
              <a:gd name="T108" fmla="*/ 2147483646 w 546"/>
              <a:gd name="T109" fmla="*/ 2147483646 h 526"/>
              <a:gd name="T110" fmla="*/ 2147483646 w 546"/>
              <a:gd name="T111" fmla="*/ 2147483646 h 526"/>
              <a:gd name="T112" fmla="*/ 2147483646 w 546"/>
              <a:gd name="T113" fmla="*/ 2147483646 h 526"/>
              <a:gd name="T114" fmla="*/ 2147483646 w 546"/>
              <a:gd name="T115" fmla="*/ 2147483646 h 52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w 546"/>
              <a:gd name="T175" fmla="*/ 0 h 526"/>
              <a:gd name="T176" fmla="*/ 546 w 546"/>
              <a:gd name="T177" fmla="*/ 526 h 526"/>
            </a:gdLst>
            <a:ahLst/>
            <a:cxnLst>
              <a:cxn ang="T116">
                <a:pos x="T0" y="T1"/>
              </a:cxn>
              <a:cxn ang="T117">
                <a:pos x="T2" y="T3"/>
              </a:cxn>
              <a:cxn ang="T118">
                <a:pos x="T4" y="T5"/>
              </a:cxn>
              <a:cxn ang="T119">
                <a:pos x="T6" y="T7"/>
              </a:cxn>
              <a:cxn ang="T120">
                <a:pos x="T8" y="T9"/>
              </a:cxn>
              <a:cxn ang="T121">
                <a:pos x="T10" y="T11"/>
              </a:cxn>
              <a:cxn ang="T122">
                <a:pos x="T12" y="T13"/>
              </a:cxn>
              <a:cxn ang="T123">
                <a:pos x="T14" y="T15"/>
              </a:cxn>
              <a:cxn ang="T124">
                <a:pos x="T16" y="T17"/>
              </a:cxn>
              <a:cxn ang="T125">
                <a:pos x="T18" y="T19"/>
              </a:cxn>
              <a:cxn ang="T126">
                <a:pos x="T20" y="T21"/>
              </a:cxn>
              <a:cxn ang="T127">
                <a:pos x="T22" y="T23"/>
              </a:cxn>
              <a:cxn ang="T128">
                <a:pos x="T24" y="T25"/>
              </a:cxn>
              <a:cxn ang="T129">
                <a:pos x="T26" y="T27"/>
              </a:cxn>
              <a:cxn ang="T130">
                <a:pos x="T28" y="T29"/>
              </a:cxn>
              <a:cxn ang="T131">
                <a:pos x="T30" y="T31"/>
              </a:cxn>
              <a:cxn ang="T132">
                <a:pos x="T32" y="T33"/>
              </a:cxn>
              <a:cxn ang="T133">
                <a:pos x="T34" y="T35"/>
              </a:cxn>
              <a:cxn ang="T134">
                <a:pos x="T36" y="T37"/>
              </a:cxn>
              <a:cxn ang="T135">
                <a:pos x="T38" y="T39"/>
              </a:cxn>
              <a:cxn ang="T136">
                <a:pos x="T40" y="T41"/>
              </a:cxn>
              <a:cxn ang="T137">
                <a:pos x="T42" y="T43"/>
              </a:cxn>
              <a:cxn ang="T138">
                <a:pos x="T44" y="T45"/>
              </a:cxn>
              <a:cxn ang="T139">
                <a:pos x="T46" y="T47"/>
              </a:cxn>
              <a:cxn ang="T140">
                <a:pos x="T48" y="T49"/>
              </a:cxn>
              <a:cxn ang="T141">
                <a:pos x="T50" y="T51"/>
              </a:cxn>
              <a:cxn ang="T142">
                <a:pos x="T52" y="T53"/>
              </a:cxn>
              <a:cxn ang="T143">
                <a:pos x="T54" y="T55"/>
              </a:cxn>
              <a:cxn ang="T144">
                <a:pos x="T56" y="T57"/>
              </a:cxn>
              <a:cxn ang="T145">
                <a:pos x="T58" y="T59"/>
              </a:cxn>
              <a:cxn ang="T146">
                <a:pos x="T60" y="T61"/>
              </a:cxn>
              <a:cxn ang="T147">
                <a:pos x="T62" y="T63"/>
              </a:cxn>
              <a:cxn ang="T148">
                <a:pos x="T64" y="T65"/>
              </a:cxn>
              <a:cxn ang="T149">
                <a:pos x="T66" y="T67"/>
              </a:cxn>
              <a:cxn ang="T150">
                <a:pos x="T68" y="T69"/>
              </a:cxn>
              <a:cxn ang="T151">
                <a:pos x="T70" y="T71"/>
              </a:cxn>
              <a:cxn ang="T152">
                <a:pos x="T72" y="T73"/>
              </a:cxn>
              <a:cxn ang="T153">
                <a:pos x="T74" y="T75"/>
              </a:cxn>
              <a:cxn ang="T154">
                <a:pos x="T76" y="T77"/>
              </a:cxn>
              <a:cxn ang="T155">
                <a:pos x="T78" y="T79"/>
              </a:cxn>
              <a:cxn ang="T156">
                <a:pos x="T80" y="T81"/>
              </a:cxn>
              <a:cxn ang="T157">
                <a:pos x="T82" y="T83"/>
              </a:cxn>
              <a:cxn ang="T158">
                <a:pos x="T84" y="T85"/>
              </a:cxn>
              <a:cxn ang="T159">
                <a:pos x="T86" y="T87"/>
              </a:cxn>
              <a:cxn ang="T160">
                <a:pos x="T88" y="T89"/>
              </a:cxn>
              <a:cxn ang="T161">
                <a:pos x="T90" y="T91"/>
              </a:cxn>
              <a:cxn ang="T162">
                <a:pos x="T92" y="T93"/>
              </a:cxn>
              <a:cxn ang="T163">
                <a:pos x="T94" y="T95"/>
              </a:cxn>
              <a:cxn ang="T164">
                <a:pos x="T96" y="T97"/>
              </a:cxn>
              <a:cxn ang="T165">
                <a:pos x="T98" y="T99"/>
              </a:cxn>
              <a:cxn ang="T166">
                <a:pos x="T100" y="T101"/>
              </a:cxn>
              <a:cxn ang="T167">
                <a:pos x="T102" y="T103"/>
              </a:cxn>
              <a:cxn ang="T168">
                <a:pos x="T104" y="T105"/>
              </a:cxn>
              <a:cxn ang="T169">
                <a:pos x="T106" y="T107"/>
              </a:cxn>
              <a:cxn ang="T170">
                <a:pos x="T108" y="T109"/>
              </a:cxn>
              <a:cxn ang="T171">
                <a:pos x="T110" y="T111"/>
              </a:cxn>
              <a:cxn ang="T172">
                <a:pos x="T112" y="T113"/>
              </a:cxn>
              <a:cxn ang="T173">
                <a:pos x="T114" y="T115"/>
              </a:cxn>
            </a:cxnLst>
            <a:rect l="T174" t="T175" r="T176" b="T177"/>
            <a:pathLst>
              <a:path w="546" h="526">
                <a:moveTo>
                  <a:pt x="438" y="524"/>
                </a:moveTo>
                <a:lnTo>
                  <a:pt x="442" y="518"/>
                </a:lnTo>
                <a:lnTo>
                  <a:pt x="444" y="512"/>
                </a:lnTo>
                <a:lnTo>
                  <a:pt x="446" y="508"/>
                </a:lnTo>
                <a:lnTo>
                  <a:pt x="450" y="508"/>
                </a:lnTo>
                <a:lnTo>
                  <a:pt x="456" y="508"/>
                </a:lnTo>
                <a:lnTo>
                  <a:pt x="462" y="508"/>
                </a:lnTo>
                <a:lnTo>
                  <a:pt x="462" y="506"/>
                </a:lnTo>
                <a:lnTo>
                  <a:pt x="466" y="498"/>
                </a:lnTo>
                <a:lnTo>
                  <a:pt x="468" y="496"/>
                </a:lnTo>
                <a:lnTo>
                  <a:pt x="474" y="498"/>
                </a:lnTo>
                <a:lnTo>
                  <a:pt x="480" y="498"/>
                </a:lnTo>
                <a:lnTo>
                  <a:pt x="484" y="496"/>
                </a:lnTo>
                <a:lnTo>
                  <a:pt x="488" y="490"/>
                </a:lnTo>
                <a:lnTo>
                  <a:pt x="494" y="488"/>
                </a:lnTo>
                <a:lnTo>
                  <a:pt x="494" y="478"/>
                </a:lnTo>
                <a:lnTo>
                  <a:pt x="494" y="472"/>
                </a:lnTo>
                <a:lnTo>
                  <a:pt x="512" y="464"/>
                </a:lnTo>
                <a:lnTo>
                  <a:pt x="512" y="462"/>
                </a:lnTo>
                <a:lnTo>
                  <a:pt x="508" y="458"/>
                </a:lnTo>
                <a:lnTo>
                  <a:pt x="508" y="456"/>
                </a:lnTo>
                <a:lnTo>
                  <a:pt x="512" y="454"/>
                </a:lnTo>
                <a:lnTo>
                  <a:pt x="516" y="444"/>
                </a:lnTo>
                <a:lnTo>
                  <a:pt x="522" y="432"/>
                </a:lnTo>
                <a:lnTo>
                  <a:pt x="524" y="432"/>
                </a:lnTo>
                <a:lnTo>
                  <a:pt x="526" y="432"/>
                </a:lnTo>
                <a:lnTo>
                  <a:pt x="526" y="428"/>
                </a:lnTo>
                <a:lnTo>
                  <a:pt x="530" y="424"/>
                </a:lnTo>
                <a:lnTo>
                  <a:pt x="526" y="420"/>
                </a:lnTo>
                <a:lnTo>
                  <a:pt x="526" y="416"/>
                </a:lnTo>
                <a:lnTo>
                  <a:pt x="532" y="414"/>
                </a:lnTo>
                <a:lnTo>
                  <a:pt x="534" y="416"/>
                </a:lnTo>
                <a:lnTo>
                  <a:pt x="536" y="416"/>
                </a:lnTo>
                <a:lnTo>
                  <a:pt x="538" y="416"/>
                </a:lnTo>
                <a:lnTo>
                  <a:pt x="540" y="416"/>
                </a:lnTo>
                <a:lnTo>
                  <a:pt x="542" y="410"/>
                </a:lnTo>
                <a:lnTo>
                  <a:pt x="546" y="402"/>
                </a:lnTo>
                <a:lnTo>
                  <a:pt x="546" y="396"/>
                </a:lnTo>
                <a:lnTo>
                  <a:pt x="542" y="388"/>
                </a:lnTo>
                <a:lnTo>
                  <a:pt x="540" y="380"/>
                </a:lnTo>
                <a:lnTo>
                  <a:pt x="540" y="378"/>
                </a:lnTo>
                <a:lnTo>
                  <a:pt x="540" y="366"/>
                </a:lnTo>
                <a:lnTo>
                  <a:pt x="540" y="362"/>
                </a:lnTo>
                <a:lnTo>
                  <a:pt x="538" y="362"/>
                </a:lnTo>
                <a:lnTo>
                  <a:pt x="534" y="362"/>
                </a:lnTo>
                <a:lnTo>
                  <a:pt x="532" y="364"/>
                </a:lnTo>
                <a:lnTo>
                  <a:pt x="526" y="364"/>
                </a:lnTo>
                <a:lnTo>
                  <a:pt x="526" y="362"/>
                </a:lnTo>
                <a:lnTo>
                  <a:pt x="518" y="356"/>
                </a:lnTo>
                <a:lnTo>
                  <a:pt x="516" y="354"/>
                </a:lnTo>
                <a:lnTo>
                  <a:pt x="516" y="348"/>
                </a:lnTo>
                <a:lnTo>
                  <a:pt x="514" y="348"/>
                </a:lnTo>
                <a:lnTo>
                  <a:pt x="512" y="348"/>
                </a:lnTo>
                <a:lnTo>
                  <a:pt x="504" y="352"/>
                </a:lnTo>
                <a:lnTo>
                  <a:pt x="500" y="354"/>
                </a:lnTo>
                <a:lnTo>
                  <a:pt x="494" y="352"/>
                </a:lnTo>
                <a:lnTo>
                  <a:pt x="490" y="348"/>
                </a:lnTo>
                <a:lnTo>
                  <a:pt x="486" y="342"/>
                </a:lnTo>
                <a:lnTo>
                  <a:pt x="484" y="336"/>
                </a:lnTo>
                <a:lnTo>
                  <a:pt x="482" y="336"/>
                </a:lnTo>
                <a:lnTo>
                  <a:pt x="480" y="338"/>
                </a:lnTo>
                <a:lnTo>
                  <a:pt x="480" y="344"/>
                </a:lnTo>
                <a:lnTo>
                  <a:pt x="474" y="348"/>
                </a:lnTo>
                <a:lnTo>
                  <a:pt x="466" y="350"/>
                </a:lnTo>
                <a:lnTo>
                  <a:pt x="456" y="356"/>
                </a:lnTo>
                <a:lnTo>
                  <a:pt x="454" y="356"/>
                </a:lnTo>
                <a:lnTo>
                  <a:pt x="450" y="354"/>
                </a:lnTo>
                <a:lnTo>
                  <a:pt x="450" y="352"/>
                </a:lnTo>
                <a:lnTo>
                  <a:pt x="446" y="348"/>
                </a:lnTo>
                <a:lnTo>
                  <a:pt x="444" y="346"/>
                </a:lnTo>
                <a:lnTo>
                  <a:pt x="446" y="338"/>
                </a:lnTo>
                <a:lnTo>
                  <a:pt x="444" y="336"/>
                </a:lnTo>
                <a:lnTo>
                  <a:pt x="436" y="334"/>
                </a:lnTo>
                <a:lnTo>
                  <a:pt x="428" y="336"/>
                </a:lnTo>
                <a:lnTo>
                  <a:pt x="422" y="336"/>
                </a:lnTo>
                <a:lnTo>
                  <a:pt x="420" y="338"/>
                </a:lnTo>
                <a:lnTo>
                  <a:pt x="420" y="342"/>
                </a:lnTo>
                <a:lnTo>
                  <a:pt x="416" y="346"/>
                </a:lnTo>
                <a:lnTo>
                  <a:pt x="414" y="344"/>
                </a:lnTo>
                <a:lnTo>
                  <a:pt x="410" y="344"/>
                </a:lnTo>
                <a:lnTo>
                  <a:pt x="408" y="346"/>
                </a:lnTo>
                <a:lnTo>
                  <a:pt x="402" y="348"/>
                </a:lnTo>
                <a:lnTo>
                  <a:pt x="402" y="350"/>
                </a:lnTo>
                <a:lnTo>
                  <a:pt x="400" y="350"/>
                </a:lnTo>
                <a:lnTo>
                  <a:pt x="398" y="350"/>
                </a:lnTo>
                <a:lnTo>
                  <a:pt x="396" y="350"/>
                </a:lnTo>
                <a:lnTo>
                  <a:pt x="392" y="350"/>
                </a:lnTo>
                <a:lnTo>
                  <a:pt x="386" y="350"/>
                </a:lnTo>
                <a:lnTo>
                  <a:pt x="384" y="352"/>
                </a:lnTo>
                <a:lnTo>
                  <a:pt x="384" y="354"/>
                </a:lnTo>
                <a:lnTo>
                  <a:pt x="382" y="354"/>
                </a:lnTo>
                <a:lnTo>
                  <a:pt x="380" y="356"/>
                </a:lnTo>
                <a:lnTo>
                  <a:pt x="378" y="360"/>
                </a:lnTo>
                <a:lnTo>
                  <a:pt x="376" y="362"/>
                </a:lnTo>
                <a:lnTo>
                  <a:pt x="376" y="366"/>
                </a:lnTo>
                <a:lnTo>
                  <a:pt x="376" y="370"/>
                </a:lnTo>
                <a:lnTo>
                  <a:pt x="376" y="374"/>
                </a:lnTo>
                <a:lnTo>
                  <a:pt x="374" y="380"/>
                </a:lnTo>
                <a:lnTo>
                  <a:pt x="370" y="380"/>
                </a:lnTo>
                <a:lnTo>
                  <a:pt x="370" y="378"/>
                </a:lnTo>
                <a:lnTo>
                  <a:pt x="368" y="370"/>
                </a:lnTo>
                <a:lnTo>
                  <a:pt x="366" y="364"/>
                </a:lnTo>
                <a:lnTo>
                  <a:pt x="362" y="356"/>
                </a:lnTo>
                <a:lnTo>
                  <a:pt x="360" y="354"/>
                </a:lnTo>
                <a:lnTo>
                  <a:pt x="352" y="352"/>
                </a:lnTo>
                <a:lnTo>
                  <a:pt x="350" y="350"/>
                </a:lnTo>
                <a:lnTo>
                  <a:pt x="346" y="348"/>
                </a:lnTo>
                <a:lnTo>
                  <a:pt x="348" y="338"/>
                </a:lnTo>
                <a:lnTo>
                  <a:pt x="346" y="334"/>
                </a:lnTo>
                <a:lnTo>
                  <a:pt x="342" y="330"/>
                </a:lnTo>
                <a:lnTo>
                  <a:pt x="338" y="318"/>
                </a:lnTo>
                <a:lnTo>
                  <a:pt x="330" y="318"/>
                </a:lnTo>
                <a:lnTo>
                  <a:pt x="330" y="308"/>
                </a:lnTo>
                <a:lnTo>
                  <a:pt x="316" y="312"/>
                </a:lnTo>
                <a:lnTo>
                  <a:pt x="316" y="306"/>
                </a:lnTo>
                <a:lnTo>
                  <a:pt x="304" y="310"/>
                </a:lnTo>
                <a:lnTo>
                  <a:pt x="298" y="312"/>
                </a:lnTo>
                <a:lnTo>
                  <a:pt x="294" y="312"/>
                </a:lnTo>
                <a:lnTo>
                  <a:pt x="296" y="306"/>
                </a:lnTo>
                <a:lnTo>
                  <a:pt x="292" y="302"/>
                </a:lnTo>
                <a:lnTo>
                  <a:pt x="294" y="298"/>
                </a:lnTo>
                <a:lnTo>
                  <a:pt x="292" y="296"/>
                </a:lnTo>
                <a:lnTo>
                  <a:pt x="292" y="292"/>
                </a:lnTo>
                <a:lnTo>
                  <a:pt x="292" y="288"/>
                </a:lnTo>
                <a:lnTo>
                  <a:pt x="288" y="288"/>
                </a:lnTo>
                <a:lnTo>
                  <a:pt x="288" y="284"/>
                </a:lnTo>
                <a:lnTo>
                  <a:pt x="290" y="282"/>
                </a:lnTo>
                <a:lnTo>
                  <a:pt x="292" y="278"/>
                </a:lnTo>
                <a:lnTo>
                  <a:pt x="290" y="276"/>
                </a:lnTo>
                <a:lnTo>
                  <a:pt x="288" y="276"/>
                </a:lnTo>
                <a:lnTo>
                  <a:pt x="286" y="274"/>
                </a:lnTo>
                <a:lnTo>
                  <a:pt x="288" y="270"/>
                </a:lnTo>
                <a:lnTo>
                  <a:pt x="288" y="266"/>
                </a:lnTo>
                <a:lnTo>
                  <a:pt x="290" y="266"/>
                </a:lnTo>
                <a:lnTo>
                  <a:pt x="288" y="264"/>
                </a:lnTo>
                <a:lnTo>
                  <a:pt x="286" y="264"/>
                </a:lnTo>
                <a:lnTo>
                  <a:pt x="282" y="264"/>
                </a:lnTo>
                <a:lnTo>
                  <a:pt x="280" y="264"/>
                </a:lnTo>
                <a:lnTo>
                  <a:pt x="278" y="260"/>
                </a:lnTo>
                <a:lnTo>
                  <a:pt x="278" y="258"/>
                </a:lnTo>
                <a:lnTo>
                  <a:pt x="276" y="256"/>
                </a:lnTo>
                <a:lnTo>
                  <a:pt x="274" y="256"/>
                </a:lnTo>
                <a:lnTo>
                  <a:pt x="272" y="258"/>
                </a:lnTo>
                <a:lnTo>
                  <a:pt x="270" y="258"/>
                </a:lnTo>
                <a:lnTo>
                  <a:pt x="266" y="256"/>
                </a:lnTo>
                <a:lnTo>
                  <a:pt x="266" y="252"/>
                </a:lnTo>
                <a:lnTo>
                  <a:pt x="270" y="246"/>
                </a:lnTo>
                <a:lnTo>
                  <a:pt x="270" y="242"/>
                </a:lnTo>
                <a:lnTo>
                  <a:pt x="272" y="240"/>
                </a:lnTo>
                <a:lnTo>
                  <a:pt x="272" y="238"/>
                </a:lnTo>
                <a:lnTo>
                  <a:pt x="276" y="238"/>
                </a:lnTo>
                <a:lnTo>
                  <a:pt x="278" y="234"/>
                </a:lnTo>
                <a:lnTo>
                  <a:pt x="278" y="230"/>
                </a:lnTo>
                <a:lnTo>
                  <a:pt x="278" y="228"/>
                </a:lnTo>
                <a:lnTo>
                  <a:pt x="278" y="222"/>
                </a:lnTo>
                <a:lnTo>
                  <a:pt x="276" y="212"/>
                </a:lnTo>
                <a:lnTo>
                  <a:pt x="274" y="210"/>
                </a:lnTo>
                <a:lnTo>
                  <a:pt x="274" y="208"/>
                </a:lnTo>
                <a:lnTo>
                  <a:pt x="276" y="204"/>
                </a:lnTo>
                <a:lnTo>
                  <a:pt x="278" y="202"/>
                </a:lnTo>
                <a:lnTo>
                  <a:pt x="276" y="200"/>
                </a:lnTo>
                <a:lnTo>
                  <a:pt x="266" y="194"/>
                </a:lnTo>
                <a:lnTo>
                  <a:pt x="264" y="192"/>
                </a:lnTo>
                <a:lnTo>
                  <a:pt x="262" y="190"/>
                </a:lnTo>
                <a:lnTo>
                  <a:pt x="260" y="188"/>
                </a:lnTo>
                <a:lnTo>
                  <a:pt x="256" y="188"/>
                </a:lnTo>
                <a:lnTo>
                  <a:pt x="252" y="186"/>
                </a:lnTo>
                <a:lnTo>
                  <a:pt x="248" y="186"/>
                </a:lnTo>
                <a:lnTo>
                  <a:pt x="248" y="182"/>
                </a:lnTo>
                <a:lnTo>
                  <a:pt x="252" y="180"/>
                </a:lnTo>
                <a:lnTo>
                  <a:pt x="252" y="174"/>
                </a:lnTo>
                <a:lnTo>
                  <a:pt x="248" y="172"/>
                </a:lnTo>
                <a:lnTo>
                  <a:pt x="252" y="168"/>
                </a:lnTo>
                <a:lnTo>
                  <a:pt x="252" y="166"/>
                </a:lnTo>
                <a:lnTo>
                  <a:pt x="246" y="164"/>
                </a:lnTo>
                <a:lnTo>
                  <a:pt x="244" y="158"/>
                </a:lnTo>
                <a:lnTo>
                  <a:pt x="242" y="154"/>
                </a:lnTo>
                <a:lnTo>
                  <a:pt x="242" y="152"/>
                </a:lnTo>
                <a:lnTo>
                  <a:pt x="244" y="150"/>
                </a:lnTo>
                <a:lnTo>
                  <a:pt x="270" y="136"/>
                </a:lnTo>
                <a:lnTo>
                  <a:pt x="270" y="132"/>
                </a:lnTo>
                <a:lnTo>
                  <a:pt x="262" y="132"/>
                </a:lnTo>
                <a:lnTo>
                  <a:pt x="258" y="110"/>
                </a:lnTo>
                <a:lnTo>
                  <a:pt x="264" y="104"/>
                </a:lnTo>
                <a:lnTo>
                  <a:pt x="262" y="102"/>
                </a:lnTo>
                <a:lnTo>
                  <a:pt x="262" y="96"/>
                </a:lnTo>
                <a:lnTo>
                  <a:pt x="262" y="90"/>
                </a:lnTo>
                <a:lnTo>
                  <a:pt x="260" y="86"/>
                </a:lnTo>
                <a:lnTo>
                  <a:pt x="256" y="86"/>
                </a:lnTo>
                <a:lnTo>
                  <a:pt x="254" y="84"/>
                </a:lnTo>
                <a:lnTo>
                  <a:pt x="252" y="86"/>
                </a:lnTo>
                <a:lnTo>
                  <a:pt x="246" y="84"/>
                </a:lnTo>
                <a:lnTo>
                  <a:pt x="242" y="82"/>
                </a:lnTo>
                <a:lnTo>
                  <a:pt x="240" y="80"/>
                </a:lnTo>
                <a:lnTo>
                  <a:pt x="238" y="78"/>
                </a:lnTo>
                <a:lnTo>
                  <a:pt x="236" y="78"/>
                </a:lnTo>
                <a:lnTo>
                  <a:pt x="228" y="76"/>
                </a:lnTo>
                <a:lnTo>
                  <a:pt x="228" y="68"/>
                </a:lnTo>
                <a:lnTo>
                  <a:pt x="226" y="66"/>
                </a:lnTo>
                <a:lnTo>
                  <a:pt x="226" y="64"/>
                </a:lnTo>
                <a:lnTo>
                  <a:pt x="226" y="60"/>
                </a:lnTo>
                <a:lnTo>
                  <a:pt x="226" y="58"/>
                </a:lnTo>
                <a:lnTo>
                  <a:pt x="224" y="58"/>
                </a:lnTo>
                <a:lnTo>
                  <a:pt x="222" y="56"/>
                </a:lnTo>
                <a:lnTo>
                  <a:pt x="220" y="54"/>
                </a:lnTo>
                <a:lnTo>
                  <a:pt x="220" y="48"/>
                </a:lnTo>
                <a:lnTo>
                  <a:pt x="220" y="46"/>
                </a:lnTo>
                <a:lnTo>
                  <a:pt x="220" y="44"/>
                </a:lnTo>
                <a:lnTo>
                  <a:pt x="214" y="44"/>
                </a:lnTo>
                <a:lnTo>
                  <a:pt x="212" y="42"/>
                </a:lnTo>
                <a:lnTo>
                  <a:pt x="212" y="38"/>
                </a:lnTo>
                <a:lnTo>
                  <a:pt x="208" y="36"/>
                </a:lnTo>
                <a:lnTo>
                  <a:pt x="208" y="32"/>
                </a:lnTo>
                <a:lnTo>
                  <a:pt x="206" y="30"/>
                </a:lnTo>
                <a:lnTo>
                  <a:pt x="208" y="28"/>
                </a:lnTo>
                <a:lnTo>
                  <a:pt x="210" y="26"/>
                </a:lnTo>
                <a:lnTo>
                  <a:pt x="212" y="26"/>
                </a:lnTo>
                <a:lnTo>
                  <a:pt x="206" y="22"/>
                </a:lnTo>
                <a:lnTo>
                  <a:pt x="204" y="22"/>
                </a:lnTo>
                <a:lnTo>
                  <a:pt x="202" y="20"/>
                </a:lnTo>
                <a:lnTo>
                  <a:pt x="200" y="12"/>
                </a:lnTo>
                <a:lnTo>
                  <a:pt x="206" y="4"/>
                </a:lnTo>
                <a:lnTo>
                  <a:pt x="206" y="0"/>
                </a:lnTo>
                <a:lnTo>
                  <a:pt x="138" y="20"/>
                </a:lnTo>
                <a:lnTo>
                  <a:pt x="104" y="30"/>
                </a:lnTo>
                <a:lnTo>
                  <a:pt x="56" y="78"/>
                </a:lnTo>
                <a:lnTo>
                  <a:pt x="14" y="126"/>
                </a:lnTo>
                <a:lnTo>
                  <a:pt x="16" y="130"/>
                </a:lnTo>
                <a:lnTo>
                  <a:pt x="18" y="134"/>
                </a:lnTo>
                <a:lnTo>
                  <a:pt x="22" y="140"/>
                </a:lnTo>
                <a:lnTo>
                  <a:pt x="20" y="146"/>
                </a:lnTo>
                <a:lnTo>
                  <a:pt x="16" y="146"/>
                </a:lnTo>
                <a:lnTo>
                  <a:pt x="12" y="140"/>
                </a:lnTo>
                <a:lnTo>
                  <a:pt x="0" y="138"/>
                </a:lnTo>
                <a:lnTo>
                  <a:pt x="0" y="140"/>
                </a:lnTo>
                <a:lnTo>
                  <a:pt x="2" y="140"/>
                </a:lnTo>
                <a:lnTo>
                  <a:pt x="2" y="144"/>
                </a:lnTo>
                <a:lnTo>
                  <a:pt x="4" y="146"/>
                </a:lnTo>
                <a:lnTo>
                  <a:pt x="8" y="146"/>
                </a:lnTo>
                <a:lnTo>
                  <a:pt x="8" y="148"/>
                </a:lnTo>
                <a:lnTo>
                  <a:pt x="12" y="156"/>
                </a:lnTo>
                <a:lnTo>
                  <a:pt x="14" y="162"/>
                </a:lnTo>
                <a:lnTo>
                  <a:pt x="16" y="164"/>
                </a:lnTo>
                <a:lnTo>
                  <a:pt x="16" y="166"/>
                </a:lnTo>
                <a:lnTo>
                  <a:pt x="16" y="170"/>
                </a:lnTo>
                <a:lnTo>
                  <a:pt x="14" y="180"/>
                </a:lnTo>
                <a:lnTo>
                  <a:pt x="14" y="182"/>
                </a:lnTo>
                <a:lnTo>
                  <a:pt x="16" y="184"/>
                </a:lnTo>
                <a:lnTo>
                  <a:pt x="18" y="184"/>
                </a:lnTo>
                <a:lnTo>
                  <a:pt x="22" y="180"/>
                </a:lnTo>
                <a:lnTo>
                  <a:pt x="26" y="176"/>
                </a:lnTo>
                <a:lnTo>
                  <a:pt x="30" y="176"/>
                </a:lnTo>
                <a:lnTo>
                  <a:pt x="30" y="180"/>
                </a:lnTo>
                <a:lnTo>
                  <a:pt x="34" y="184"/>
                </a:lnTo>
                <a:lnTo>
                  <a:pt x="38" y="192"/>
                </a:lnTo>
                <a:lnTo>
                  <a:pt x="44" y="192"/>
                </a:lnTo>
                <a:lnTo>
                  <a:pt x="48" y="200"/>
                </a:lnTo>
                <a:lnTo>
                  <a:pt x="52" y="202"/>
                </a:lnTo>
                <a:lnTo>
                  <a:pt x="56" y="204"/>
                </a:lnTo>
                <a:lnTo>
                  <a:pt x="62" y="208"/>
                </a:lnTo>
                <a:lnTo>
                  <a:pt x="68" y="210"/>
                </a:lnTo>
                <a:lnTo>
                  <a:pt x="68" y="212"/>
                </a:lnTo>
                <a:lnTo>
                  <a:pt x="70" y="220"/>
                </a:lnTo>
                <a:lnTo>
                  <a:pt x="70" y="222"/>
                </a:lnTo>
                <a:lnTo>
                  <a:pt x="78" y="224"/>
                </a:lnTo>
                <a:lnTo>
                  <a:pt x="80" y="224"/>
                </a:lnTo>
                <a:lnTo>
                  <a:pt x="82" y="226"/>
                </a:lnTo>
                <a:lnTo>
                  <a:pt x="82" y="228"/>
                </a:lnTo>
                <a:lnTo>
                  <a:pt x="80" y="230"/>
                </a:lnTo>
                <a:lnTo>
                  <a:pt x="74" y="234"/>
                </a:lnTo>
                <a:lnTo>
                  <a:pt x="74" y="236"/>
                </a:lnTo>
                <a:lnTo>
                  <a:pt x="86" y="236"/>
                </a:lnTo>
                <a:lnTo>
                  <a:pt x="90" y="236"/>
                </a:lnTo>
                <a:lnTo>
                  <a:pt x="92" y="236"/>
                </a:lnTo>
                <a:lnTo>
                  <a:pt x="92" y="238"/>
                </a:lnTo>
                <a:lnTo>
                  <a:pt x="92" y="240"/>
                </a:lnTo>
                <a:lnTo>
                  <a:pt x="90" y="240"/>
                </a:lnTo>
                <a:lnTo>
                  <a:pt x="86" y="244"/>
                </a:lnTo>
                <a:lnTo>
                  <a:pt x="84" y="248"/>
                </a:lnTo>
                <a:lnTo>
                  <a:pt x="82" y="252"/>
                </a:lnTo>
                <a:lnTo>
                  <a:pt x="80" y="254"/>
                </a:lnTo>
                <a:lnTo>
                  <a:pt x="74" y="258"/>
                </a:lnTo>
                <a:lnTo>
                  <a:pt x="74" y="262"/>
                </a:lnTo>
                <a:lnTo>
                  <a:pt x="78" y="264"/>
                </a:lnTo>
                <a:lnTo>
                  <a:pt x="80" y="264"/>
                </a:lnTo>
                <a:lnTo>
                  <a:pt x="86" y="270"/>
                </a:lnTo>
                <a:lnTo>
                  <a:pt x="86" y="272"/>
                </a:lnTo>
                <a:lnTo>
                  <a:pt x="88" y="282"/>
                </a:lnTo>
                <a:lnTo>
                  <a:pt x="88" y="284"/>
                </a:lnTo>
                <a:lnTo>
                  <a:pt x="90" y="284"/>
                </a:lnTo>
                <a:lnTo>
                  <a:pt x="90" y="288"/>
                </a:lnTo>
                <a:lnTo>
                  <a:pt x="90" y="290"/>
                </a:lnTo>
                <a:lnTo>
                  <a:pt x="96" y="298"/>
                </a:lnTo>
                <a:lnTo>
                  <a:pt x="100" y="300"/>
                </a:lnTo>
                <a:lnTo>
                  <a:pt x="102" y="302"/>
                </a:lnTo>
                <a:lnTo>
                  <a:pt x="104" y="306"/>
                </a:lnTo>
                <a:lnTo>
                  <a:pt x="104" y="308"/>
                </a:lnTo>
                <a:lnTo>
                  <a:pt x="102" y="312"/>
                </a:lnTo>
                <a:lnTo>
                  <a:pt x="102" y="314"/>
                </a:lnTo>
                <a:lnTo>
                  <a:pt x="100" y="316"/>
                </a:lnTo>
                <a:lnTo>
                  <a:pt x="102" y="320"/>
                </a:lnTo>
                <a:lnTo>
                  <a:pt x="104" y="326"/>
                </a:lnTo>
                <a:lnTo>
                  <a:pt x="104" y="328"/>
                </a:lnTo>
                <a:lnTo>
                  <a:pt x="100" y="334"/>
                </a:lnTo>
                <a:lnTo>
                  <a:pt x="104" y="334"/>
                </a:lnTo>
                <a:lnTo>
                  <a:pt x="106" y="336"/>
                </a:lnTo>
                <a:lnTo>
                  <a:pt x="108" y="344"/>
                </a:lnTo>
                <a:lnTo>
                  <a:pt x="112" y="344"/>
                </a:lnTo>
                <a:lnTo>
                  <a:pt x="114" y="344"/>
                </a:lnTo>
                <a:lnTo>
                  <a:pt x="114" y="342"/>
                </a:lnTo>
                <a:lnTo>
                  <a:pt x="114" y="338"/>
                </a:lnTo>
                <a:lnTo>
                  <a:pt x="118" y="336"/>
                </a:lnTo>
                <a:lnTo>
                  <a:pt x="122" y="342"/>
                </a:lnTo>
                <a:lnTo>
                  <a:pt x="122" y="344"/>
                </a:lnTo>
                <a:lnTo>
                  <a:pt x="124" y="344"/>
                </a:lnTo>
                <a:lnTo>
                  <a:pt x="124" y="346"/>
                </a:lnTo>
                <a:lnTo>
                  <a:pt x="130" y="350"/>
                </a:lnTo>
                <a:lnTo>
                  <a:pt x="140" y="356"/>
                </a:lnTo>
                <a:lnTo>
                  <a:pt x="142" y="356"/>
                </a:lnTo>
                <a:lnTo>
                  <a:pt x="148" y="356"/>
                </a:lnTo>
                <a:lnTo>
                  <a:pt x="150" y="354"/>
                </a:lnTo>
                <a:lnTo>
                  <a:pt x="154" y="354"/>
                </a:lnTo>
                <a:lnTo>
                  <a:pt x="158" y="354"/>
                </a:lnTo>
                <a:lnTo>
                  <a:pt x="160" y="356"/>
                </a:lnTo>
                <a:lnTo>
                  <a:pt x="160" y="360"/>
                </a:lnTo>
                <a:lnTo>
                  <a:pt x="164" y="360"/>
                </a:lnTo>
                <a:lnTo>
                  <a:pt x="166" y="362"/>
                </a:lnTo>
                <a:lnTo>
                  <a:pt x="170" y="364"/>
                </a:lnTo>
                <a:lnTo>
                  <a:pt x="170" y="366"/>
                </a:lnTo>
                <a:lnTo>
                  <a:pt x="170" y="370"/>
                </a:lnTo>
                <a:lnTo>
                  <a:pt x="174" y="374"/>
                </a:lnTo>
                <a:lnTo>
                  <a:pt x="176" y="380"/>
                </a:lnTo>
                <a:lnTo>
                  <a:pt x="174" y="384"/>
                </a:lnTo>
                <a:lnTo>
                  <a:pt x="174" y="386"/>
                </a:lnTo>
                <a:lnTo>
                  <a:pt x="174" y="388"/>
                </a:lnTo>
                <a:lnTo>
                  <a:pt x="174" y="390"/>
                </a:lnTo>
                <a:lnTo>
                  <a:pt x="176" y="392"/>
                </a:lnTo>
                <a:lnTo>
                  <a:pt x="178" y="392"/>
                </a:lnTo>
                <a:lnTo>
                  <a:pt x="182" y="396"/>
                </a:lnTo>
                <a:lnTo>
                  <a:pt x="184" y="396"/>
                </a:lnTo>
                <a:lnTo>
                  <a:pt x="186" y="396"/>
                </a:lnTo>
                <a:lnTo>
                  <a:pt x="188" y="396"/>
                </a:lnTo>
                <a:lnTo>
                  <a:pt x="190" y="396"/>
                </a:lnTo>
                <a:lnTo>
                  <a:pt x="192" y="392"/>
                </a:lnTo>
                <a:lnTo>
                  <a:pt x="196" y="396"/>
                </a:lnTo>
                <a:lnTo>
                  <a:pt x="200" y="392"/>
                </a:lnTo>
                <a:lnTo>
                  <a:pt x="202" y="392"/>
                </a:lnTo>
                <a:lnTo>
                  <a:pt x="204" y="390"/>
                </a:lnTo>
                <a:lnTo>
                  <a:pt x="204" y="388"/>
                </a:lnTo>
                <a:lnTo>
                  <a:pt x="204" y="386"/>
                </a:lnTo>
                <a:lnTo>
                  <a:pt x="202" y="382"/>
                </a:lnTo>
                <a:lnTo>
                  <a:pt x="200" y="380"/>
                </a:lnTo>
                <a:lnTo>
                  <a:pt x="200" y="378"/>
                </a:lnTo>
                <a:lnTo>
                  <a:pt x="200" y="372"/>
                </a:lnTo>
                <a:lnTo>
                  <a:pt x="202" y="370"/>
                </a:lnTo>
                <a:lnTo>
                  <a:pt x="204" y="368"/>
                </a:lnTo>
                <a:lnTo>
                  <a:pt x="206" y="368"/>
                </a:lnTo>
                <a:lnTo>
                  <a:pt x="208" y="368"/>
                </a:lnTo>
                <a:lnTo>
                  <a:pt x="212" y="368"/>
                </a:lnTo>
                <a:lnTo>
                  <a:pt x="212" y="370"/>
                </a:lnTo>
                <a:lnTo>
                  <a:pt x="212" y="372"/>
                </a:lnTo>
                <a:lnTo>
                  <a:pt x="212" y="374"/>
                </a:lnTo>
                <a:lnTo>
                  <a:pt x="210" y="378"/>
                </a:lnTo>
                <a:lnTo>
                  <a:pt x="210" y="380"/>
                </a:lnTo>
                <a:lnTo>
                  <a:pt x="212" y="384"/>
                </a:lnTo>
                <a:lnTo>
                  <a:pt x="212" y="386"/>
                </a:lnTo>
                <a:lnTo>
                  <a:pt x="214" y="388"/>
                </a:lnTo>
                <a:lnTo>
                  <a:pt x="214" y="390"/>
                </a:lnTo>
                <a:lnTo>
                  <a:pt x="212" y="392"/>
                </a:lnTo>
                <a:lnTo>
                  <a:pt x="210" y="396"/>
                </a:lnTo>
                <a:lnTo>
                  <a:pt x="208" y="398"/>
                </a:lnTo>
                <a:lnTo>
                  <a:pt x="208" y="400"/>
                </a:lnTo>
                <a:lnTo>
                  <a:pt x="210" y="400"/>
                </a:lnTo>
                <a:lnTo>
                  <a:pt x="212" y="402"/>
                </a:lnTo>
                <a:lnTo>
                  <a:pt x="214" y="402"/>
                </a:lnTo>
                <a:lnTo>
                  <a:pt x="218" y="402"/>
                </a:lnTo>
                <a:lnTo>
                  <a:pt x="222" y="402"/>
                </a:lnTo>
                <a:lnTo>
                  <a:pt x="222" y="404"/>
                </a:lnTo>
                <a:lnTo>
                  <a:pt x="222" y="406"/>
                </a:lnTo>
                <a:lnTo>
                  <a:pt x="220" y="408"/>
                </a:lnTo>
                <a:lnTo>
                  <a:pt x="220" y="414"/>
                </a:lnTo>
                <a:lnTo>
                  <a:pt x="220" y="416"/>
                </a:lnTo>
                <a:lnTo>
                  <a:pt x="224" y="416"/>
                </a:lnTo>
                <a:lnTo>
                  <a:pt x="226" y="414"/>
                </a:lnTo>
                <a:lnTo>
                  <a:pt x="228" y="416"/>
                </a:lnTo>
                <a:lnTo>
                  <a:pt x="228" y="420"/>
                </a:lnTo>
                <a:lnTo>
                  <a:pt x="228" y="422"/>
                </a:lnTo>
                <a:lnTo>
                  <a:pt x="228" y="424"/>
                </a:lnTo>
                <a:lnTo>
                  <a:pt x="226" y="432"/>
                </a:lnTo>
                <a:lnTo>
                  <a:pt x="228" y="434"/>
                </a:lnTo>
                <a:lnTo>
                  <a:pt x="230" y="434"/>
                </a:lnTo>
                <a:lnTo>
                  <a:pt x="234" y="434"/>
                </a:lnTo>
                <a:lnTo>
                  <a:pt x="236" y="434"/>
                </a:lnTo>
                <a:lnTo>
                  <a:pt x="240" y="432"/>
                </a:lnTo>
                <a:lnTo>
                  <a:pt x="244" y="428"/>
                </a:lnTo>
                <a:lnTo>
                  <a:pt x="246" y="428"/>
                </a:lnTo>
                <a:lnTo>
                  <a:pt x="246" y="432"/>
                </a:lnTo>
                <a:lnTo>
                  <a:pt x="248" y="434"/>
                </a:lnTo>
                <a:lnTo>
                  <a:pt x="252" y="434"/>
                </a:lnTo>
                <a:lnTo>
                  <a:pt x="252" y="436"/>
                </a:lnTo>
                <a:lnTo>
                  <a:pt x="254" y="438"/>
                </a:lnTo>
                <a:lnTo>
                  <a:pt x="256" y="444"/>
                </a:lnTo>
                <a:lnTo>
                  <a:pt x="256" y="450"/>
                </a:lnTo>
                <a:lnTo>
                  <a:pt x="256" y="452"/>
                </a:lnTo>
                <a:lnTo>
                  <a:pt x="254" y="456"/>
                </a:lnTo>
                <a:lnTo>
                  <a:pt x="248" y="458"/>
                </a:lnTo>
                <a:lnTo>
                  <a:pt x="246" y="458"/>
                </a:lnTo>
                <a:lnTo>
                  <a:pt x="244" y="458"/>
                </a:lnTo>
                <a:lnTo>
                  <a:pt x="242" y="458"/>
                </a:lnTo>
                <a:lnTo>
                  <a:pt x="240" y="460"/>
                </a:lnTo>
                <a:lnTo>
                  <a:pt x="238" y="460"/>
                </a:lnTo>
                <a:lnTo>
                  <a:pt x="240" y="462"/>
                </a:lnTo>
                <a:lnTo>
                  <a:pt x="242" y="464"/>
                </a:lnTo>
                <a:lnTo>
                  <a:pt x="244" y="468"/>
                </a:lnTo>
                <a:lnTo>
                  <a:pt x="246" y="468"/>
                </a:lnTo>
                <a:lnTo>
                  <a:pt x="246" y="470"/>
                </a:lnTo>
                <a:lnTo>
                  <a:pt x="246" y="472"/>
                </a:lnTo>
                <a:lnTo>
                  <a:pt x="246" y="474"/>
                </a:lnTo>
                <a:lnTo>
                  <a:pt x="246" y="476"/>
                </a:lnTo>
                <a:lnTo>
                  <a:pt x="248" y="478"/>
                </a:lnTo>
                <a:lnTo>
                  <a:pt x="252" y="480"/>
                </a:lnTo>
                <a:lnTo>
                  <a:pt x="254" y="480"/>
                </a:lnTo>
                <a:lnTo>
                  <a:pt x="256" y="480"/>
                </a:lnTo>
                <a:lnTo>
                  <a:pt x="258" y="480"/>
                </a:lnTo>
                <a:lnTo>
                  <a:pt x="262" y="474"/>
                </a:lnTo>
                <a:lnTo>
                  <a:pt x="264" y="472"/>
                </a:lnTo>
                <a:lnTo>
                  <a:pt x="266" y="472"/>
                </a:lnTo>
                <a:lnTo>
                  <a:pt x="272" y="472"/>
                </a:lnTo>
                <a:lnTo>
                  <a:pt x="274" y="472"/>
                </a:lnTo>
                <a:lnTo>
                  <a:pt x="274" y="474"/>
                </a:lnTo>
                <a:lnTo>
                  <a:pt x="276" y="476"/>
                </a:lnTo>
                <a:lnTo>
                  <a:pt x="276" y="478"/>
                </a:lnTo>
                <a:lnTo>
                  <a:pt x="278" y="478"/>
                </a:lnTo>
                <a:lnTo>
                  <a:pt x="280" y="478"/>
                </a:lnTo>
                <a:lnTo>
                  <a:pt x="280" y="476"/>
                </a:lnTo>
                <a:lnTo>
                  <a:pt x="286" y="476"/>
                </a:lnTo>
                <a:lnTo>
                  <a:pt x="292" y="474"/>
                </a:lnTo>
                <a:lnTo>
                  <a:pt x="294" y="476"/>
                </a:lnTo>
                <a:lnTo>
                  <a:pt x="296" y="476"/>
                </a:lnTo>
                <a:lnTo>
                  <a:pt x="298" y="478"/>
                </a:lnTo>
                <a:lnTo>
                  <a:pt x="300" y="478"/>
                </a:lnTo>
                <a:lnTo>
                  <a:pt x="304" y="480"/>
                </a:lnTo>
                <a:lnTo>
                  <a:pt x="306" y="482"/>
                </a:lnTo>
                <a:lnTo>
                  <a:pt x="308" y="488"/>
                </a:lnTo>
                <a:lnTo>
                  <a:pt x="308" y="490"/>
                </a:lnTo>
                <a:lnTo>
                  <a:pt x="308" y="492"/>
                </a:lnTo>
                <a:lnTo>
                  <a:pt x="308" y="494"/>
                </a:lnTo>
                <a:lnTo>
                  <a:pt x="310" y="496"/>
                </a:lnTo>
                <a:lnTo>
                  <a:pt x="314" y="498"/>
                </a:lnTo>
                <a:lnTo>
                  <a:pt x="318" y="498"/>
                </a:lnTo>
                <a:lnTo>
                  <a:pt x="322" y="498"/>
                </a:lnTo>
                <a:lnTo>
                  <a:pt x="322" y="500"/>
                </a:lnTo>
                <a:lnTo>
                  <a:pt x="324" y="504"/>
                </a:lnTo>
                <a:lnTo>
                  <a:pt x="324" y="506"/>
                </a:lnTo>
                <a:lnTo>
                  <a:pt x="326" y="506"/>
                </a:lnTo>
                <a:lnTo>
                  <a:pt x="328" y="506"/>
                </a:lnTo>
                <a:lnTo>
                  <a:pt x="328" y="504"/>
                </a:lnTo>
                <a:lnTo>
                  <a:pt x="328" y="500"/>
                </a:lnTo>
                <a:lnTo>
                  <a:pt x="328" y="498"/>
                </a:lnTo>
                <a:lnTo>
                  <a:pt x="328" y="492"/>
                </a:lnTo>
                <a:lnTo>
                  <a:pt x="326" y="490"/>
                </a:lnTo>
                <a:lnTo>
                  <a:pt x="326" y="488"/>
                </a:lnTo>
                <a:lnTo>
                  <a:pt x="328" y="488"/>
                </a:lnTo>
                <a:lnTo>
                  <a:pt x="330" y="488"/>
                </a:lnTo>
                <a:lnTo>
                  <a:pt x="332" y="488"/>
                </a:lnTo>
                <a:lnTo>
                  <a:pt x="332" y="492"/>
                </a:lnTo>
                <a:lnTo>
                  <a:pt x="334" y="494"/>
                </a:lnTo>
                <a:lnTo>
                  <a:pt x="338" y="496"/>
                </a:lnTo>
                <a:lnTo>
                  <a:pt x="342" y="498"/>
                </a:lnTo>
                <a:lnTo>
                  <a:pt x="346" y="496"/>
                </a:lnTo>
                <a:lnTo>
                  <a:pt x="350" y="496"/>
                </a:lnTo>
                <a:lnTo>
                  <a:pt x="352" y="498"/>
                </a:lnTo>
                <a:lnTo>
                  <a:pt x="356" y="500"/>
                </a:lnTo>
                <a:lnTo>
                  <a:pt x="358" y="500"/>
                </a:lnTo>
                <a:lnTo>
                  <a:pt x="360" y="500"/>
                </a:lnTo>
                <a:lnTo>
                  <a:pt x="360" y="498"/>
                </a:lnTo>
                <a:lnTo>
                  <a:pt x="362" y="496"/>
                </a:lnTo>
                <a:lnTo>
                  <a:pt x="364" y="494"/>
                </a:lnTo>
                <a:lnTo>
                  <a:pt x="368" y="492"/>
                </a:lnTo>
                <a:lnTo>
                  <a:pt x="370" y="494"/>
                </a:lnTo>
                <a:lnTo>
                  <a:pt x="374" y="496"/>
                </a:lnTo>
                <a:lnTo>
                  <a:pt x="374" y="494"/>
                </a:lnTo>
                <a:lnTo>
                  <a:pt x="376" y="494"/>
                </a:lnTo>
                <a:lnTo>
                  <a:pt x="376" y="492"/>
                </a:lnTo>
                <a:lnTo>
                  <a:pt x="378" y="492"/>
                </a:lnTo>
                <a:lnTo>
                  <a:pt x="380" y="492"/>
                </a:lnTo>
                <a:lnTo>
                  <a:pt x="382" y="492"/>
                </a:lnTo>
                <a:lnTo>
                  <a:pt x="386" y="488"/>
                </a:lnTo>
                <a:lnTo>
                  <a:pt x="390" y="488"/>
                </a:lnTo>
                <a:lnTo>
                  <a:pt x="392" y="488"/>
                </a:lnTo>
                <a:lnTo>
                  <a:pt x="394" y="488"/>
                </a:lnTo>
                <a:lnTo>
                  <a:pt x="396" y="490"/>
                </a:lnTo>
                <a:lnTo>
                  <a:pt x="396" y="492"/>
                </a:lnTo>
                <a:lnTo>
                  <a:pt x="396" y="494"/>
                </a:lnTo>
                <a:lnTo>
                  <a:pt x="394" y="498"/>
                </a:lnTo>
                <a:lnTo>
                  <a:pt x="398" y="498"/>
                </a:lnTo>
                <a:lnTo>
                  <a:pt x="402" y="498"/>
                </a:lnTo>
                <a:lnTo>
                  <a:pt x="402" y="500"/>
                </a:lnTo>
                <a:lnTo>
                  <a:pt x="404" y="500"/>
                </a:lnTo>
                <a:lnTo>
                  <a:pt x="404" y="504"/>
                </a:lnTo>
                <a:lnTo>
                  <a:pt x="408" y="506"/>
                </a:lnTo>
                <a:lnTo>
                  <a:pt x="410" y="506"/>
                </a:lnTo>
                <a:lnTo>
                  <a:pt x="412" y="504"/>
                </a:lnTo>
                <a:lnTo>
                  <a:pt x="414" y="506"/>
                </a:lnTo>
                <a:lnTo>
                  <a:pt x="414" y="508"/>
                </a:lnTo>
                <a:lnTo>
                  <a:pt x="414" y="512"/>
                </a:lnTo>
                <a:lnTo>
                  <a:pt x="414" y="514"/>
                </a:lnTo>
                <a:lnTo>
                  <a:pt x="414" y="516"/>
                </a:lnTo>
                <a:lnTo>
                  <a:pt x="416" y="516"/>
                </a:lnTo>
                <a:lnTo>
                  <a:pt x="416" y="518"/>
                </a:lnTo>
                <a:lnTo>
                  <a:pt x="416" y="522"/>
                </a:lnTo>
                <a:lnTo>
                  <a:pt x="416" y="524"/>
                </a:lnTo>
                <a:lnTo>
                  <a:pt x="418" y="524"/>
                </a:lnTo>
                <a:lnTo>
                  <a:pt x="420" y="524"/>
                </a:lnTo>
                <a:lnTo>
                  <a:pt x="422" y="522"/>
                </a:lnTo>
                <a:lnTo>
                  <a:pt x="422" y="518"/>
                </a:lnTo>
                <a:lnTo>
                  <a:pt x="426" y="518"/>
                </a:lnTo>
                <a:lnTo>
                  <a:pt x="428" y="522"/>
                </a:lnTo>
                <a:lnTo>
                  <a:pt x="430" y="524"/>
                </a:lnTo>
                <a:lnTo>
                  <a:pt x="430" y="526"/>
                </a:lnTo>
                <a:lnTo>
                  <a:pt x="434" y="526"/>
                </a:lnTo>
                <a:lnTo>
                  <a:pt x="438" y="524"/>
                </a:lnTo>
                <a:close/>
              </a:path>
            </a:pathLst>
          </a:custGeom>
          <a:solidFill>
            <a:srgbClr val="666766"/>
          </a:solidFill>
          <a:ln w="6350">
            <a:solidFill>
              <a:schemeClr val="tx1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457200">
              <a:defRPr/>
            </a:pPr>
            <a:endParaRPr lang="en-US" kern="0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64" name="Freeform 42">
            <a:extLst>
              <a:ext uri="{FF2B5EF4-FFF2-40B4-BE49-F238E27FC236}">
                <a16:creationId xmlns:a16="http://schemas.microsoft.com/office/drawing/2014/main" id="{56BC7181-0D05-47EE-B324-D7EF5A8702FD}"/>
              </a:ext>
            </a:extLst>
          </p:cNvPr>
          <p:cNvSpPr>
            <a:spLocks/>
          </p:cNvSpPr>
          <p:nvPr/>
        </p:nvSpPr>
        <p:spPr bwMode="auto">
          <a:xfrm>
            <a:off x="2613660" y="5425440"/>
            <a:ext cx="779780" cy="500380"/>
          </a:xfrm>
          <a:custGeom>
            <a:avLst/>
            <a:gdLst>
              <a:gd name="T0" fmla="*/ 2147483646 w 614"/>
              <a:gd name="T1" fmla="*/ 2147483646 h 394"/>
              <a:gd name="T2" fmla="*/ 2147483646 w 614"/>
              <a:gd name="T3" fmla="*/ 2147483646 h 394"/>
              <a:gd name="T4" fmla="*/ 2147483646 w 614"/>
              <a:gd name="T5" fmla="*/ 2147483646 h 394"/>
              <a:gd name="T6" fmla="*/ 2147483646 w 614"/>
              <a:gd name="T7" fmla="*/ 2147483646 h 394"/>
              <a:gd name="T8" fmla="*/ 2147483646 w 614"/>
              <a:gd name="T9" fmla="*/ 2147483646 h 394"/>
              <a:gd name="T10" fmla="*/ 2147483646 w 614"/>
              <a:gd name="T11" fmla="*/ 2147483646 h 394"/>
              <a:gd name="T12" fmla="*/ 2147483646 w 614"/>
              <a:gd name="T13" fmla="*/ 2147483646 h 394"/>
              <a:gd name="T14" fmla="*/ 2147483646 w 614"/>
              <a:gd name="T15" fmla="*/ 2147483646 h 394"/>
              <a:gd name="T16" fmla="*/ 2147483646 w 614"/>
              <a:gd name="T17" fmla="*/ 2147483646 h 394"/>
              <a:gd name="T18" fmla="*/ 2147483646 w 614"/>
              <a:gd name="T19" fmla="*/ 2147483646 h 394"/>
              <a:gd name="T20" fmla="*/ 2147483646 w 614"/>
              <a:gd name="T21" fmla="*/ 2147483646 h 394"/>
              <a:gd name="T22" fmla="*/ 2147483646 w 614"/>
              <a:gd name="T23" fmla="*/ 2147483646 h 394"/>
              <a:gd name="T24" fmla="*/ 2147483646 w 614"/>
              <a:gd name="T25" fmla="*/ 2147483646 h 394"/>
              <a:gd name="T26" fmla="*/ 2147483646 w 614"/>
              <a:gd name="T27" fmla="*/ 2147483646 h 394"/>
              <a:gd name="T28" fmla="*/ 2147483646 w 614"/>
              <a:gd name="T29" fmla="*/ 2147483646 h 394"/>
              <a:gd name="T30" fmla="*/ 2147483646 w 614"/>
              <a:gd name="T31" fmla="*/ 2147483646 h 394"/>
              <a:gd name="T32" fmla="*/ 2147483646 w 614"/>
              <a:gd name="T33" fmla="*/ 2147483646 h 394"/>
              <a:gd name="T34" fmla="*/ 2147483646 w 614"/>
              <a:gd name="T35" fmla="*/ 2147483646 h 394"/>
              <a:gd name="T36" fmla="*/ 2147483646 w 614"/>
              <a:gd name="T37" fmla="*/ 2147483646 h 394"/>
              <a:gd name="T38" fmla="*/ 2147483646 w 614"/>
              <a:gd name="T39" fmla="*/ 2147483646 h 394"/>
              <a:gd name="T40" fmla="*/ 2147483646 w 614"/>
              <a:gd name="T41" fmla="*/ 2147483646 h 394"/>
              <a:gd name="T42" fmla="*/ 2147483646 w 614"/>
              <a:gd name="T43" fmla="*/ 2147483646 h 394"/>
              <a:gd name="T44" fmla="*/ 2147483646 w 614"/>
              <a:gd name="T45" fmla="*/ 2147483646 h 394"/>
              <a:gd name="T46" fmla="*/ 2147483646 w 614"/>
              <a:gd name="T47" fmla="*/ 2147483646 h 394"/>
              <a:gd name="T48" fmla="*/ 0 w 614"/>
              <a:gd name="T49" fmla="*/ 2147483646 h 394"/>
              <a:gd name="T50" fmla="*/ 2147483646 w 614"/>
              <a:gd name="T51" fmla="*/ 2147483646 h 394"/>
              <a:gd name="T52" fmla="*/ 2147483646 w 614"/>
              <a:gd name="T53" fmla="*/ 2147483646 h 394"/>
              <a:gd name="T54" fmla="*/ 2147483646 w 614"/>
              <a:gd name="T55" fmla="*/ 2147483646 h 394"/>
              <a:gd name="T56" fmla="*/ 2147483646 w 614"/>
              <a:gd name="T57" fmla="*/ 2147483646 h 394"/>
              <a:gd name="T58" fmla="*/ 2147483646 w 614"/>
              <a:gd name="T59" fmla="*/ 2147483646 h 394"/>
              <a:gd name="T60" fmla="*/ 2147483646 w 614"/>
              <a:gd name="T61" fmla="*/ 2147483646 h 394"/>
              <a:gd name="T62" fmla="*/ 2147483646 w 614"/>
              <a:gd name="T63" fmla="*/ 2147483646 h 394"/>
              <a:gd name="T64" fmla="*/ 2147483646 w 614"/>
              <a:gd name="T65" fmla="*/ 2147483646 h 394"/>
              <a:gd name="T66" fmla="*/ 2147483646 w 614"/>
              <a:gd name="T67" fmla="*/ 2147483646 h 394"/>
              <a:gd name="T68" fmla="*/ 2147483646 w 614"/>
              <a:gd name="T69" fmla="*/ 2147483646 h 394"/>
              <a:gd name="T70" fmla="*/ 2147483646 w 614"/>
              <a:gd name="T71" fmla="*/ 2147483646 h 394"/>
              <a:gd name="T72" fmla="*/ 2147483646 w 614"/>
              <a:gd name="T73" fmla="*/ 2147483646 h 394"/>
              <a:gd name="T74" fmla="*/ 2147483646 w 614"/>
              <a:gd name="T75" fmla="*/ 2147483646 h 394"/>
              <a:gd name="T76" fmla="*/ 2147483646 w 614"/>
              <a:gd name="T77" fmla="*/ 2147483646 h 394"/>
              <a:gd name="T78" fmla="*/ 2147483646 w 614"/>
              <a:gd name="T79" fmla="*/ 2147483646 h 394"/>
              <a:gd name="T80" fmla="*/ 2147483646 w 614"/>
              <a:gd name="T81" fmla="*/ 2147483646 h 394"/>
              <a:gd name="T82" fmla="*/ 2147483646 w 614"/>
              <a:gd name="T83" fmla="*/ 2147483646 h 394"/>
              <a:gd name="T84" fmla="*/ 2147483646 w 614"/>
              <a:gd name="T85" fmla="*/ 2147483646 h 394"/>
              <a:gd name="T86" fmla="*/ 2147483646 w 614"/>
              <a:gd name="T87" fmla="*/ 2147483646 h 394"/>
              <a:gd name="T88" fmla="*/ 2147483646 w 614"/>
              <a:gd name="T89" fmla="*/ 2147483646 h 394"/>
              <a:gd name="T90" fmla="*/ 2147483646 w 614"/>
              <a:gd name="T91" fmla="*/ 2147483646 h 394"/>
              <a:gd name="T92" fmla="*/ 2147483646 w 614"/>
              <a:gd name="T93" fmla="*/ 2147483646 h 394"/>
              <a:gd name="T94" fmla="*/ 2147483646 w 614"/>
              <a:gd name="T95" fmla="*/ 2147483646 h 394"/>
              <a:gd name="T96" fmla="*/ 2147483646 w 614"/>
              <a:gd name="T97" fmla="*/ 2147483646 h 394"/>
              <a:gd name="T98" fmla="*/ 2147483646 w 614"/>
              <a:gd name="T99" fmla="*/ 2147483646 h 394"/>
              <a:gd name="T100" fmla="*/ 2147483646 w 614"/>
              <a:gd name="T101" fmla="*/ 2147483646 h 394"/>
              <a:gd name="T102" fmla="*/ 2147483646 w 614"/>
              <a:gd name="T103" fmla="*/ 2147483646 h 394"/>
              <a:gd name="T104" fmla="*/ 2147483646 w 614"/>
              <a:gd name="T105" fmla="*/ 2147483646 h 394"/>
              <a:gd name="T106" fmla="*/ 2147483646 w 614"/>
              <a:gd name="T107" fmla="*/ 2147483646 h 394"/>
              <a:gd name="T108" fmla="*/ 2147483646 w 614"/>
              <a:gd name="T109" fmla="*/ 2147483646 h 394"/>
              <a:gd name="T110" fmla="*/ 2147483646 w 614"/>
              <a:gd name="T111" fmla="*/ 2147483646 h 394"/>
              <a:gd name="T112" fmla="*/ 2147483646 w 614"/>
              <a:gd name="T113" fmla="*/ 2147483646 h 394"/>
              <a:gd name="T114" fmla="*/ 2147483646 w 614"/>
              <a:gd name="T115" fmla="*/ 2147483646 h 394"/>
              <a:gd name="T116" fmla="*/ 2147483646 w 614"/>
              <a:gd name="T117" fmla="*/ 2147483646 h 394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w 614"/>
              <a:gd name="T178" fmla="*/ 0 h 394"/>
              <a:gd name="T179" fmla="*/ 614 w 614"/>
              <a:gd name="T180" fmla="*/ 394 h 394"/>
            </a:gdLst>
            <a:ahLst/>
            <a:cxnLst>
              <a:cxn ang="T118">
                <a:pos x="T0" y="T1"/>
              </a:cxn>
              <a:cxn ang="T119">
                <a:pos x="T2" y="T3"/>
              </a:cxn>
              <a:cxn ang="T120">
                <a:pos x="T4" y="T5"/>
              </a:cxn>
              <a:cxn ang="T121">
                <a:pos x="T6" y="T7"/>
              </a:cxn>
              <a:cxn ang="T122">
                <a:pos x="T8" y="T9"/>
              </a:cxn>
              <a:cxn ang="T123">
                <a:pos x="T10" y="T11"/>
              </a:cxn>
              <a:cxn ang="T124">
                <a:pos x="T12" y="T13"/>
              </a:cxn>
              <a:cxn ang="T125">
                <a:pos x="T14" y="T15"/>
              </a:cxn>
              <a:cxn ang="T126">
                <a:pos x="T16" y="T17"/>
              </a:cxn>
              <a:cxn ang="T127">
                <a:pos x="T18" y="T19"/>
              </a:cxn>
              <a:cxn ang="T128">
                <a:pos x="T20" y="T21"/>
              </a:cxn>
              <a:cxn ang="T129">
                <a:pos x="T22" y="T23"/>
              </a:cxn>
              <a:cxn ang="T130">
                <a:pos x="T24" y="T25"/>
              </a:cxn>
              <a:cxn ang="T131">
                <a:pos x="T26" y="T27"/>
              </a:cxn>
              <a:cxn ang="T132">
                <a:pos x="T28" y="T29"/>
              </a:cxn>
              <a:cxn ang="T133">
                <a:pos x="T30" y="T31"/>
              </a:cxn>
              <a:cxn ang="T134">
                <a:pos x="T32" y="T33"/>
              </a:cxn>
              <a:cxn ang="T135">
                <a:pos x="T34" y="T35"/>
              </a:cxn>
              <a:cxn ang="T136">
                <a:pos x="T36" y="T37"/>
              </a:cxn>
              <a:cxn ang="T137">
                <a:pos x="T38" y="T39"/>
              </a:cxn>
              <a:cxn ang="T138">
                <a:pos x="T40" y="T41"/>
              </a:cxn>
              <a:cxn ang="T139">
                <a:pos x="T42" y="T43"/>
              </a:cxn>
              <a:cxn ang="T140">
                <a:pos x="T44" y="T45"/>
              </a:cxn>
              <a:cxn ang="T141">
                <a:pos x="T46" y="T47"/>
              </a:cxn>
              <a:cxn ang="T142">
                <a:pos x="T48" y="T49"/>
              </a:cxn>
              <a:cxn ang="T143">
                <a:pos x="T50" y="T51"/>
              </a:cxn>
              <a:cxn ang="T144">
                <a:pos x="T52" y="T53"/>
              </a:cxn>
              <a:cxn ang="T145">
                <a:pos x="T54" y="T55"/>
              </a:cxn>
              <a:cxn ang="T146">
                <a:pos x="T56" y="T57"/>
              </a:cxn>
              <a:cxn ang="T147">
                <a:pos x="T58" y="T59"/>
              </a:cxn>
              <a:cxn ang="T148">
                <a:pos x="T60" y="T61"/>
              </a:cxn>
              <a:cxn ang="T149">
                <a:pos x="T62" y="T63"/>
              </a:cxn>
              <a:cxn ang="T150">
                <a:pos x="T64" y="T65"/>
              </a:cxn>
              <a:cxn ang="T151">
                <a:pos x="T66" y="T67"/>
              </a:cxn>
              <a:cxn ang="T152">
                <a:pos x="T68" y="T69"/>
              </a:cxn>
              <a:cxn ang="T153">
                <a:pos x="T70" y="T71"/>
              </a:cxn>
              <a:cxn ang="T154">
                <a:pos x="T72" y="T73"/>
              </a:cxn>
              <a:cxn ang="T155">
                <a:pos x="T74" y="T75"/>
              </a:cxn>
              <a:cxn ang="T156">
                <a:pos x="T76" y="T77"/>
              </a:cxn>
              <a:cxn ang="T157">
                <a:pos x="T78" y="T79"/>
              </a:cxn>
              <a:cxn ang="T158">
                <a:pos x="T80" y="T81"/>
              </a:cxn>
              <a:cxn ang="T159">
                <a:pos x="T82" y="T83"/>
              </a:cxn>
              <a:cxn ang="T160">
                <a:pos x="T84" y="T85"/>
              </a:cxn>
              <a:cxn ang="T161">
                <a:pos x="T86" y="T87"/>
              </a:cxn>
              <a:cxn ang="T162">
                <a:pos x="T88" y="T89"/>
              </a:cxn>
              <a:cxn ang="T163">
                <a:pos x="T90" y="T91"/>
              </a:cxn>
              <a:cxn ang="T164">
                <a:pos x="T92" y="T93"/>
              </a:cxn>
              <a:cxn ang="T165">
                <a:pos x="T94" y="T95"/>
              </a:cxn>
              <a:cxn ang="T166">
                <a:pos x="T96" y="T97"/>
              </a:cxn>
              <a:cxn ang="T167">
                <a:pos x="T98" y="T99"/>
              </a:cxn>
              <a:cxn ang="T168">
                <a:pos x="T100" y="T101"/>
              </a:cxn>
              <a:cxn ang="T169">
                <a:pos x="T102" y="T103"/>
              </a:cxn>
              <a:cxn ang="T170">
                <a:pos x="T104" y="T105"/>
              </a:cxn>
              <a:cxn ang="T171">
                <a:pos x="T106" y="T107"/>
              </a:cxn>
              <a:cxn ang="T172">
                <a:pos x="T108" y="T109"/>
              </a:cxn>
              <a:cxn ang="T173">
                <a:pos x="T110" y="T111"/>
              </a:cxn>
              <a:cxn ang="T174">
                <a:pos x="T112" y="T113"/>
              </a:cxn>
              <a:cxn ang="T175">
                <a:pos x="T114" y="T115"/>
              </a:cxn>
              <a:cxn ang="T176">
                <a:pos x="T116" y="T117"/>
              </a:cxn>
            </a:cxnLst>
            <a:rect l="T177" t="T178" r="T179" b="T180"/>
            <a:pathLst>
              <a:path w="614" h="394">
                <a:moveTo>
                  <a:pt x="606" y="144"/>
                </a:moveTo>
                <a:lnTo>
                  <a:pt x="600" y="144"/>
                </a:lnTo>
                <a:lnTo>
                  <a:pt x="596" y="136"/>
                </a:lnTo>
                <a:lnTo>
                  <a:pt x="590" y="134"/>
                </a:lnTo>
                <a:lnTo>
                  <a:pt x="584" y="136"/>
                </a:lnTo>
                <a:lnTo>
                  <a:pt x="578" y="132"/>
                </a:lnTo>
                <a:lnTo>
                  <a:pt x="568" y="130"/>
                </a:lnTo>
                <a:lnTo>
                  <a:pt x="556" y="126"/>
                </a:lnTo>
                <a:lnTo>
                  <a:pt x="554" y="124"/>
                </a:lnTo>
                <a:lnTo>
                  <a:pt x="552" y="120"/>
                </a:lnTo>
                <a:lnTo>
                  <a:pt x="548" y="112"/>
                </a:lnTo>
                <a:lnTo>
                  <a:pt x="546" y="106"/>
                </a:lnTo>
                <a:lnTo>
                  <a:pt x="540" y="106"/>
                </a:lnTo>
                <a:lnTo>
                  <a:pt x="538" y="106"/>
                </a:lnTo>
                <a:lnTo>
                  <a:pt x="534" y="100"/>
                </a:lnTo>
                <a:lnTo>
                  <a:pt x="532" y="98"/>
                </a:lnTo>
                <a:lnTo>
                  <a:pt x="530" y="102"/>
                </a:lnTo>
                <a:lnTo>
                  <a:pt x="526" y="106"/>
                </a:lnTo>
                <a:lnTo>
                  <a:pt x="516" y="110"/>
                </a:lnTo>
                <a:lnTo>
                  <a:pt x="512" y="110"/>
                </a:lnTo>
                <a:lnTo>
                  <a:pt x="510" y="106"/>
                </a:lnTo>
                <a:lnTo>
                  <a:pt x="508" y="106"/>
                </a:lnTo>
                <a:lnTo>
                  <a:pt x="502" y="108"/>
                </a:lnTo>
                <a:lnTo>
                  <a:pt x="502" y="114"/>
                </a:lnTo>
                <a:lnTo>
                  <a:pt x="500" y="114"/>
                </a:lnTo>
                <a:lnTo>
                  <a:pt x="498" y="112"/>
                </a:lnTo>
                <a:lnTo>
                  <a:pt x="494" y="108"/>
                </a:lnTo>
                <a:lnTo>
                  <a:pt x="486" y="102"/>
                </a:lnTo>
                <a:lnTo>
                  <a:pt x="484" y="96"/>
                </a:lnTo>
                <a:lnTo>
                  <a:pt x="484" y="90"/>
                </a:lnTo>
                <a:lnTo>
                  <a:pt x="484" y="84"/>
                </a:lnTo>
                <a:lnTo>
                  <a:pt x="482" y="80"/>
                </a:lnTo>
                <a:lnTo>
                  <a:pt x="478" y="76"/>
                </a:lnTo>
                <a:lnTo>
                  <a:pt x="468" y="76"/>
                </a:lnTo>
                <a:lnTo>
                  <a:pt x="462" y="76"/>
                </a:lnTo>
                <a:lnTo>
                  <a:pt x="460" y="80"/>
                </a:lnTo>
                <a:lnTo>
                  <a:pt x="450" y="80"/>
                </a:lnTo>
                <a:lnTo>
                  <a:pt x="446" y="84"/>
                </a:lnTo>
                <a:lnTo>
                  <a:pt x="442" y="88"/>
                </a:lnTo>
                <a:lnTo>
                  <a:pt x="434" y="84"/>
                </a:lnTo>
                <a:lnTo>
                  <a:pt x="430" y="82"/>
                </a:lnTo>
                <a:lnTo>
                  <a:pt x="424" y="82"/>
                </a:lnTo>
                <a:lnTo>
                  <a:pt x="418" y="84"/>
                </a:lnTo>
                <a:lnTo>
                  <a:pt x="416" y="82"/>
                </a:lnTo>
                <a:lnTo>
                  <a:pt x="410" y="74"/>
                </a:lnTo>
                <a:lnTo>
                  <a:pt x="400" y="72"/>
                </a:lnTo>
                <a:lnTo>
                  <a:pt x="390" y="70"/>
                </a:lnTo>
                <a:lnTo>
                  <a:pt x="380" y="70"/>
                </a:lnTo>
                <a:lnTo>
                  <a:pt x="374" y="66"/>
                </a:lnTo>
                <a:lnTo>
                  <a:pt x="366" y="70"/>
                </a:lnTo>
                <a:lnTo>
                  <a:pt x="364" y="66"/>
                </a:lnTo>
                <a:lnTo>
                  <a:pt x="362" y="64"/>
                </a:lnTo>
                <a:lnTo>
                  <a:pt x="360" y="66"/>
                </a:lnTo>
                <a:lnTo>
                  <a:pt x="358" y="70"/>
                </a:lnTo>
                <a:lnTo>
                  <a:pt x="354" y="70"/>
                </a:lnTo>
                <a:lnTo>
                  <a:pt x="352" y="66"/>
                </a:lnTo>
                <a:lnTo>
                  <a:pt x="348" y="62"/>
                </a:lnTo>
                <a:lnTo>
                  <a:pt x="348" y="58"/>
                </a:lnTo>
                <a:lnTo>
                  <a:pt x="348" y="54"/>
                </a:lnTo>
                <a:lnTo>
                  <a:pt x="344" y="48"/>
                </a:lnTo>
                <a:lnTo>
                  <a:pt x="340" y="40"/>
                </a:lnTo>
                <a:lnTo>
                  <a:pt x="340" y="36"/>
                </a:lnTo>
                <a:lnTo>
                  <a:pt x="340" y="34"/>
                </a:lnTo>
                <a:lnTo>
                  <a:pt x="338" y="30"/>
                </a:lnTo>
                <a:lnTo>
                  <a:pt x="336" y="30"/>
                </a:lnTo>
                <a:lnTo>
                  <a:pt x="330" y="34"/>
                </a:lnTo>
                <a:lnTo>
                  <a:pt x="326" y="36"/>
                </a:lnTo>
                <a:lnTo>
                  <a:pt x="324" y="36"/>
                </a:lnTo>
                <a:lnTo>
                  <a:pt x="322" y="38"/>
                </a:lnTo>
                <a:lnTo>
                  <a:pt x="322" y="40"/>
                </a:lnTo>
                <a:lnTo>
                  <a:pt x="322" y="42"/>
                </a:lnTo>
                <a:lnTo>
                  <a:pt x="320" y="42"/>
                </a:lnTo>
                <a:lnTo>
                  <a:pt x="318" y="40"/>
                </a:lnTo>
                <a:lnTo>
                  <a:pt x="314" y="40"/>
                </a:lnTo>
                <a:lnTo>
                  <a:pt x="312" y="40"/>
                </a:lnTo>
                <a:lnTo>
                  <a:pt x="310" y="38"/>
                </a:lnTo>
                <a:lnTo>
                  <a:pt x="308" y="38"/>
                </a:lnTo>
                <a:lnTo>
                  <a:pt x="308" y="36"/>
                </a:lnTo>
                <a:lnTo>
                  <a:pt x="306" y="30"/>
                </a:lnTo>
                <a:lnTo>
                  <a:pt x="304" y="30"/>
                </a:lnTo>
                <a:lnTo>
                  <a:pt x="296" y="30"/>
                </a:lnTo>
                <a:lnTo>
                  <a:pt x="290" y="36"/>
                </a:lnTo>
                <a:lnTo>
                  <a:pt x="288" y="36"/>
                </a:lnTo>
                <a:lnTo>
                  <a:pt x="284" y="36"/>
                </a:lnTo>
                <a:lnTo>
                  <a:pt x="278" y="36"/>
                </a:lnTo>
                <a:lnTo>
                  <a:pt x="274" y="38"/>
                </a:lnTo>
                <a:lnTo>
                  <a:pt x="274" y="40"/>
                </a:lnTo>
                <a:lnTo>
                  <a:pt x="274" y="44"/>
                </a:lnTo>
                <a:lnTo>
                  <a:pt x="276" y="46"/>
                </a:lnTo>
                <a:lnTo>
                  <a:pt x="278" y="48"/>
                </a:lnTo>
                <a:lnTo>
                  <a:pt x="276" y="52"/>
                </a:lnTo>
                <a:lnTo>
                  <a:pt x="274" y="52"/>
                </a:lnTo>
                <a:lnTo>
                  <a:pt x="268" y="52"/>
                </a:lnTo>
                <a:lnTo>
                  <a:pt x="262" y="52"/>
                </a:lnTo>
                <a:lnTo>
                  <a:pt x="262" y="54"/>
                </a:lnTo>
                <a:lnTo>
                  <a:pt x="258" y="60"/>
                </a:lnTo>
                <a:lnTo>
                  <a:pt x="256" y="60"/>
                </a:lnTo>
                <a:lnTo>
                  <a:pt x="240" y="58"/>
                </a:lnTo>
                <a:lnTo>
                  <a:pt x="234" y="62"/>
                </a:lnTo>
                <a:lnTo>
                  <a:pt x="222" y="56"/>
                </a:lnTo>
                <a:lnTo>
                  <a:pt x="214" y="46"/>
                </a:lnTo>
                <a:lnTo>
                  <a:pt x="210" y="46"/>
                </a:lnTo>
                <a:lnTo>
                  <a:pt x="206" y="48"/>
                </a:lnTo>
                <a:lnTo>
                  <a:pt x="206" y="52"/>
                </a:lnTo>
                <a:lnTo>
                  <a:pt x="202" y="52"/>
                </a:lnTo>
                <a:lnTo>
                  <a:pt x="200" y="48"/>
                </a:lnTo>
                <a:lnTo>
                  <a:pt x="196" y="48"/>
                </a:lnTo>
                <a:lnTo>
                  <a:pt x="192" y="48"/>
                </a:lnTo>
                <a:lnTo>
                  <a:pt x="190" y="54"/>
                </a:lnTo>
                <a:lnTo>
                  <a:pt x="186" y="54"/>
                </a:lnTo>
                <a:lnTo>
                  <a:pt x="180" y="52"/>
                </a:lnTo>
                <a:lnTo>
                  <a:pt x="178" y="46"/>
                </a:lnTo>
                <a:lnTo>
                  <a:pt x="174" y="44"/>
                </a:lnTo>
                <a:lnTo>
                  <a:pt x="170" y="44"/>
                </a:lnTo>
                <a:lnTo>
                  <a:pt x="164" y="44"/>
                </a:lnTo>
                <a:lnTo>
                  <a:pt x="158" y="44"/>
                </a:lnTo>
                <a:lnTo>
                  <a:pt x="154" y="42"/>
                </a:lnTo>
                <a:lnTo>
                  <a:pt x="150" y="40"/>
                </a:lnTo>
                <a:lnTo>
                  <a:pt x="148" y="36"/>
                </a:lnTo>
                <a:lnTo>
                  <a:pt x="150" y="28"/>
                </a:lnTo>
                <a:lnTo>
                  <a:pt x="150" y="22"/>
                </a:lnTo>
                <a:lnTo>
                  <a:pt x="150" y="18"/>
                </a:lnTo>
                <a:lnTo>
                  <a:pt x="148" y="16"/>
                </a:lnTo>
                <a:lnTo>
                  <a:pt x="146" y="16"/>
                </a:lnTo>
                <a:lnTo>
                  <a:pt x="140" y="10"/>
                </a:lnTo>
                <a:lnTo>
                  <a:pt x="138" y="2"/>
                </a:lnTo>
                <a:lnTo>
                  <a:pt x="136" y="0"/>
                </a:lnTo>
                <a:lnTo>
                  <a:pt x="126" y="0"/>
                </a:lnTo>
                <a:lnTo>
                  <a:pt x="120" y="2"/>
                </a:lnTo>
                <a:lnTo>
                  <a:pt x="116" y="8"/>
                </a:lnTo>
                <a:lnTo>
                  <a:pt x="112" y="10"/>
                </a:lnTo>
                <a:lnTo>
                  <a:pt x="106" y="10"/>
                </a:lnTo>
                <a:lnTo>
                  <a:pt x="100" y="8"/>
                </a:lnTo>
                <a:lnTo>
                  <a:pt x="98" y="10"/>
                </a:lnTo>
                <a:lnTo>
                  <a:pt x="94" y="18"/>
                </a:lnTo>
                <a:lnTo>
                  <a:pt x="94" y="20"/>
                </a:lnTo>
                <a:lnTo>
                  <a:pt x="88" y="20"/>
                </a:lnTo>
                <a:lnTo>
                  <a:pt x="82" y="20"/>
                </a:lnTo>
                <a:lnTo>
                  <a:pt x="78" y="20"/>
                </a:lnTo>
                <a:lnTo>
                  <a:pt x="76" y="24"/>
                </a:lnTo>
                <a:lnTo>
                  <a:pt x="74" y="30"/>
                </a:lnTo>
                <a:lnTo>
                  <a:pt x="70" y="36"/>
                </a:lnTo>
                <a:lnTo>
                  <a:pt x="66" y="38"/>
                </a:lnTo>
                <a:lnTo>
                  <a:pt x="62" y="38"/>
                </a:lnTo>
                <a:lnTo>
                  <a:pt x="60" y="38"/>
                </a:lnTo>
                <a:lnTo>
                  <a:pt x="60" y="40"/>
                </a:lnTo>
                <a:lnTo>
                  <a:pt x="54" y="42"/>
                </a:lnTo>
                <a:lnTo>
                  <a:pt x="52" y="42"/>
                </a:lnTo>
                <a:lnTo>
                  <a:pt x="50" y="44"/>
                </a:lnTo>
                <a:lnTo>
                  <a:pt x="48" y="46"/>
                </a:lnTo>
                <a:lnTo>
                  <a:pt x="46" y="48"/>
                </a:lnTo>
                <a:lnTo>
                  <a:pt x="46" y="52"/>
                </a:lnTo>
                <a:lnTo>
                  <a:pt x="44" y="52"/>
                </a:lnTo>
                <a:lnTo>
                  <a:pt x="42" y="52"/>
                </a:lnTo>
                <a:lnTo>
                  <a:pt x="40" y="54"/>
                </a:lnTo>
                <a:lnTo>
                  <a:pt x="42" y="56"/>
                </a:lnTo>
                <a:lnTo>
                  <a:pt x="42" y="60"/>
                </a:lnTo>
                <a:lnTo>
                  <a:pt x="40" y="62"/>
                </a:lnTo>
                <a:lnTo>
                  <a:pt x="36" y="62"/>
                </a:lnTo>
                <a:lnTo>
                  <a:pt x="34" y="62"/>
                </a:lnTo>
                <a:lnTo>
                  <a:pt x="32" y="62"/>
                </a:lnTo>
                <a:lnTo>
                  <a:pt x="28" y="62"/>
                </a:lnTo>
                <a:lnTo>
                  <a:pt x="26" y="62"/>
                </a:lnTo>
                <a:lnTo>
                  <a:pt x="24" y="62"/>
                </a:lnTo>
                <a:lnTo>
                  <a:pt x="24" y="64"/>
                </a:lnTo>
                <a:lnTo>
                  <a:pt x="18" y="64"/>
                </a:lnTo>
                <a:lnTo>
                  <a:pt x="18" y="66"/>
                </a:lnTo>
                <a:lnTo>
                  <a:pt x="16" y="66"/>
                </a:lnTo>
                <a:lnTo>
                  <a:pt x="14" y="70"/>
                </a:lnTo>
                <a:lnTo>
                  <a:pt x="10" y="70"/>
                </a:lnTo>
                <a:lnTo>
                  <a:pt x="8" y="72"/>
                </a:lnTo>
                <a:lnTo>
                  <a:pt x="2" y="74"/>
                </a:lnTo>
                <a:lnTo>
                  <a:pt x="0" y="76"/>
                </a:lnTo>
                <a:lnTo>
                  <a:pt x="0" y="80"/>
                </a:lnTo>
                <a:lnTo>
                  <a:pt x="0" y="84"/>
                </a:lnTo>
                <a:lnTo>
                  <a:pt x="0" y="88"/>
                </a:lnTo>
                <a:lnTo>
                  <a:pt x="0" y="90"/>
                </a:lnTo>
                <a:lnTo>
                  <a:pt x="2" y="92"/>
                </a:lnTo>
                <a:lnTo>
                  <a:pt x="6" y="96"/>
                </a:lnTo>
                <a:lnTo>
                  <a:pt x="8" y="100"/>
                </a:lnTo>
                <a:lnTo>
                  <a:pt x="10" y="102"/>
                </a:lnTo>
                <a:lnTo>
                  <a:pt x="12" y="102"/>
                </a:lnTo>
                <a:lnTo>
                  <a:pt x="14" y="102"/>
                </a:lnTo>
                <a:lnTo>
                  <a:pt x="16" y="106"/>
                </a:lnTo>
                <a:lnTo>
                  <a:pt x="18" y="106"/>
                </a:lnTo>
                <a:lnTo>
                  <a:pt x="22" y="106"/>
                </a:lnTo>
                <a:lnTo>
                  <a:pt x="22" y="108"/>
                </a:lnTo>
                <a:lnTo>
                  <a:pt x="22" y="110"/>
                </a:lnTo>
                <a:lnTo>
                  <a:pt x="24" y="112"/>
                </a:lnTo>
                <a:lnTo>
                  <a:pt x="26" y="114"/>
                </a:lnTo>
                <a:lnTo>
                  <a:pt x="28" y="114"/>
                </a:lnTo>
                <a:lnTo>
                  <a:pt x="30" y="112"/>
                </a:lnTo>
                <a:lnTo>
                  <a:pt x="32" y="114"/>
                </a:lnTo>
                <a:lnTo>
                  <a:pt x="34" y="114"/>
                </a:lnTo>
                <a:lnTo>
                  <a:pt x="40" y="116"/>
                </a:lnTo>
                <a:lnTo>
                  <a:pt x="44" y="118"/>
                </a:lnTo>
                <a:lnTo>
                  <a:pt x="46" y="120"/>
                </a:lnTo>
                <a:lnTo>
                  <a:pt x="48" y="120"/>
                </a:lnTo>
                <a:lnTo>
                  <a:pt x="50" y="124"/>
                </a:lnTo>
                <a:lnTo>
                  <a:pt x="52" y="124"/>
                </a:lnTo>
                <a:lnTo>
                  <a:pt x="52" y="126"/>
                </a:lnTo>
                <a:lnTo>
                  <a:pt x="52" y="128"/>
                </a:lnTo>
                <a:lnTo>
                  <a:pt x="52" y="130"/>
                </a:lnTo>
                <a:lnTo>
                  <a:pt x="50" y="132"/>
                </a:lnTo>
                <a:lnTo>
                  <a:pt x="50" y="136"/>
                </a:lnTo>
                <a:lnTo>
                  <a:pt x="50" y="138"/>
                </a:lnTo>
                <a:lnTo>
                  <a:pt x="52" y="144"/>
                </a:lnTo>
                <a:lnTo>
                  <a:pt x="54" y="148"/>
                </a:lnTo>
                <a:lnTo>
                  <a:pt x="60" y="150"/>
                </a:lnTo>
                <a:lnTo>
                  <a:pt x="60" y="152"/>
                </a:lnTo>
                <a:lnTo>
                  <a:pt x="62" y="154"/>
                </a:lnTo>
                <a:lnTo>
                  <a:pt x="62" y="156"/>
                </a:lnTo>
                <a:lnTo>
                  <a:pt x="62" y="160"/>
                </a:lnTo>
                <a:lnTo>
                  <a:pt x="60" y="162"/>
                </a:lnTo>
                <a:lnTo>
                  <a:pt x="58" y="162"/>
                </a:lnTo>
                <a:lnTo>
                  <a:pt x="58" y="164"/>
                </a:lnTo>
                <a:lnTo>
                  <a:pt x="58" y="166"/>
                </a:lnTo>
                <a:lnTo>
                  <a:pt x="54" y="174"/>
                </a:lnTo>
                <a:lnTo>
                  <a:pt x="54" y="180"/>
                </a:lnTo>
                <a:lnTo>
                  <a:pt x="52" y="184"/>
                </a:lnTo>
                <a:lnTo>
                  <a:pt x="52" y="188"/>
                </a:lnTo>
                <a:lnTo>
                  <a:pt x="52" y="190"/>
                </a:lnTo>
                <a:lnTo>
                  <a:pt x="52" y="192"/>
                </a:lnTo>
                <a:lnTo>
                  <a:pt x="54" y="196"/>
                </a:lnTo>
                <a:lnTo>
                  <a:pt x="54" y="198"/>
                </a:lnTo>
                <a:lnTo>
                  <a:pt x="54" y="200"/>
                </a:lnTo>
                <a:lnTo>
                  <a:pt x="54" y="202"/>
                </a:lnTo>
                <a:lnTo>
                  <a:pt x="58" y="204"/>
                </a:lnTo>
                <a:lnTo>
                  <a:pt x="58" y="206"/>
                </a:lnTo>
                <a:lnTo>
                  <a:pt x="60" y="210"/>
                </a:lnTo>
                <a:lnTo>
                  <a:pt x="62" y="216"/>
                </a:lnTo>
                <a:lnTo>
                  <a:pt x="64" y="216"/>
                </a:lnTo>
                <a:lnTo>
                  <a:pt x="64" y="218"/>
                </a:lnTo>
                <a:lnTo>
                  <a:pt x="66" y="220"/>
                </a:lnTo>
                <a:lnTo>
                  <a:pt x="66" y="222"/>
                </a:lnTo>
                <a:lnTo>
                  <a:pt x="68" y="222"/>
                </a:lnTo>
                <a:lnTo>
                  <a:pt x="68" y="224"/>
                </a:lnTo>
                <a:lnTo>
                  <a:pt x="70" y="224"/>
                </a:lnTo>
                <a:lnTo>
                  <a:pt x="74" y="226"/>
                </a:lnTo>
                <a:lnTo>
                  <a:pt x="76" y="228"/>
                </a:lnTo>
                <a:lnTo>
                  <a:pt x="78" y="232"/>
                </a:lnTo>
                <a:lnTo>
                  <a:pt x="80" y="236"/>
                </a:lnTo>
                <a:lnTo>
                  <a:pt x="82" y="238"/>
                </a:lnTo>
                <a:lnTo>
                  <a:pt x="84" y="240"/>
                </a:lnTo>
                <a:lnTo>
                  <a:pt x="84" y="242"/>
                </a:lnTo>
                <a:lnTo>
                  <a:pt x="86" y="242"/>
                </a:lnTo>
                <a:lnTo>
                  <a:pt x="88" y="244"/>
                </a:lnTo>
                <a:lnTo>
                  <a:pt x="92" y="246"/>
                </a:lnTo>
                <a:lnTo>
                  <a:pt x="96" y="246"/>
                </a:lnTo>
                <a:lnTo>
                  <a:pt x="98" y="246"/>
                </a:lnTo>
                <a:lnTo>
                  <a:pt x="100" y="246"/>
                </a:lnTo>
                <a:lnTo>
                  <a:pt x="104" y="250"/>
                </a:lnTo>
                <a:lnTo>
                  <a:pt x="104" y="252"/>
                </a:lnTo>
                <a:lnTo>
                  <a:pt x="106" y="252"/>
                </a:lnTo>
                <a:lnTo>
                  <a:pt x="106" y="254"/>
                </a:lnTo>
                <a:lnTo>
                  <a:pt x="110" y="256"/>
                </a:lnTo>
                <a:lnTo>
                  <a:pt x="112" y="258"/>
                </a:lnTo>
                <a:lnTo>
                  <a:pt x="114" y="260"/>
                </a:lnTo>
                <a:lnTo>
                  <a:pt x="114" y="264"/>
                </a:lnTo>
                <a:lnTo>
                  <a:pt x="114" y="268"/>
                </a:lnTo>
                <a:lnTo>
                  <a:pt x="114" y="270"/>
                </a:lnTo>
                <a:lnTo>
                  <a:pt x="114" y="272"/>
                </a:lnTo>
                <a:lnTo>
                  <a:pt x="114" y="274"/>
                </a:lnTo>
                <a:lnTo>
                  <a:pt x="116" y="276"/>
                </a:lnTo>
                <a:lnTo>
                  <a:pt x="118" y="276"/>
                </a:lnTo>
                <a:lnTo>
                  <a:pt x="122" y="276"/>
                </a:lnTo>
                <a:lnTo>
                  <a:pt x="122" y="278"/>
                </a:lnTo>
                <a:lnTo>
                  <a:pt x="122" y="280"/>
                </a:lnTo>
                <a:lnTo>
                  <a:pt x="122" y="282"/>
                </a:lnTo>
                <a:lnTo>
                  <a:pt x="122" y="288"/>
                </a:lnTo>
                <a:lnTo>
                  <a:pt x="122" y="292"/>
                </a:lnTo>
                <a:lnTo>
                  <a:pt x="126" y="294"/>
                </a:lnTo>
                <a:lnTo>
                  <a:pt x="126" y="296"/>
                </a:lnTo>
                <a:lnTo>
                  <a:pt x="130" y="296"/>
                </a:lnTo>
                <a:lnTo>
                  <a:pt x="132" y="296"/>
                </a:lnTo>
                <a:lnTo>
                  <a:pt x="134" y="298"/>
                </a:lnTo>
                <a:lnTo>
                  <a:pt x="136" y="298"/>
                </a:lnTo>
                <a:lnTo>
                  <a:pt x="138" y="298"/>
                </a:lnTo>
                <a:lnTo>
                  <a:pt x="140" y="300"/>
                </a:lnTo>
                <a:lnTo>
                  <a:pt x="144" y="304"/>
                </a:lnTo>
                <a:lnTo>
                  <a:pt x="146" y="306"/>
                </a:lnTo>
                <a:lnTo>
                  <a:pt x="148" y="306"/>
                </a:lnTo>
                <a:lnTo>
                  <a:pt x="152" y="308"/>
                </a:lnTo>
                <a:lnTo>
                  <a:pt x="156" y="306"/>
                </a:lnTo>
                <a:lnTo>
                  <a:pt x="162" y="304"/>
                </a:lnTo>
                <a:lnTo>
                  <a:pt x="164" y="300"/>
                </a:lnTo>
                <a:lnTo>
                  <a:pt x="168" y="300"/>
                </a:lnTo>
                <a:lnTo>
                  <a:pt x="172" y="300"/>
                </a:lnTo>
                <a:lnTo>
                  <a:pt x="174" y="300"/>
                </a:lnTo>
                <a:lnTo>
                  <a:pt x="180" y="304"/>
                </a:lnTo>
                <a:lnTo>
                  <a:pt x="182" y="304"/>
                </a:lnTo>
                <a:lnTo>
                  <a:pt x="186" y="306"/>
                </a:lnTo>
                <a:lnTo>
                  <a:pt x="188" y="308"/>
                </a:lnTo>
                <a:lnTo>
                  <a:pt x="190" y="308"/>
                </a:lnTo>
                <a:lnTo>
                  <a:pt x="192" y="310"/>
                </a:lnTo>
                <a:lnTo>
                  <a:pt x="196" y="310"/>
                </a:lnTo>
                <a:lnTo>
                  <a:pt x="198" y="312"/>
                </a:lnTo>
                <a:lnTo>
                  <a:pt x="200" y="312"/>
                </a:lnTo>
                <a:lnTo>
                  <a:pt x="202" y="312"/>
                </a:lnTo>
                <a:lnTo>
                  <a:pt x="204" y="312"/>
                </a:lnTo>
                <a:lnTo>
                  <a:pt x="206" y="312"/>
                </a:lnTo>
                <a:lnTo>
                  <a:pt x="208" y="314"/>
                </a:lnTo>
                <a:lnTo>
                  <a:pt x="208" y="316"/>
                </a:lnTo>
                <a:lnTo>
                  <a:pt x="210" y="318"/>
                </a:lnTo>
                <a:lnTo>
                  <a:pt x="214" y="318"/>
                </a:lnTo>
                <a:lnTo>
                  <a:pt x="214" y="322"/>
                </a:lnTo>
                <a:lnTo>
                  <a:pt x="216" y="324"/>
                </a:lnTo>
                <a:lnTo>
                  <a:pt x="218" y="326"/>
                </a:lnTo>
                <a:lnTo>
                  <a:pt x="220" y="330"/>
                </a:lnTo>
                <a:lnTo>
                  <a:pt x="222" y="342"/>
                </a:lnTo>
                <a:lnTo>
                  <a:pt x="222" y="346"/>
                </a:lnTo>
                <a:lnTo>
                  <a:pt x="222" y="348"/>
                </a:lnTo>
                <a:lnTo>
                  <a:pt x="222" y="350"/>
                </a:lnTo>
                <a:lnTo>
                  <a:pt x="224" y="352"/>
                </a:lnTo>
                <a:lnTo>
                  <a:pt x="226" y="352"/>
                </a:lnTo>
                <a:lnTo>
                  <a:pt x="230" y="352"/>
                </a:lnTo>
                <a:lnTo>
                  <a:pt x="232" y="352"/>
                </a:lnTo>
                <a:lnTo>
                  <a:pt x="234" y="352"/>
                </a:lnTo>
                <a:lnTo>
                  <a:pt x="236" y="352"/>
                </a:lnTo>
                <a:lnTo>
                  <a:pt x="238" y="352"/>
                </a:lnTo>
                <a:lnTo>
                  <a:pt x="240" y="354"/>
                </a:lnTo>
                <a:lnTo>
                  <a:pt x="242" y="358"/>
                </a:lnTo>
                <a:lnTo>
                  <a:pt x="244" y="362"/>
                </a:lnTo>
                <a:lnTo>
                  <a:pt x="248" y="364"/>
                </a:lnTo>
                <a:lnTo>
                  <a:pt x="250" y="366"/>
                </a:lnTo>
                <a:lnTo>
                  <a:pt x="252" y="368"/>
                </a:lnTo>
                <a:lnTo>
                  <a:pt x="254" y="370"/>
                </a:lnTo>
                <a:lnTo>
                  <a:pt x="256" y="372"/>
                </a:lnTo>
                <a:lnTo>
                  <a:pt x="260" y="378"/>
                </a:lnTo>
                <a:lnTo>
                  <a:pt x="266" y="380"/>
                </a:lnTo>
                <a:lnTo>
                  <a:pt x="268" y="382"/>
                </a:lnTo>
                <a:lnTo>
                  <a:pt x="272" y="384"/>
                </a:lnTo>
                <a:lnTo>
                  <a:pt x="274" y="386"/>
                </a:lnTo>
                <a:lnTo>
                  <a:pt x="276" y="390"/>
                </a:lnTo>
                <a:lnTo>
                  <a:pt x="278" y="394"/>
                </a:lnTo>
                <a:lnTo>
                  <a:pt x="280" y="394"/>
                </a:lnTo>
                <a:lnTo>
                  <a:pt x="314" y="390"/>
                </a:lnTo>
                <a:lnTo>
                  <a:pt x="318" y="390"/>
                </a:lnTo>
                <a:lnTo>
                  <a:pt x="320" y="390"/>
                </a:lnTo>
                <a:lnTo>
                  <a:pt x="330" y="390"/>
                </a:lnTo>
                <a:lnTo>
                  <a:pt x="332" y="390"/>
                </a:lnTo>
                <a:lnTo>
                  <a:pt x="384" y="388"/>
                </a:lnTo>
                <a:lnTo>
                  <a:pt x="388" y="386"/>
                </a:lnTo>
                <a:lnTo>
                  <a:pt x="390" y="384"/>
                </a:lnTo>
                <a:lnTo>
                  <a:pt x="392" y="382"/>
                </a:lnTo>
                <a:lnTo>
                  <a:pt x="396" y="378"/>
                </a:lnTo>
                <a:lnTo>
                  <a:pt x="400" y="376"/>
                </a:lnTo>
                <a:lnTo>
                  <a:pt x="406" y="372"/>
                </a:lnTo>
                <a:lnTo>
                  <a:pt x="410" y="370"/>
                </a:lnTo>
                <a:lnTo>
                  <a:pt x="414" y="368"/>
                </a:lnTo>
                <a:lnTo>
                  <a:pt x="418" y="366"/>
                </a:lnTo>
                <a:lnTo>
                  <a:pt x="422" y="366"/>
                </a:lnTo>
                <a:lnTo>
                  <a:pt x="426" y="364"/>
                </a:lnTo>
                <a:lnTo>
                  <a:pt x="426" y="362"/>
                </a:lnTo>
                <a:lnTo>
                  <a:pt x="430" y="360"/>
                </a:lnTo>
                <a:lnTo>
                  <a:pt x="432" y="358"/>
                </a:lnTo>
                <a:lnTo>
                  <a:pt x="434" y="352"/>
                </a:lnTo>
                <a:lnTo>
                  <a:pt x="436" y="348"/>
                </a:lnTo>
                <a:lnTo>
                  <a:pt x="436" y="344"/>
                </a:lnTo>
                <a:lnTo>
                  <a:pt x="436" y="340"/>
                </a:lnTo>
                <a:lnTo>
                  <a:pt x="442" y="336"/>
                </a:lnTo>
                <a:lnTo>
                  <a:pt x="442" y="334"/>
                </a:lnTo>
                <a:lnTo>
                  <a:pt x="444" y="336"/>
                </a:lnTo>
                <a:lnTo>
                  <a:pt x="446" y="340"/>
                </a:lnTo>
                <a:lnTo>
                  <a:pt x="448" y="342"/>
                </a:lnTo>
                <a:lnTo>
                  <a:pt x="452" y="342"/>
                </a:lnTo>
                <a:lnTo>
                  <a:pt x="456" y="342"/>
                </a:lnTo>
                <a:lnTo>
                  <a:pt x="460" y="340"/>
                </a:lnTo>
                <a:lnTo>
                  <a:pt x="460" y="336"/>
                </a:lnTo>
                <a:lnTo>
                  <a:pt x="464" y="334"/>
                </a:lnTo>
                <a:lnTo>
                  <a:pt x="466" y="334"/>
                </a:lnTo>
                <a:lnTo>
                  <a:pt x="468" y="334"/>
                </a:lnTo>
                <a:lnTo>
                  <a:pt x="470" y="332"/>
                </a:lnTo>
                <a:lnTo>
                  <a:pt x="474" y="330"/>
                </a:lnTo>
                <a:lnTo>
                  <a:pt x="476" y="328"/>
                </a:lnTo>
                <a:lnTo>
                  <a:pt x="478" y="326"/>
                </a:lnTo>
                <a:lnTo>
                  <a:pt x="482" y="322"/>
                </a:lnTo>
                <a:lnTo>
                  <a:pt x="486" y="318"/>
                </a:lnTo>
                <a:lnTo>
                  <a:pt x="488" y="318"/>
                </a:lnTo>
                <a:lnTo>
                  <a:pt x="492" y="318"/>
                </a:lnTo>
                <a:lnTo>
                  <a:pt x="494" y="316"/>
                </a:lnTo>
                <a:lnTo>
                  <a:pt x="496" y="318"/>
                </a:lnTo>
                <a:lnTo>
                  <a:pt x="498" y="318"/>
                </a:lnTo>
                <a:lnTo>
                  <a:pt x="500" y="318"/>
                </a:lnTo>
                <a:lnTo>
                  <a:pt x="502" y="318"/>
                </a:lnTo>
                <a:lnTo>
                  <a:pt x="508" y="316"/>
                </a:lnTo>
                <a:lnTo>
                  <a:pt x="510" y="316"/>
                </a:lnTo>
                <a:lnTo>
                  <a:pt x="514" y="314"/>
                </a:lnTo>
                <a:lnTo>
                  <a:pt x="516" y="312"/>
                </a:lnTo>
                <a:lnTo>
                  <a:pt x="516" y="310"/>
                </a:lnTo>
                <a:lnTo>
                  <a:pt x="518" y="306"/>
                </a:lnTo>
                <a:lnTo>
                  <a:pt x="522" y="298"/>
                </a:lnTo>
                <a:lnTo>
                  <a:pt x="522" y="294"/>
                </a:lnTo>
                <a:lnTo>
                  <a:pt x="526" y="292"/>
                </a:lnTo>
                <a:lnTo>
                  <a:pt x="526" y="290"/>
                </a:lnTo>
                <a:lnTo>
                  <a:pt x="528" y="286"/>
                </a:lnTo>
                <a:lnTo>
                  <a:pt x="530" y="282"/>
                </a:lnTo>
                <a:lnTo>
                  <a:pt x="530" y="278"/>
                </a:lnTo>
                <a:lnTo>
                  <a:pt x="532" y="274"/>
                </a:lnTo>
                <a:lnTo>
                  <a:pt x="532" y="272"/>
                </a:lnTo>
                <a:lnTo>
                  <a:pt x="534" y="270"/>
                </a:lnTo>
                <a:lnTo>
                  <a:pt x="536" y="268"/>
                </a:lnTo>
                <a:lnTo>
                  <a:pt x="538" y="264"/>
                </a:lnTo>
                <a:lnTo>
                  <a:pt x="540" y="264"/>
                </a:lnTo>
                <a:lnTo>
                  <a:pt x="544" y="264"/>
                </a:lnTo>
                <a:lnTo>
                  <a:pt x="546" y="264"/>
                </a:lnTo>
                <a:lnTo>
                  <a:pt x="546" y="262"/>
                </a:lnTo>
                <a:lnTo>
                  <a:pt x="550" y="262"/>
                </a:lnTo>
                <a:lnTo>
                  <a:pt x="554" y="260"/>
                </a:lnTo>
                <a:lnTo>
                  <a:pt x="554" y="258"/>
                </a:lnTo>
                <a:lnTo>
                  <a:pt x="556" y="254"/>
                </a:lnTo>
                <a:lnTo>
                  <a:pt x="560" y="246"/>
                </a:lnTo>
                <a:lnTo>
                  <a:pt x="562" y="244"/>
                </a:lnTo>
                <a:lnTo>
                  <a:pt x="564" y="244"/>
                </a:lnTo>
                <a:lnTo>
                  <a:pt x="614" y="148"/>
                </a:lnTo>
                <a:lnTo>
                  <a:pt x="606" y="144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 w="6350">
            <a:solidFill>
              <a:schemeClr val="tx2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457200">
              <a:defRPr/>
            </a:pPr>
            <a:endParaRPr lang="en-US" kern="0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65" name="Freeform 43">
            <a:extLst>
              <a:ext uri="{FF2B5EF4-FFF2-40B4-BE49-F238E27FC236}">
                <a16:creationId xmlns:a16="http://schemas.microsoft.com/office/drawing/2014/main" id="{674EC260-A29F-44E9-2404-5CA007C119E2}"/>
              </a:ext>
            </a:extLst>
          </p:cNvPr>
          <p:cNvSpPr>
            <a:spLocks/>
          </p:cNvSpPr>
          <p:nvPr/>
        </p:nvSpPr>
        <p:spPr bwMode="auto">
          <a:xfrm>
            <a:off x="3329940" y="5364480"/>
            <a:ext cx="576580" cy="520700"/>
          </a:xfrm>
          <a:custGeom>
            <a:avLst/>
            <a:gdLst>
              <a:gd name="T0" fmla="*/ 2147483646 w 454"/>
              <a:gd name="T1" fmla="*/ 2147483646 h 410"/>
              <a:gd name="T2" fmla="*/ 2147483646 w 454"/>
              <a:gd name="T3" fmla="*/ 2147483646 h 410"/>
              <a:gd name="T4" fmla="*/ 2147483646 w 454"/>
              <a:gd name="T5" fmla="*/ 2147483646 h 410"/>
              <a:gd name="T6" fmla="*/ 2147483646 w 454"/>
              <a:gd name="T7" fmla="*/ 2147483646 h 410"/>
              <a:gd name="T8" fmla="*/ 2147483646 w 454"/>
              <a:gd name="T9" fmla="*/ 2147483646 h 410"/>
              <a:gd name="T10" fmla="*/ 2147483646 w 454"/>
              <a:gd name="T11" fmla="*/ 2147483646 h 410"/>
              <a:gd name="T12" fmla="*/ 2147483646 w 454"/>
              <a:gd name="T13" fmla="*/ 2147483646 h 410"/>
              <a:gd name="T14" fmla="*/ 2147483646 w 454"/>
              <a:gd name="T15" fmla="*/ 2147483646 h 410"/>
              <a:gd name="T16" fmla="*/ 2147483646 w 454"/>
              <a:gd name="T17" fmla="*/ 2147483646 h 410"/>
              <a:gd name="T18" fmla="*/ 2147483646 w 454"/>
              <a:gd name="T19" fmla="*/ 2147483646 h 410"/>
              <a:gd name="T20" fmla="*/ 2147483646 w 454"/>
              <a:gd name="T21" fmla="*/ 2147483646 h 410"/>
              <a:gd name="T22" fmla="*/ 2147483646 w 454"/>
              <a:gd name="T23" fmla="*/ 2147483646 h 410"/>
              <a:gd name="T24" fmla="*/ 2147483646 w 454"/>
              <a:gd name="T25" fmla="*/ 2147483646 h 410"/>
              <a:gd name="T26" fmla="*/ 2147483646 w 454"/>
              <a:gd name="T27" fmla="*/ 2147483646 h 410"/>
              <a:gd name="T28" fmla="*/ 2147483646 w 454"/>
              <a:gd name="T29" fmla="*/ 2147483646 h 410"/>
              <a:gd name="T30" fmla="*/ 2147483646 w 454"/>
              <a:gd name="T31" fmla="*/ 2147483646 h 410"/>
              <a:gd name="T32" fmla="*/ 2147483646 w 454"/>
              <a:gd name="T33" fmla="*/ 2147483646 h 410"/>
              <a:gd name="T34" fmla="*/ 2147483646 w 454"/>
              <a:gd name="T35" fmla="*/ 2147483646 h 410"/>
              <a:gd name="T36" fmla="*/ 2147483646 w 454"/>
              <a:gd name="T37" fmla="*/ 2147483646 h 410"/>
              <a:gd name="T38" fmla="*/ 2147483646 w 454"/>
              <a:gd name="T39" fmla="*/ 2147483646 h 410"/>
              <a:gd name="T40" fmla="*/ 2147483646 w 454"/>
              <a:gd name="T41" fmla="*/ 2147483646 h 410"/>
              <a:gd name="T42" fmla="*/ 2147483646 w 454"/>
              <a:gd name="T43" fmla="*/ 2147483646 h 410"/>
              <a:gd name="T44" fmla="*/ 2147483646 w 454"/>
              <a:gd name="T45" fmla="*/ 2147483646 h 410"/>
              <a:gd name="T46" fmla="*/ 2147483646 w 454"/>
              <a:gd name="T47" fmla="*/ 2147483646 h 410"/>
              <a:gd name="T48" fmla="*/ 2147483646 w 454"/>
              <a:gd name="T49" fmla="*/ 2147483646 h 410"/>
              <a:gd name="T50" fmla="*/ 2147483646 w 454"/>
              <a:gd name="T51" fmla="*/ 2147483646 h 410"/>
              <a:gd name="T52" fmla="*/ 2147483646 w 454"/>
              <a:gd name="T53" fmla="*/ 2147483646 h 410"/>
              <a:gd name="T54" fmla="*/ 2147483646 w 454"/>
              <a:gd name="T55" fmla="*/ 2147483646 h 410"/>
              <a:gd name="T56" fmla="*/ 2147483646 w 454"/>
              <a:gd name="T57" fmla="*/ 2147483646 h 410"/>
              <a:gd name="T58" fmla="*/ 2147483646 w 454"/>
              <a:gd name="T59" fmla="*/ 2147483646 h 410"/>
              <a:gd name="T60" fmla="*/ 2147483646 w 454"/>
              <a:gd name="T61" fmla="*/ 2147483646 h 410"/>
              <a:gd name="T62" fmla="*/ 2147483646 w 454"/>
              <a:gd name="T63" fmla="*/ 2147483646 h 410"/>
              <a:gd name="T64" fmla="*/ 2147483646 w 454"/>
              <a:gd name="T65" fmla="*/ 2147483646 h 410"/>
              <a:gd name="T66" fmla="*/ 2147483646 w 454"/>
              <a:gd name="T67" fmla="*/ 2147483646 h 410"/>
              <a:gd name="T68" fmla="*/ 2147483646 w 454"/>
              <a:gd name="T69" fmla="*/ 2147483646 h 410"/>
              <a:gd name="T70" fmla="*/ 2147483646 w 454"/>
              <a:gd name="T71" fmla="*/ 2147483646 h 410"/>
              <a:gd name="T72" fmla="*/ 2147483646 w 454"/>
              <a:gd name="T73" fmla="*/ 2147483646 h 410"/>
              <a:gd name="T74" fmla="*/ 2147483646 w 454"/>
              <a:gd name="T75" fmla="*/ 2147483646 h 410"/>
              <a:gd name="T76" fmla="*/ 2147483646 w 454"/>
              <a:gd name="T77" fmla="*/ 2147483646 h 410"/>
              <a:gd name="T78" fmla="*/ 2147483646 w 454"/>
              <a:gd name="T79" fmla="*/ 2147483646 h 410"/>
              <a:gd name="T80" fmla="*/ 2147483646 w 454"/>
              <a:gd name="T81" fmla="*/ 2147483646 h 410"/>
              <a:gd name="T82" fmla="*/ 2147483646 w 454"/>
              <a:gd name="T83" fmla="*/ 2147483646 h 410"/>
              <a:gd name="T84" fmla="*/ 2147483646 w 454"/>
              <a:gd name="T85" fmla="*/ 2147483646 h 410"/>
              <a:gd name="T86" fmla="*/ 2147483646 w 454"/>
              <a:gd name="T87" fmla="*/ 2147483646 h 410"/>
              <a:gd name="T88" fmla="*/ 2147483646 w 454"/>
              <a:gd name="T89" fmla="*/ 2147483646 h 410"/>
              <a:gd name="T90" fmla="*/ 2147483646 w 454"/>
              <a:gd name="T91" fmla="*/ 2147483646 h 410"/>
              <a:gd name="T92" fmla="*/ 2147483646 w 454"/>
              <a:gd name="T93" fmla="*/ 2147483646 h 410"/>
              <a:gd name="T94" fmla="*/ 2147483646 w 454"/>
              <a:gd name="T95" fmla="*/ 2147483646 h 410"/>
              <a:gd name="T96" fmla="*/ 2147483646 w 454"/>
              <a:gd name="T97" fmla="*/ 2147483646 h 410"/>
              <a:gd name="T98" fmla="*/ 2147483646 w 454"/>
              <a:gd name="T99" fmla="*/ 2147483646 h 410"/>
              <a:gd name="T100" fmla="*/ 2147483646 w 454"/>
              <a:gd name="T101" fmla="*/ 2147483646 h 410"/>
              <a:gd name="T102" fmla="*/ 2147483646 w 454"/>
              <a:gd name="T103" fmla="*/ 2147483646 h 410"/>
              <a:gd name="T104" fmla="*/ 2147483646 w 454"/>
              <a:gd name="T105" fmla="*/ 2147483646 h 410"/>
              <a:gd name="T106" fmla="*/ 2147483646 w 454"/>
              <a:gd name="T107" fmla="*/ 2147483646 h 410"/>
              <a:gd name="T108" fmla="*/ 2147483646 w 454"/>
              <a:gd name="T109" fmla="*/ 2147483646 h 410"/>
              <a:gd name="T110" fmla="*/ 2147483646 w 454"/>
              <a:gd name="T111" fmla="*/ 2147483646 h 410"/>
              <a:gd name="T112" fmla="*/ 2147483646 w 454"/>
              <a:gd name="T113" fmla="*/ 2147483646 h 410"/>
              <a:gd name="T114" fmla="*/ 2147483646 w 454"/>
              <a:gd name="T115" fmla="*/ 2147483646 h 410"/>
              <a:gd name="T116" fmla="*/ 2147483646 w 454"/>
              <a:gd name="T117" fmla="*/ 2147483646 h 410"/>
              <a:gd name="T118" fmla="*/ 2147483646 w 454"/>
              <a:gd name="T119" fmla="*/ 2147483646 h 410"/>
              <a:gd name="T120" fmla="*/ 2147483646 w 454"/>
              <a:gd name="T121" fmla="*/ 2147483646 h 410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w 454"/>
              <a:gd name="T184" fmla="*/ 0 h 410"/>
              <a:gd name="T185" fmla="*/ 454 w 454"/>
              <a:gd name="T186" fmla="*/ 410 h 410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T183" t="T184" r="T185" b="T186"/>
            <a:pathLst>
              <a:path w="454" h="410">
                <a:moveTo>
                  <a:pt x="398" y="144"/>
                </a:moveTo>
                <a:lnTo>
                  <a:pt x="306" y="68"/>
                </a:lnTo>
                <a:lnTo>
                  <a:pt x="246" y="14"/>
                </a:lnTo>
                <a:lnTo>
                  <a:pt x="240" y="6"/>
                </a:lnTo>
                <a:lnTo>
                  <a:pt x="234" y="4"/>
                </a:lnTo>
                <a:lnTo>
                  <a:pt x="224" y="2"/>
                </a:lnTo>
                <a:lnTo>
                  <a:pt x="218" y="6"/>
                </a:lnTo>
                <a:lnTo>
                  <a:pt x="212" y="4"/>
                </a:lnTo>
                <a:lnTo>
                  <a:pt x="206" y="2"/>
                </a:lnTo>
                <a:lnTo>
                  <a:pt x="198" y="0"/>
                </a:lnTo>
                <a:lnTo>
                  <a:pt x="196" y="0"/>
                </a:lnTo>
                <a:lnTo>
                  <a:pt x="192" y="2"/>
                </a:lnTo>
                <a:lnTo>
                  <a:pt x="190" y="6"/>
                </a:lnTo>
                <a:lnTo>
                  <a:pt x="182" y="4"/>
                </a:lnTo>
                <a:lnTo>
                  <a:pt x="178" y="10"/>
                </a:lnTo>
                <a:lnTo>
                  <a:pt x="170" y="12"/>
                </a:lnTo>
                <a:lnTo>
                  <a:pt x="166" y="16"/>
                </a:lnTo>
                <a:lnTo>
                  <a:pt x="164" y="18"/>
                </a:lnTo>
                <a:lnTo>
                  <a:pt x="158" y="18"/>
                </a:lnTo>
                <a:lnTo>
                  <a:pt x="154" y="18"/>
                </a:lnTo>
                <a:lnTo>
                  <a:pt x="148" y="20"/>
                </a:lnTo>
                <a:lnTo>
                  <a:pt x="148" y="24"/>
                </a:lnTo>
                <a:lnTo>
                  <a:pt x="148" y="32"/>
                </a:lnTo>
                <a:lnTo>
                  <a:pt x="142" y="38"/>
                </a:lnTo>
                <a:lnTo>
                  <a:pt x="142" y="42"/>
                </a:lnTo>
                <a:lnTo>
                  <a:pt x="144" y="50"/>
                </a:lnTo>
                <a:lnTo>
                  <a:pt x="144" y="54"/>
                </a:lnTo>
                <a:lnTo>
                  <a:pt x="146" y="60"/>
                </a:lnTo>
                <a:lnTo>
                  <a:pt x="146" y="66"/>
                </a:lnTo>
                <a:lnTo>
                  <a:pt x="142" y="72"/>
                </a:lnTo>
                <a:lnTo>
                  <a:pt x="140" y="76"/>
                </a:lnTo>
                <a:lnTo>
                  <a:pt x="140" y="82"/>
                </a:lnTo>
                <a:lnTo>
                  <a:pt x="136" y="90"/>
                </a:lnTo>
                <a:lnTo>
                  <a:pt x="136" y="94"/>
                </a:lnTo>
                <a:lnTo>
                  <a:pt x="130" y="100"/>
                </a:lnTo>
                <a:lnTo>
                  <a:pt x="128" y="100"/>
                </a:lnTo>
                <a:lnTo>
                  <a:pt x="126" y="96"/>
                </a:lnTo>
                <a:lnTo>
                  <a:pt x="120" y="102"/>
                </a:lnTo>
                <a:lnTo>
                  <a:pt x="110" y="104"/>
                </a:lnTo>
                <a:lnTo>
                  <a:pt x="106" y="108"/>
                </a:lnTo>
                <a:lnTo>
                  <a:pt x="100" y="110"/>
                </a:lnTo>
                <a:lnTo>
                  <a:pt x="92" y="110"/>
                </a:lnTo>
                <a:lnTo>
                  <a:pt x="90" y="118"/>
                </a:lnTo>
                <a:lnTo>
                  <a:pt x="88" y="122"/>
                </a:lnTo>
                <a:lnTo>
                  <a:pt x="84" y="126"/>
                </a:lnTo>
                <a:lnTo>
                  <a:pt x="78" y="136"/>
                </a:lnTo>
                <a:lnTo>
                  <a:pt x="76" y="142"/>
                </a:lnTo>
                <a:lnTo>
                  <a:pt x="70" y="148"/>
                </a:lnTo>
                <a:lnTo>
                  <a:pt x="62" y="148"/>
                </a:lnTo>
                <a:lnTo>
                  <a:pt x="60" y="154"/>
                </a:lnTo>
                <a:lnTo>
                  <a:pt x="58" y="158"/>
                </a:lnTo>
                <a:lnTo>
                  <a:pt x="56" y="160"/>
                </a:lnTo>
                <a:lnTo>
                  <a:pt x="50" y="162"/>
                </a:lnTo>
                <a:lnTo>
                  <a:pt x="50" y="164"/>
                </a:lnTo>
                <a:lnTo>
                  <a:pt x="52" y="166"/>
                </a:lnTo>
                <a:lnTo>
                  <a:pt x="56" y="168"/>
                </a:lnTo>
                <a:lnTo>
                  <a:pt x="58" y="174"/>
                </a:lnTo>
                <a:lnTo>
                  <a:pt x="66" y="184"/>
                </a:lnTo>
                <a:lnTo>
                  <a:pt x="68" y="192"/>
                </a:lnTo>
                <a:lnTo>
                  <a:pt x="68" y="196"/>
                </a:lnTo>
                <a:lnTo>
                  <a:pt x="68" y="200"/>
                </a:lnTo>
                <a:lnTo>
                  <a:pt x="66" y="204"/>
                </a:lnTo>
                <a:lnTo>
                  <a:pt x="60" y="208"/>
                </a:lnTo>
                <a:lnTo>
                  <a:pt x="54" y="200"/>
                </a:lnTo>
                <a:lnTo>
                  <a:pt x="52" y="196"/>
                </a:lnTo>
                <a:lnTo>
                  <a:pt x="50" y="196"/>
                </a:lnTo>
                <a:lnTo>
                  <a:pt x="0" y="292"/>
                </a:lnTo>
                <a:lnTo>
                  <a:pt x="2" y="294"/>
                </a:lnTo>
                <a:lnTo>
                  <a:pt x="22" y="320"/>
                </a:lnTo>
                <a:lnTo>
                  <a:pt x="24" y="322"/>
                </a:lnTo>
                <a:lnTo>
                  <a:pt x="26" y="324"/>
                </a:lnTo>
                <a:lnTo>
                  <a:pt x="40" y="338"/>
                </a:lnTo>
                <a:lnTo>
                  <a:pt x="40" y="340"/>
                </a:lnTo>
                <a:lnTo>
                  <a:pt x="48" y="346"/>
                </a:lnTo>
                <a:lnTo>
                  <a:pt x="52" y="348"/>
                </a:lnTo>
                <a:lnTo>
                  <a:pt x="52" y="352"/>
                </a:lnTo>
                <a:lnTo>
                  <a:pt x="84" y="380"/>
                </a:lnTo>
                <a:lnTo>
                  <a:pt x="86" y="380"/>
                </a:lnTo>
                <a:lnTo>
                  <a:pt x="88" y="382"/>
                </a:lnTo>
                <a:lnTo>
                  <a:pt x="100" y="394"/>
                </a:lnTo>
                <a:lnTo>
                  <a:pt x="104" y="396"/>
                </a:lnTo>
                <a:lnTo>
                  <a:pt x="106" y="398"/>
                </a:lnTo>
                <a:lnTo>
                  <a:pt x="108" y="400"/>
                </a:lnTo>
                <a:lnTo>
                  <a:pt x="118" y="410"/>
                </a:lnTo>
                <a:lnTo>
                  <a:pt x="120" y="408"/>
                </a:lnTo>
                <a:lnTo>
                  <a:pt x="122" y="408"/>
                </a:lnTo>
                <a:lnTo>
                  <a:pt x="124" y="408"/>
                </a:lnTo>
                <a:lnTo>
                  <a:pt x="126" y="406"/>
                </a:lnTo>
                <a:lnTo>
                  <a:pt x="130" y="402"/>
                </a:lnTo>
                <a:lnTo>
                  <a:pt x="132" y="402"/>
                </a:lnTo>
                <a:lnTo>
                  <a:pt x="136" y="400"/>
                </a:lnTo>
                <a:lnTo>
                  <a:pt x="138" y="398"/>
                </a:lnTo>
                <a:lnTo>
                  <a:pt x="146" y="394"/>
                </a:lnTo>
                <a:lnTo>
                  <a:pt x="148" y="392"/>
                </a:lnTo>
                <a:lnTo>
                  <a:pt x="154" y="388"/>
                </a:lnTo>
                <a:lnTo>
                  <a:pt x="156" y="388"/>
                </a:lnTo>
                <a:lnTo>
                  <a:pt x="158" y="384"/>
                </a:lnTo>
                <a:lnTo>
                  <a:pt x="160" y="382"/>
                </a:lnTo>
                <a:lnTo>
                  <a:pt x="162" y="382"/>
                </a:lnTo>
                <a:lnTo>
                  <a:pt x="164" y="382"/>
                </a:lnTo>
                <a:lnTo>
                  <a:pt x="170" y="380"/>
                </a:lnTo>
                <a:lnTo>
                  <a:pt x="178" y="376"/>
                </a:lnTo>
                <a:lnTo>
                  <a:pt x="180" y="374"/>
                </a:lnTo>
                <a:lnTo>
                  <a:pt x="192" y="370"/>
                </a:lnTo>
                <a:lnTo>
                  <a:pt x="198" y="366"/>
                </a:lnTo>
                <a:lnTo>
                  <a:pt x="200" y="366"/>
                </a:lnTo>
                <a:lnTo>
                  <a:pt x="202" y="366"/>
                </a:lnTo>
                <a:lnTo>
                  <a:pt x="206" y="364"/>
                </a:lnTo>
                <a:lnTo>
                  <a:pt x="210" y="364"/>
                </a:lnTo>
                <a:lnTo>
                  <a:pt x="212" y="362"/>
                </a:lnTo>
                <a:lnTo>
                  <a:pt x="216" y="360"/>
                </a:lnTo>
                <a:lnTo>
                  <a:pt x="224" y="360"/>
                </a:lnTo>
                <a:lnTo>
                  <a:pt x="228" y="358"/>
                </a:lnTo>
                <a:lnTo>
                  <a:pt x="236" y="356"/>
                </a:lnTo>
                <a:lnTo>
                  <a:pt x="248" y="354"/>
                </a:lnTo>
                <a:lnTo>
                  <a:pt x="250" y="354"/>
                </a:lnTo>
                <a:lnTo>
                  <a:pt x="260" y="352"/>
                </a:lnTo>
                <a:lnTo>
                  <a:pt x="264" y="352"/>
                </a:lnTo>
                <a:lnTo>
                  <a:pt x="268" y="348"/>
                </a:lnTo>
                <a:lnTo>
                  <a:pt x="270" y="348"/>
                </a:lnTo>
                <a:lnTo>
                  <a:pt x="278" y="348"/>
                </a:lnTo>
                <a:lnTo>
                  <a:pt x="282" y="346"/>
                </a:lnTo>
                <a:lnTo>
                  <a:pt x="284" y="346"/>
                </a:lnTo>
                <a:lnTo>
                  <a:pt x="292" y="344"/>
                </a:lnTo>
                <a:lnTo>
                  <a:pt x="294" y="344"/>
                </a:lnTo>
                <a:lnTo>
                  <a:pt x="296" y="344"/>
                </a:lnTo>
                <a:lnTo>
                  <a:pt x="302" y="342"/>
                </a:lnTo>
                <a:lnTo>
                  <a:pt x="306" y="340"/>
                </a:lnTo>
                <a:lnTo>
                  <a:pt x="312" y="340"/>
                </a:lnTo>
                <a:lnTo>
                  <a:pt x="326" y="336"/>
                </a:lnTo>
                <a:lnTo>
                  <a:pt x="332" y="334"/>
                </a:lnTo>
                <a:lnTo>
                  <a:pt x="334" y="334"/>
                </a:lnTo>
                <a:lnTo>
                  <a:pt x="336" y="336"/>
                </a:lnTo>
                <a:lnTo>
                  <a:pt x="336" y="338"/>
                </a:lnTo>
                <a:lnTo>
                  <a:pt x="338" y="338"/>
                </a:lnTo>
                <a:lnTo>
                  <a:pt x="338" y="340"/>
                </a:lnTo>
                <a:lnTo>
                  <a:pt x="338" y="342"/>
                </a:lnTo>
                <a:lnTo>
                  <a:pt x="340" y="344"/>
                </a:lnTo>
                <a:lnTo>
                  <a:pt x="344" y="344"/>
                </a:lnTo>
                <a:lnTo>
                  <a:pt x="348" y="344"/>
                </a:lnTo>
                <a:lnTo>
                  <a:pt x="352" y="344"/>
                </a:lnTo>
                <a:lnTo>
                  <a:pt x="356" y="342"/>
                </a:lnTo>
                <a:lnTo>
                  <a:pt x="358" y="342"/>
                </a:lnTo>
                <a:lnTo>
                  <a:pt x="366" y="340"/>
                </a:lnTo>
                <a:lnTo>
                  <a:pt x="374" y="336"/>
                </a:lnTo>
                <a:lnTo>
                  <a:pt x="380" y="336"/>
                </a:lnTo>
                <a:lnTo>
                  <a:pt x="390" y="328"/>
                </a:lnTo>
                <a:lnTo>
                  <a:pt x="400" y="324"/>
                </a:lnTo>
                <a:lnTo>
                  <a:pt x="410" y="318"/>
                </a:lnTo>
                <a:lnTo>
                  <a:pt x="418" y="310"/>
                </a:lnTo>
                <a:lnTo>
                  <a:pt x="422" y="306"/>
                </a:lnTo>
                <a:lnTo>
                  <a:pt x="426" y="302"/>
                </a:lnTo>
                <a:lnTo>
                  <a:pt x="430" y="302"/>
                </a:lnTo>
                <a:lnTo>
                  <a:pt x="432" y="300"/>
                </a:lnTo>
                <a:lnTo>
                  <a:pt x="434" y="298"/>
                </a:lnTo>
                <a:lnTo>
                  <a:pt x="436" y="294"/>
                </a:lnTo>
                <a:lnTo>
                  <a:pt x="440" y="290"/>
                </a:lnTo>
                <a:lnTo>
                  <a:pt x="442" y="290"/>
                </a:lnTo>
                <a:lnTo>
                  <a:pt x="448" y="288"/>
                </a:lnTo>
                <a:lnTo>
                  <a:pt x="450" y="286"/>
                </a:lnTo>
                <a:lnTo>
                  <a:pt x="454" y="284"/>
                </a:lnTo>
                <a:lnTo>
                  <a:pt x="454" y="282"/>
                </a:lnTo>
                <a:lnTo>
                  <a:pt x="452" y="276"/>
                </a:lnTo>
                <a:lnTo>
                  <a:pt x="444" y="268"/>
                </a:lnTo>
                <a:lnTo>
                  <a:pt x="442" y="264"/>
                </a:lnTo>
                <a:lnTo>
                  <a:pt x="438" y="258"/>
                </a:lnTo>
                <a:lnTo>
                  <a:pt x="438" y="256"/>
                </a:lnTo>
                <a:lnTo>
                  <a:pt x="436" y="256"/>
                </a:lnTo>
                <a:lnTo>
                  <a:pt x="434" y="252"/>
                </a:lnTo>
                <a:lnTo>
                  <a:pt x="430" y="248"/>
                </a:lnTo>
                <a:lnTo>
                  <a:pt x="426" y="244"/>
                </a:lnTo>
                <a:lnTo>
                  <a:pt x="426" y="240"/>
                </a:lnTo>
                <a:lnTo>
                  <a:pt x="426" y="236"/>
                </a:lnTo>
                <a:lnTo>
                  <a:pt x="430" y="232"/>
                </a:lnTo>
                <a:lnTo>
                  <a:pt x="440" y="214"/>
                </a:lnTo>
                <a:lnTo>
                  <a:pt x="442" y="212"/>
                </a:lnTo>
                <a:lnTo>
                  <a:pt x="440" y="208"/>
                </a:lnTo>
                <a:lnTo>
                  <a:pt x="440" y="204"/>
                </a:lnTo>
                <a:lnTo>
                  <a:pt x="440" y="202"/>
                </a:lnTo>
                <a:lnTo>
                  <a:pt x="442" y="198"/>
                </a:lnTo>
                <a:lnTo>
                  <a:pt x="442" y="196"/>
                </a:lnTo>
                <a:lnTo>
                  <a:pt x="448" y="190"/>
                </a:lnTo>
                <a:lnTo>
                  <a:pt x="444" y="186"/>
                </a:lnTo>
                <a:lnTo>
                  <a:pt x="398" y="144"/>
                </a:lnTo>
                <a:close/>
              </a:path>
            </a:pathLst>
          </a:custGeom>
          <a:solidFill>
            <a:srgbClr val="666766"/>
          </a:solidFill>
          <a:ln w="6350">
            <a:solidFill>
              <a:schemeClr val="tx1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457200">
              <a:defRPr/>
            </a:pPr>
            <a:endParaRPr lang="en-US" kern="0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66" name="Freeform 44">
            <a:extLst>
              <a:ext uri="{FF2B5EF4-FFF2-40B4-BE49-F238E27FC236}">
                <a16:creationId xmlns:a16="http://schemas.microsoft.com/office/drawing/2014/main" id="{B85B0398-6B9F-B959-3DA3-44D5A4E0C0D1}"/>
              </a:ext>
            </a:extLst>
          </p:cNvPr>
          <p:cNvSpPr>
            <a:spLocks/>
          </p:cNvSpPr>
          <p:nvPr/>
        </p:nvSpPr>
        <p:spPr bwMode="auto">
          <a:xfrm>
            <a:off x="5782309" y="2956560"/>
            <a:ext cx="683260" cy="690880"/>
          </a:xfrm>
          <a:custGeom>
            <a:avLst/>
            <a:gdLst>
              <a:gd name="T0" fmla="*/ 2147483646 w 538"/>
              <a:gd name="T1" fmla="*/ 2147483646 h 544"/>
              <a:gd name="T2" fmla="*/ 2147483646 w 538"/>
              <a:gd name="T3" fmla="*/ 2147483646 h 544"/>
              <a:gd name="T4" fmla="*/ 2147483646 w 538"/>
              <a:gd name="T5" fmla="*/ 2147483646 h 544"/>
              <a:gd name="T6" fmla="*/ 2147483646 w 538"/>
              <a:gd name="T7" fmla="*/ 2147483646 h 544"/>
              <a:gd name="T8" fmla="*/ 2147483646 w 538"/>
              <a:gd name="T9" fmla="*/ 2147483646 h 544"/>
              <a:gd name="T10" fmla="*/ 2147483646 w 538"/>
              <a:gd name="T11" fmla="*/ 2147483646 h 544"/>
              <a:gd name="T12" fmla="*/ 2147483646 w 538"/>
              <a:gd name="T13" fmla="*/ 2147483646 h 544"/>
              <a:gd name="T14" fmla="*/ 2147483646 w 538"/>
              <a:gd name="T15" fmla="*/ 2147483646 h 544"/>
              <a:gd name="T16" fmla="*/ 2147483646 w 538"/>
              <a:gd name="T17" fmla="*/ 2147483646 h 544"/>
              <a:gd name="T18" fmla="*/ 2147483646 w 538"/>
              <a:gd name="T19" fmla="*/ 2147483646 h 544"/>
              <a:gd name="T20" fmla="*/ 2147483646 w 538"/>
              <a:gd name="T21" fmla="*/ 2147483646 h 544"/>
              <a:gd name="T22" fmla="*/ 2147483646 w 538"/>
              <a:gd name="T23" fmla="*/ 2147483646 h 544"/>
              <a:gd name="T24" fmla="*/ 2147483646 w 538"/>
              <a:gd name="T25" fmla="*/ 2147483646 h 544"/>
              <a:gd name="T26" fmla="*/ 2147483646 w 538"/>
              <a:gd name="T27" fmla="*/ 2147483646 h 544"/>
              <a:gd name="T28" fmla="*/ 2147483646 w 538"/>
              <a:gd name="T29" fmla="*/ 2147483646 h 544"/>
              <a:gd name="T30" fmla="*/ 2147483646 w 538"/>
              <a:gd name="T31" fmla="*/ 2147483646 h 544"/>
              <a:gd name="T32" fmla="*/ 2147483646 w 538"/>
              <a:gd name="T33" fmla="*/ 2147483646 h 544"/>
              <a:gd name="T34" fmla="*/ 2147483646 w 538"/>
              <a:gd name="T35" fmla="*/ 2147483646 h 544"/>
              <a:gd name="T36" fmla="*/ 2147483646 w 538"/>
              <a:gd name="T37" fmla="*/ 2147483646 h 544"/>
              <a:gd name="T38" fmla="*/ 2147483646 w 538"/>
              <a:gd name="T39" fmla="*/ 2147483646 h 544"/>
              <a:gd name="T40" fmla="*/ 2147483646 w 538"/>
              <a:gd name="T41" fmla="*/ 2147483646 h 544"/>
              <a:gd name="T42" fmla="*/ 2147483646 w 538"/>
              <a:gd name="T43" fmla="*/ 2147483646 h 544"/>
              <a:gd name="T44" fmla="*/ 2147483646 w 538"/>
              <a:gd name="T45" fmla="*/ 2147483646 h 544"/>
              <a:gd name="T46" fmla="*/ 2147483646 w 538"/>
              <a:gd name="T47" fmla="*/ 2147483646 h 544"/>
              <a:gd name="T48" fmla="*/ 2147483646 w 538"/>
              <a:gd name="T49" fmla="*/ 2147483646 h 544"/>
              <a:gd name="T50" fmla="*/ 2147483646 w 538"/>
              <a:gd name="T51" fmla="*/ 2147483646 h 544"/>
              <a:gd name="T52" fmla="*/ 2147483646 w 538"/>
              <a:gd name="T53" fmla="*/ 2147483646 h 544"/>
              <a:gd name="T54" fmla="*/ 2147483646 w 538"/>
              <a:gd name="T55" fmla="*/ 2147483646 h 544"/>
              <a:gd name="T56" fmla="*/ 2147483646 w 538"/>
              <a:gd name="T57" fmla="*/ 2147483646 h 544"/>
              <a:gd name="T58" fmla="*/ 2147483646 w 538"/>
              <a:gd name="T59" fmla="*/ 2147483646 h 544"/>
              <a:gd name="T60" fmla="*/ 2147483646 w 538"/>
              <a:gd name="T61" fmla="*/ 2147483646 h 544"/>
              <a:gd name="T62" fmla="*/ 2147483646 w 538"/>
              <a:gd name="T63" fmla="*/ 2147483646 h 544"/>
              <a:gd name="T64" fmla="*/ 2147483646 w 538"/>
              <a:gd name="T65" fmla="*/ 2147483646 h 544"/>
              <a:gd name="T66" fmla="*/ 2147483646 w 538"/>
              <a:gd name="T67" fmla="*/ 2147483646 h 544"/>
              <a:gd name="T68" fmla="*/ 2147483646 w 538"/>
              <a:gd name="T69" fmla="*/ 2147483646 h 544"/>
              <a:gd name="T70" fmla="*/ 2147483646 w 538"/>
              <a:gd name="T71" fmla="*/ 2147483646 h 544"/>
              <a:gd name="T72" fmla="*/ 2147483646 w 538"/>
              <a:gd name="T73" fmla="*/ 2147483646 h 544"/>
              <a:gd name="T74" fmla="*/ 2147483646 w 538"/>
              <a:gd name="T75" fmla="*/ 2147483646 h 544"/>
              <a:gd name="T76" fmla="*/ 2147483646 w 538"/>
              <a:gd name="T77" fmla="*/ 2147483646 h 544"/>
              <a:gd name="T78" fmla="*/ 2147483646 w 538"/>
              <a:gd name="T79" fmla="*/ 2147483646 h 544"/>
              <a:gd name="T80" fmla="*/ 2147483646 w 538"/>
              <a:gd name="T81" fmla="*/ 2147483646 h 544"/>
              <a:gd name="T82" fmla="*/ 2147483646 w 538"/>
              <a:gd name="T83" fmla="*/ 2147483646 h 544"/>
              <a:gd name="T84" fmla="*/ 2147483646 w 538"/>
              <a:gd name="T85" fmla="*/ 2147483646 h 544"/>
              <a:gd name="T86" fmla="*/ 2147483646 w 538"/>
              <a:gd name="T87" fmla="*/ 2147483646 h 544"/>
              <a:gd name="T88" fmla="*/ 2147483646 w 538"/>
              <a:gd name="T89" fmla="*/ 2147483646 h 544"/>
              <a:gd name="T90" fmla="*/ 2147483646 w 538"/>
              <a:gd name="T91" fmla="*/ 2147483646 h 544"/>
              <a:gd name="T92" fmla="*/ 2147483646 w 538"/>
              <a:gd name="T93" fmla="*/ 2147483646 h 544"/>
              <a:gd name="T94" fmla="*/ 2147483646 w 538"/>
              <a:gd name="T95" fmla="*/ 2147483646 h 544"/>
              <a:gd name="T96" fmla="*/ 2147483646 w 538"/>
              <a:gd name="T97" fmla="*/ 2147483646 h 544"/>
              <a:gd name="T98" fmla="*/ 2147483646 w 538"/>
              <a:gd name="T99" fmla="*/ 2147483646 h 544"/>
              <a:gd name="T100" fmla="*/ 2147483646 w 538"/>
              <a:gd name="T101" fmla="*/ 2147483646 h 544"/>
              <a:gd name="T102" fmla="*/ 2147483646 w 538"/>
              <a:gd name="T103" fmla="*/ 2147483646 h 544"/>
              <a:gd name="T104" fmla="*/ 2147483646 w 538"/>
              <a:gd name="T105" fmla="*/ 2147483646 h 544"/>
              <a:gd name="T106" fmla="*/ 2147483646 w 538"/>
              <a:gd name="T107" fmla="*/ 2147483646 h 544"/>
              <a:gd name="T108" fmla="*/ 2147483646 w 538"/>
              <a:gd name="T109" fmla="*/ 2147483646 h 544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w 538"/>
              <a:gd name="T166" fmla="*/ 0 h 544"/>
              <a:gd name="T167" fmla="*/ 538 w 538"/>
              <a:gd name="T168" fmla="*/ 544 h 544"/>
            </a:gdLst>
            <a:ahLst/>
            <a:cxnLst>
              <a:cxn ang="T110">
                <a:pos x="T0" y="T1"/>
              </a:cxn>
              <a:cxn ang="T111">
                <a:pos x="T2" y="T3"/>
              </a:cxn>
              <a:cxn ang="T112">
                <a:pos x="T4" y="T5"/>
              </a:cxn>
              <a:cxn ang="T113">
                <a:pos x="T6" y="T7"/>
              </a:cxn>
              <a:cxn ang="T114">
                <a:pos x="T8" y="T9"/>
              </a:cxn>
              <a:cxn ang="T115">
                <a:pos x="T10" y="T11"/>
              </a:cxn>
              <a:cxn ang="T116">
                <a:pos x="T12" y="T13"/>
              </a:cxn>
              <a:cxn ang="T117">
                <a:pos x="T14" y="T15"/>
              </a:cxn>
              <a:cxn ang="T118">
                <a:pos x="T16" y="T17"/>
              </a:cxn>
              <a:cxn ang="T119">
                <a:pos x="T18" y="T19"/>
              </a:cxn>
              <a:cxn ang="T120">
                <a:pos x="T20" y="T21"/>
              </a:cxn>
              <a:cxn ang="T121">
                <a:pos x="T22" y="T23"/>
              </a:cxn>
              <a:cxn ang="T122">
                <a:pos x="T24" y="T25"/>
              </a:cxn>
              <a:cxn ang="T123">
                <a:pos x="T26" y="T27"/>
              </a:cxn>
              <a:cxn ang="T124">
                <a:pos x="T28" y="T29"/>
              </a:cxn>
              <a:cxn ang="T125">
                <a:pos x="T30" y="T31"/>
              </a:cxn>
              <a:cxn ang="T126">
                <a:pos x="T32" y="T33"/>
              </a:cxn>
              <a:cxn ang="T127">
                <a:pos x="T34" y="T35"/>
              </a:cxn>
              <a:cxn ang="T128">
                <a:pos x="T36" y="T37"/>
              </a:cxn>
              <a:cxn ang="T129">
                <a:pos x="T38" y="T39"/>
              </a:cxn>
              <a:cxn ang="T130">
                <a:pos x="T40" y="T41"/>
              </a:cxn>
              <a:cxn ang="T131">
                <a:pos x="T42" y="T43"/>
              </a:cxn>
              <a:cxn ang="T132">
                <a:pos x="T44" y="T45"/>
              </a:cxn>
              <a:cxn ang="T133">
                <a:pos x="T46" y="T47"/>
              </a:cxn>
              <a:cxn ang="T134">
                <a:pos x="T48" y="T49"/>
              </a:cxn>
              <a:cxn ang="T135">
                <a:pos x="T50" y="T51"/>
              </a:cxn>
              <a:cxn ang="T136">
                <a:pos x="T52" y="T53"/>
              </a:cxn>
              <a:cxn ang="T137">
                <a:pos x="T54" y="T55"/>
              </a:cxn>
              <a:cxn ang="T138">
                <a:pos x="T56" y="T57"/>
              </a:cxn>
              <a:cxn ang="T139">
                <a:pos x="T58" y="T59"/>
              </a:cxn>
              <a:cxn ang="T140">
                <a:pos x="T60" y="T61"/>
              </a:cxn>
              <a:cxn ang="T141">
                <a:pos x="T62" y="T63"/>
              </a:cxn>
              <a:cxn ang="T142">
                <a:pos x="T64" y="T65"/>
              </a:cxn>
              <a:cxn ang="T143">
                <a:pos x="T66" y="T67"/>
              </a:cxn>
              <a:cxn ang="T144">
                <a:pos x="T68" y="T69"/>
              </a:cxn>
              <a:cxn ang="T145">
                <a:pos x="T70" y="T71"/>
              </a:cxn>
              <a:cxn ang="T146">
                <a:pos x="T72" y="T73"/>
              </a:cxn>
              <a:cxn ang="T147">
                <a:pos x="T74" y="T75"/>
              </a:cxn>
              <a:cxn ang="T148">
                <a:pos x="T76" y="T77"/>
              </a:cxn>
              <a:cxn ang="T149">
                <a:pos x="T78" y="T79"/>
              </a:cxn>
              <a:cxn ang="T150">
                <a:pos x="T80" y="T81"/>
              </a:cxn>
              <a:cxn ang="T151">
                <a:pos x="T82" y="T83"/>
              </a:cxn>
              <a:cxn ang="T152">
                <a:pos x="T84" y="T85"/>
              </a:cxn>
              <a:cxn ang="T153">
                <a:pos x="T86" y="T87"/>
              </a:cxn>
              <a:cxn ang="T154">
                <a:pos x="T88" y="T89"/>
              </a:cxn>
              <a:cxn ang="T155">
                <a:pos x="T90" y="T91"/>
              </a:cxn>
              <a:cxn ang="T156">
                <a:pos x="T92" y="T93"/>
              </a:cxn>
              <a:cxn ang="T157">
                <a:pos x="T94" y="T95"/>
              </a:cxn>
              <a:cxn ang="T158">
                <a:pos x="T96" y="T97"/>
              </a:cxn>
              <a:cxn ang="T159">
                <a:pos x="T98" y="T99"/>
              </a:cxn>
              <a:cxn ang="T160">
                <a:pos x="T100" y="T101"/>
              </a:cxn>
              <a:cxn ang="T161">
                <a:pos x="T102" y="T103"/>
              </a:cxn>
              <a:cxn ang="T162">
                <a:pos x="T104" y="T105"/>
              </a:cxn>
              <a:cxn ang="T163">
                <a:pos x="T106" y="T107"/>
              </a:cxn>
              <a:cxn ang="T164">
                <a:pos x="T108" y="T109"/>
              </a:cxn>
            </a:cxnLst>
            <a:rect l="T165" t="T166" r="T167" b="T168"/>
            <a:pathLst>
              <a:path w="538" h="544">
                <a:moveTo>
                  <a:pt x="526" y="150"/>
                </a:moveTo>
                <a:lnTo>
                  <a:pt x="520" y="144"/>
                </a:lnTo>
                <a:lnTo>
                  <a:pt x="512" y="140"/>
                </a:lnTo>
                <a:lnTo>
                  <a:pt x="508" y="136"/>
                </a:lnTo>
                <a:lnTo>
                  <a:pt x="506" y="132"/>
                </a:lnTo>
                <a:lnTo>
                  <a:pt x="502" y="128"/>
                </a:lnTo>
                <a:lnTo>
                  <a:pt x="496" y="124"/>
                </a:lnTo>
                <a:lnTo>
                  <a:pt x="492" y="118"/>
                </a:lnTo>
                <a:lnTo>
                  <a:pt x="488" y="114"/>
                </a:lnTo>
                <a:lnTo>
                  <a:pt x="476" y="112"/>
                </a:lnTo>
                <a:lnTo>
                  <a:pt x="466" y="108"/>
                </a:lnTo>
                <a:lnTo>
                  <a:pt x="454" y="106"/>
                </a:lnTo>
                <a:lnTo>
                  <a:pt x="438" y="130"/>
                </a:lnTo>
                <a:lnTo>
                  <a:pt x="424" y="122"/>
                </a:lnTo>
                <a:lnTo>
                  <a:pt x="418" y="122"/>
                </a:lnTo>
                <a:lnTo>
                  <a:pt x="406" y="124"/>
                </a:lnTo>
                <a:lnTo>
                  <a:pt x="400" y="120"/>
                </a:lnTo>
                <a:lnTo>
                  <a:pt x="400" y="114"/>
                </a:lnTo>
                <a:lnTo>
                  <a:pt x="392" y="108"/>
                </a:lnTo>
                <a:lnTo>
                  <a:pt x="390" y="108"/>
                </a:lnTo>
                <a:lnTo>
                  <a:pt x="384" y="104"/>
                </a:lnTo>
                <a:lnTo>
                  <a:pt x="374" y="100"/>
                </a:lnTo>
                <a:lnTo>
                  <a:pt x="362" y="100"/>
                </a:lnTo>
                <a:lnTo>
                  <a:pt x="340" y="100"/>
                </a:lnTo>
                <a:lnTo>
                  <a:pt x="332" y="94"/>
                </a:lnTo>
                <a:lnTo>
                  <a:pt x="320" y="90"/>
                </a:lnTo>
                <a:lnTo>
                  <a:pt x="302" y="84"/>
                </a:lnTo>
                <a:lnTo>
                  <a:pt x="262" y="68"/>
                </a:lnTo>
                <a:lnTo>
                  <a:pt x="224" y="54"/>
                </a:lnTo>
                <a:lnTo>
                  <a:pt x="198" y="46"/>
                </a:lnTo>
                <a:lnTo>
                  <a:pt x="194" y="46"/>
                </a:lnTo>
                <a:lnTo>
                  <a:pt x="174" y="34"/>
                </a:lnTo>
                <a:lnTo>
                  <a:pt x="138" y="10"/>
                </a:lnTo>
                <a:lnTo>
                  <a:pt x="120" y="0"/>
                </a:lnTo>
                <a:lnTo>
                  <a:pt x="120" y="4"/>
                </a:lnTo>
                <a:lnTo>
                  <a:pt x="116" y="16"/>
                </a:lnTo>
                <a:lnTo>
                  <a:pt x="112" y="24"/>
                </a:lnTo>
                <a:lnTo>
                  <a:pt x="110" y="34"/>
                </a:lnTo>
                <a:lnTo>
                  <a:pt x="106" y="42"/>
                </a:lnTo>
                <a:lnTo>
                  <a:pt x="108" y="50"/>
                </a:lnTo>
                <a:lnTo>
                  <a:pt x="104" y="54"/>
                </a:lnTo>
                <a:lnTo>
                  <a:pt x="98" y="60"/>
                </a:lnTo>
                <a:lnTo>
                  <a:pt x="92" y="72"/>
                </a:lnTo>
                <a:lnTo>
                  <a:pt x="86" y="94"/>
                </a:lnTo>
                <a:lnTo>
                  <a:pt x="78" y="102"/>
                </a:lnTo>
                <a:lnTo>
                  <a:pt x="76" y="104"/>
                </a:lnTo>
                <a:lnTo>
                  <a:pt x="78" y="108"/>
                </a:lnTo>
                <a:lnTo>
                  <a:pt x="82" y="114"/>
                </a:lnTo>
                <a:lnTo>
                  <a:pt x="76" y="124"/>
                </a:lnTo>
                <a:lnTo>
                  <a:pt x="76" y="140"/>
                </a:lnTo>
                <a:lnTo>
                  <a:pt x="68" y="148"/>
                </a:lnTo>
                <a:lnTo>
                  <a:pt x="60" y="156"/>
                </a:lnTo>
                <a:lnTo>
                  <a:pt x="64" y="162"/>
                </a:lnTo>
                <a:lnTo>
                  <a:pt x="62" y="166"/>
                </a:lnTo>
                <a:lnTo>
                  <a:pt x="56" y="172"/>
                </a:lnTo>
                <a:lnTo>
                  <a:pt x="54" y="174"/>
                </a:lnTo>
                <a:lnTo>
                  <a:pt x="54" y="184"/>
                </a:lnTo>
                <a:lnTo>
                  <a:pt x="50" y="190"/>
                </a:lnTo>
                <a:lnTo>
                  <a:pt x="42" y="192"/>
                </a:lnTo>
                <a:lnTo>
                  <a:pt x="42" y="194"/>
                </a:lnTo>
                <a:lnTo>
                  <a:pt x="44" y="198"/>
                </a:lnTo>
                <a:lnTo>
                  <a:pt x="42" y="210"/>
                </a:lnTo>
                <a:lnTo>
                  <a:pt x="38" y="218"/>
                </a:lnTo>
                <a:lnTo>
                  <a:pt x="34" y="226"/>
                </a:lnTo>
                <a:lnTo>
                  <a:pt x="36" y="230"/>
                </a:lnTo>
                <a:lnTo>
                  <a:pt x="42" y="246"/>
                </a:lnTo>
                <a:lnTo>
                  <a:pt x="40" y="258"/>
                </a:lnTo>
                <a:lnTo>
                  <a:pt x="40" y="268"/>
                </a:lnTo>
                <a:lnTo>
                  <a:pt x="38" y="274"/>
                </a:lnTo>
                <a:lnTo>
                  <a:pt x="70" y="346"/>
                </a:lnTo>
                <a:lnTo>
                  <a:pt x="72" y="358"/>
                </a:lnTo>
                <a:lnTo>
                  <a:pt x="64" y="366"/>
                </a:lnTo>
                <a:lnTo>
                  <a:pt x="54" y="384"/>
                </a:lnTo>
                <a:lnTo>
                  <a:pt x="46" y="392"/>
                </a:lnTo>
                <a:lnTo>
                  <a:pt x="40" y="396"/>
                </a:lnTo>
                <a:lnTo>
                  <a:pt x="40" y="400"/>
                </a:lnTo>
                <a:lnTo>
                  <a:pt x="40" y="408"/>
                </a:lnTo>
                <a:lnTo>
                  <a:pt x="42" y="414"/>
                </a:lnTo>
                <a:lnTo>
                  <a:pt x="42" y="420"/>
                </a:lnTo>
                <a:lnTo>
                  <a:pt x="34" y="434"/>
                </a:lnTo>
                <a:lnTo>
                  <a:pt x="26" y="446"/>
                </a:lnTo>
                <a:lnTo>
                  <a:pt x="18" y="454"/>
                </a:lnTo>
                <a:lnTo>
                  <a:pt x="12" y="462"/>
                </a:lnTo>
                <a:lnTo>
                  <a:pt x="10" y="468"/>
                </a:lnTo>
                <a:lnTo>
                  <a:pt x="6" y="476"/>
                </a:lnTo>
                <a:lnTo>
                  <a:pt x="0" y="488"/>
                </a:lnTo>
                <a:lnTo>
                  <a:pt x="22" y="508"/>
                </a:lnTo>
                <a:lnTo>
                  <a:pt x="64" y="544"/>
                </a:lnTo>
                <a:lnTo>
                  <a:pt x="64" y="542"/>
                </a:lnTo>
                <a:lnTo>
                  <a:pt x="68" y="542"/>
                </a:lnTo>
                <a:lnTo>
                  <a:pt x="68" y="540"/>
                </a:lnTo>
                <a:lnTo>
                  <a:pt x="70" y="536"/>
                </a:lnTo>
                <a:lnTo>
                  <a:pt x="70" y="530"/>
                </a:lnTo>
                <a:lnTo>
                  <a:pt x="70" y="526"/>
                </a:lnTo>
                <a:lnTo>
                  <a:pt x="70" y="524"/>
                </a:lnTo>
                <a:lnTo>
                  <a:pt x="68" y="522"/>
                </a:lnTo>
                <a:lnTo>
                  <a:pt x="68" y="518"/>
                </a:lnTo>
                <a:lnTo>
                  <a:pt x="68" y="516"/>
                </a:lnTo>
                <a:lnTo>
                  <a:pt x="70" y="512"/>
                </a:lnTo>
                <a:lnTo>
                  <a:pt x="72" y="510"/>
                </a:lnTo>
                <a:lnTo>
                  <a:pt x="74" y="510"/>
                </a:lnTo>
                <a:lnTo>
                  <a:pt x="76" y="510"/>
                </a:lnTo>
                <a:lnTo>
                  <a:pt x="78" y="508"/>
                </a:lnTo>
                <a:lnTo>
                  <a:pt x="82" y="508"/>
                </a:lnTo>
                <a:lnTo>
                  <a:pt x="86" y="508"/>
                </a:lnTo>
                <a:lnTo>
                  <a:pt x="88" y="510"/>
                </a:lnTo>
                <a:lnTo>
                  <a:pt x="92" y="508"/>
                </a:lnTo>
                <a:lnTo>
                  <a:pt x="92" y="506"/>
                </a:lnTo>
                <a:lnTo>
                  <a:pt x="94" y="504"/>
                </a:lnTo>
                <a:lnTo>
                  <a:pt x="94" y="498"/>
                </a:lnTo>
                <a:lnTo>
                  <a:pt x="94" y="492"/>
                </a:lnTo>
                <a:lnTo>
                  <a:pt x="94" y="490"/>
                </a:lnTo>
                <a:lnTo>
                  <a:pt x="94" y="486"/>
                </a:lnTo>
                <a:lnTo>
                  <a:pt x="96" y="484"/>
                </a:lnTo>
                <a:lnTo>
                  <a:pt x="96" y="482"/>
                </a:lnTo>
                <a:lnTo>
                  <a:pt x="98" y="482"/>
                </a:lnTo>
                <a:lnTo>
                  <a:pt x="102" y="480"/>
                </a:lnTo>
                <a:lnTo>
                  <a:pt x="104" y="476"/>
                </a:lnTo>
                <a:lnTo>
                  <a:pt x="106" y="474"/>
                </a:lnTo>
                <a:lnTo>
                  <a:pt x="108" y="474"/>
                </a:lnTo>
                <a:lnTo>
                  <a:pt x="110" y="472"/>
                </a:lnTo>
                <a:lnTo>
                  <a:pt x="110" y="470"/>
                </a:lnTo>
                <a:lnTo>
                  <a:pt x="110" y="468"/>
                </a:lnTo>
                <a:lnTo>
                  <a:pt x="112" y="466"/>
                </a:lnTo>
                <a:lnTo>
                  <a:pt x="112" y="464"/>
                </a:lnTo>
                <a:lnTo>
                  <a:pt x="112" y="462"/>
                </a:lnTo>
                <a:lnTo>
                  <a:pt x="114" y="460"/>
                </a:lnTo>
                <a:lnTo>
                  <a:pt x="114" y="456"/>
                </a:lnTo>
                <a:lnTo>
                  <a:pt x="116" y="454"/>
                </a:lnTo>
                <a:lnTo>
                  <a:pt x="116" y="452"/>
                </a:lnTo>
                <a:lnTo>
                  <a:pt x="116" y="450"/>
                </a:lnTo>
                <a:lnTo>
                  <a:pt x="114" y="450"/>
                </a:lnTo>
                <a:lnTo>
                  <a:pt x="114" y="448"/>
                </a:lnTo>
                <a:lnTo>
                  <a:pt x="116" y="444"/>
                </a:lnTo>
                <a:lnTo>
                  <a:pt x="120" y="442"/>
                </a:lnTo>
                <a:lnTo>
                  <a:pt x="160" y="476"/>
                </a:lnTo>
                <a:lnTo>
                  <a:pt x="208" y="518"/>
                </a:lnTo>
                <a:lnTo>
                  <a:pt x="210" y="520"/>
                </a:lnTo>
                <a:lnTo>
                  <a:pt x="220" y="528"/>
                </a:lnTo>
                <a:lnTo>
                  <a:pt x="232" y="538"/>
                </a:lnTo>
                <a:lnTo>
                  <a:pt x="232" y="540"/>
                </a:lnTo>
                <a:lnTo>
                  <a:pt x="236" y="534"/>
                </a:lnTo>
                <a:lnTo>
                  <a:pt x="238" y="522"/>
                </a:lnTo>
                <a:lnTo>
                  <a:pt x="238" y="520"/>
                </a:lnTo>
                <a:lnTo>
                  <a:pt x="242" y="518"/>
                </a:lnTo>
                <a:lnTo>
                  <a:pt x="244" y="512"/>
                </a:lnTo>
                <a:lnTo>
                  <a:pt x="244" y="510"/>
                </a:lnTo>
                <a:lnTo>
                  <a:pt x="246" y="506"/>
                </a:lnTo>
                <a:lnTo>
                  <a:pt x="248" y="504"/>
                </a:lnTo>
                <a:lnTo>
                  <a:pt x="250" y="502"/>
                </a:lnTo>
                <a:lnTo>
                  <a:pt x="250" y="498"/>
                </a:lnTo>
                <a:lnTo>
                  <a:pt x="254" y="490"/>
                </a:lnTo>
                <a:lnTo>
                  <a:pt x="260" y="482"/>
                </a:lnTo>
                <a:lnTo>
                  <a:pt x="266" y="474"/>
                </a:lnTo>
                <a:lnTo>
                  <a:pt x="266" y="472"/>
                </a:lnTo>
                <a:lnTo>
                  <a:pt x="268" y="466"/>
                </a:lnTo>
                <a:lnTo>
                  <a:pt x="272" y="454"/>
                </a:lnTo>
                <a:lnTo>
                  <a:pt x="276" y="452"/>
                </a:lnTo>
                <a:lnTo>
                  <a:pt x="280" y="444"/>
                </a:lnTo>
                <a:lnTo>
                  <a:pt x="282" y="434"/>
                </a:lnTo>
                <a:lnTo>
                  <a:pt x="284" y="430"/>
                </a:lnTo>
                <a:lnTo>
                  <a:pt x="284" y="426"/>
                </a:lnTo>
                <a:lnTo>
                  <a:pt x="286" y="424"/>
                </a:lnTo>
                <a:lnTo>
                  <a:pt x="288" y="418"/>
                </a:lnTo>
                <a:lnTo>
                  <a:pt x="290" y="412"/>
                </a:lnTo>
                <a:lnTo>
                  <a:pt x="296" y="406"/>
                </a:lnTo>
                <a:lnTo>
                  <a:pt x="300" y="398"/>
                </a:lnTo>
                <a:lnTo>
                  <a:pt x="304" y="392"/>
                </a:lnTo>
                <a:lnTo>
                  <a:pt x="310" y="388"/>
                </a:lnTo>
                <a:lnTo>
                  <a:pt x="312" y="384"/>
                </a:lnTo>
                <a:lnTo>
                  <a:pt x="314" y="384"/>
                </a:lnTo>
                <a:lnTo>
                  <a:pt x="316" y="382"/>
                </a:lnTo>
                <a:lnTo>
                  <a:pt x="320" y="380"/>
                </a:lnTo>
                <a:lnTo>
                  <a:pt x="322" y="378"/>
                </a:lnTo>
                <a:lnTo>
                  <a:pt x="324" y="376"/>
                </a:lnTo>
                <a:lnTo>
                  <a:pt x="328" y="374"/>
                </a:lnTo>
                <a:lnTo>
                  <a:pt x="330" y="372"/>
                </a:lnTo>
                <a:lnTo>
                  <a:pt x="332" y="366"/>
                </a:lnTo>
                <a:lnTo>
                  <a:pt x="332" y="364"/>
                </a:lnTo>
                <a:lnTo>
                  <a:pt x="334" y="362"/>
                </a:lnTo>
                <a:lnTo>
                  <a:pt x="336" y="358"/>
                </a:lnTo>
                <a:lnTo>
                  <a:pt x="338" y="356"/>
                </a:lnTo>
                <a:lnTo>
                  <a:pt x="342" y="352"/>
                </a:lnTo>
                <a:lnTo>
                  <a:pt x="348" y="348"/>
                </a:lnTo>
                <a:lnTo>
                  <a:pt x="352" y="346"/>
                </a:lnTo>
                <a:lnTo>
                  <a:pt x="354" y="346"/>
                </a:lnTo>
                <a:lnTo>
                  <a:pt x="356" y="346"/>
                </a:lnTo>
                <a:lnTo>
                  <a:pt x="358" y="346"/>
                </a:lnTo>
                <a:lnTo>
                  <a:pt x="362" y="348"/>
                </a:lnTo>
                <a:lnTo>
                  <a:pt x="362" y="354"/>
                </a:lnTo>
                <a:lnTo>
                  <a:pt x="362" y="358"/>
                </a:lnTo>
                <a:lnTo>
                  <a:pt x="358" y="364"/>
                </a:lnTo>
                <a:lnTo>
                  <a:pt x="358" y="372"/>
                </a:lnTo>
                <a:lnTo>
                  <a:pt x="358" y="376"/>
                </a:lnTo>
                <a:lnTo>
                  <a:pt x="358" y="378"/>
                </a:lnTo>
                <a:lnTo>
                  <a:pt x="362" y="378"/>
                </a:lnTo>
                <a:lnTo>
                  <a:pt x="364" y="376"/>
                </a:lnTo>
                <a:lnTo>
                  <a:pt x="366" y="374"/>
                </a:lnTo>
                <a:lnTo>
                  <a:pt x="368" y="372"/>
                </a:lnTo>
                <a:lnTo>
                  <a:pt x="368" y="370"/>
                </a:lnTo>
                <a:lnTo>
                  <a:pt x="370" y="366"/>
                </a:lnTo>
                <a:lnTo>
                  <a:pt x="372" y="364"/>
                </a:lnTo>
                <a:lnTo>
                  <a:pt x="374" y="364"/>
                </a:lnTo>
                <a:lnTo>
                  <a:pt x="376" y="364"/>
                </a:lnTo>
                <a:lnTo>
                  <a:pt x="376" y="362"/>
                </a:lnTo>
                <a:lnTo>
                  <a:pt x="380" y="362"/>
                </a:lnTo>
                <a:lnTo>
                  <a:pt x="382" y="360"/>
                </a:lnTo>
                <a:lnTo>
                  <a:pt x="384" y="358"/>
                </a:lnTo>
                <a:lnTo>
                  <a:pt x="384" y="356"/>
                </a:lnTo>
                <a:lnTo>
                  <a:pt x="386" y="356"/>
                </a:lnTo>
                <a:lnTo>
                  <a:pt x="388" y="354"/>
                </a:lnTo>
                <a:lnTo>
                  <a:pt x="390" y="354"/>
                </a:lnTo>
                <a:lnTo>
                  <a:pt x="392" y="352"/>
                </a:lnTo>
                <a:lnTo>
                  <a:pt x="394" y="352"/>
                </a:lnTo>
                <a:lnTo>
                  <a:pt x="400" y="346"/>
                </a:lnTo>
                <a:lnTo>
                  <a:pt x="404" y="338"/>
                </a:lnTo>
                <a:lnTo>
                  <a:pt x="408" y="330"/>
                </a:lnTo>
                <a:lnTo>
                  <a:pt x="408" y="328"/>
                </a:lnTo>
                <a:lnTo>
                  <a:pt x="410" y="324"/>
                </a:lnTo>
                <a:lnTo>
                  <a:pt x="414" y="322"/>
                </a:lnTo>
                <a:lnTo>
                  <a:pt x="416" y="318"/>
                </a:lnTo>
                <a:lnTo>
                  <a:pt x="416" y="312"/>
                </a:lnTo>
                <a:lnTo>
                  <a:pt x="418" y="308"/>
                </a:lnTo>
                <a:lnTo>
                  <a:pt x="420" y="306"/>
                </a:lnTo>
                <a:lnTo>
                  <a:pt x="422" y="306"/>
                </a:lnTo>
                <a:lnTo>
                  <a:pt x="424" y="306"/>
                </a:lnTo>
                <a:lnTo>
                  <a:pt x="424" y="304"/>
                </a:lnTo>
                <a:lnTo>
                  <a:pt x="426" y="304"/>
                </a:lnTo>
                <a:lnTo>
                  <a:pt x="428" y="300"/>
                </a:lnTo>
                <a:lnTo>
                  <a:pt x="432" y="294"/>
                </a:lnTo>
                <a:lnTo>
                  <a:pt x="434" y="292"/>
                </a:lnTo>
                <a:lnTo>
                  <a:pt x="436" y="288"/>
                </a:lnTo>
                <a:lnTo>
                  <a:pt x="438" y="286"/>
                </a:lnTo>
                <a:lnTo>
                  <a:pt x="440" y="286"/>
                </a:lnTo>
                <a:lnTo>
                  <a:pt x="442" y="288"/>
                </a:lnTo>
                <a:lnTo>
                  <a:pt x="442" y="290"/>
                </a:lnTo>
                <a:lnTo>
                  <a:pt x="442" y="292"/>
                </a:lnTo>
                <a:lnTo>
                  <a:pt x="444" y="294"/>
                </a:lnTo>
                <a:lnTo>
                  <a:pt x="446" y="294"/>
                </a:lnTo>
                <a:lnTo>
                  <a:pt x="450" y="294"/>
                </a:lnTo>
                <a:lnTo>
                  <a:pt x="452" y="294"/>
                </a:lnTo>
                <a:lnTo>
                  <a:pt x="452" y="298"/>
                </a:lnTo>
                <a:lnTo>
                  <a:pt x="454" y="300"/>
                </a:lnTo>
                <a:lnTo>
                  <a:pt x="456" y="302"/>
                </a:lnTo>
                <a:lnTo>
                  <a:pt x="456" y="304"/>
                </a:lnTo>
                <a:lnTo>
                  <a:pt x="456" y="306"/>
                </a:lnTo>
                <a:lnTo>
                  <a:pt x="458" y="306"/>
                </a:lnTo>
                <a:lnTo>
                  <a:pt x="460" y="306"/>
                </a:lnTo>
                <a:lnTo>
                  <a:pt x="460" y="304"/>
                </a:lnTo>
                <a:lnTo>
                  <a:pt x="462" y="302"/>
                </a:lnTo>
                <a:lnTo>
                  <a:pt x="468" y="298"/>
                </a:lnTo>
                <a:lnTo>
                  <a:pt x="470" y="290"/>
                </a:lnTo>
                <a:lnTo>
                  <a:pt x="472" y="284"/>
                </a:lnTo>
                <a:lnTo>
                  <a:pt x="476" y="276"/>
                </a:lnTo>
                <a:lnTo>
                  <a:pt x="486" y="264"/>
                </a:lnTo>
                <a:lnTo>
                  <a:pt x="492" y="258"/>
                </a:lnTo>
                <a:lnTo>
                  <a:pt x="494" y="252"/>
                </a:lnTo>
                <a:lnTo>
                  <a:pt x="502" y="246"/>
                </a:lnTo>
                <a:lnTo>
                  <a:pt x="494" y="238"/>
                </a:lnTo>
                <a:lnTo>
                  <a:pt x="484" y="230"/>
                </a:lnTo>
                <a:lnTo>
                  <a:pt x="494" y="218"/>
                </a:lnTo>
                <a:lnTo>
                  <a:pt x="498" y="210"/>
                </a:lnTo>
                <a:lnTo>
                  <a:pt x="506" y="200"/>
                </a:lnTo>
                <a:lnTo>
                  <a:pt x="508" y="198"/>
                </a:lnTo>
                <a:lnTo>
                  <a:pt x="512" y="196"/>
                </a:lnTo>
                <a:lnTo>
                  <a:pt x="514" y="194"/>
                </a:lnTo>
                <a:lnTo>
                  <a:pt x="516" y="192"/>
                </a:lnTo>
                <a:lnTo>
                  <a:pt x="520" y="190"/>
                </a:lnTo>
                <a:lnTo>
                  <a:pt x="524" y="184"/>
                </a:lnTo>
                <a:lnTo>
                  <a:pt x="526" y="182"/>
                </a:lnTo>
                <a:lnTo>
                  <a:pt x="530" y="178"/>
                </a:lnTo>
                <a:lnTo>
                  <a:pt x="530" y="176"/>
                </a:lnTo>
                <a:lnTo>
                  <a:pt x="532" y="172"/>
                </a:lnTo>
                <a:lnTo>
                  <a:pt x="536" y="172"/>
                </a:lnTo>
                <a:lnTo>
                  <a:pt x="536" y="168"/>
                </a:lnTo>
                <a:lnTo>
                  <a:pt x="536" y="166"/>
                </a:lnTo>
                <a:lnTo>
                  <a:pt x="538" y="164"/>
                </a:lnTo>
                <a:lnTo>
                  <a:pt x="536" y="158"/>
                </a:lnTo>
                <a:lnTo>
                  <a:pt x="526" y="150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 w="6350">
            <a:solidFill>
              <a:schemeClr val="tx2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457200">
              <a:defRPr/>
            </a:pPr>
            <a:endParaRPr lang="en-US" kern="0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67" name="Freeform 45">
            <a:extLst>
              <a:ext uri="{FF2B5EF4-FFF2-40B4-BE49-F238E27FC236}">
                <a16:creationId xmlns:a16="http://schemas.microsoft.com/office/drawing/2014/main" id="{2F135F9A-329C-9423-539B-B47848D6324D}"/>
              </a:ext>
            </a:extLst>
          </p:cNvPr>
          <p:cNvSpPr>
            <a:spLocks/>
          </p:cNvSpPr>
          <p:nvPr/>
        </p:nvSpPr>
        <p:spPr bwMode="auto">
          <a:xfrm>
            <a:off x="6797040" y="2410460"/>
            <a:ext cx="441960" cy="513080"/>
          </a:xfrm>
          <a:custGeom>
            <a:avLst/>
            <a:gdLst>
              <a:gd name="T0" fmla="*/ 2147483646 w 348"/>
              <a:gd name="T1" fmla="*/ 2147483646 h 404"/>
              <a:gd name="T2" fmla="*/ 2147483646 w 348"/>
              <a:gd name="T3" fmla="*/ 2147483646 h 404"/>
              <a:gd name="T4" fmla="*/ 2147483646 w 348"/>
              <a:gd name="T5" fmla="*/ 2147483646 h 404"/>
              <a:gd name="T6" fmla="*/ 2147483646 w 348"/>
              <a:gd name="T7" fmla="*/ 2147483646 h 404"/>
              <a:gd name="T8" fmla="*/ 2147483646 w 348"/>
              <a:gd name="T9" fmla="*/ 2147483646 h 404"/>
              <a:gd name="T10" fmla="*/ 2147483646 w 348"/>
              <a:gd name="T11" fmla="*/ 2147483646 h 404"/>
              <a:gd name="T12" fmla="*/ 2147483646 w 348"/>
              <a:gd name="T13" fmla="*/ 2147483646 h 404"/>
              <a:gd name="T14" fmla="*/ 2147483646 w 348"/>
              <a:gd name="T15" fmla="*/ 2147483646 h 404"/>
              <a:gd name="T16" fmla="*/ 2147483646 w 348"/>
              <a:gd name="T17" fmla="*/ 2147483646 h 404"/>
              <a:gd name="T18" fmla="*/ 2147483646 w 348"/>
              <a:gd name="T19" fmla="*/ 2147483646 h 404"/>
              <a:gd name="T20" fmla="*/ 2147483646 w 348"/>
              <a:gd name="T21" fmla="*/ 2147483646 h 404"/>
              <a:gd name="T22" fmla="*/ 2147483646 w 348"/>
              <a:gd name="T23" fmla="*/ 2147483646 h 404"/>
              <a:gd name="T24" fmla="*/ 2147483646 w 348"/>
              <a:gd name="T25" fmla="*/ 2147483646 h 404"/>
              <a:gd name="T26" fmla="*/ 2147483646 w 348"/>
              <a:gd name="T27" fmla="*/ 2147483646 h 404"/>
              <a:gd name="T28" fmla="*/ 2147483646 w 348"/>
              <a:gd name="T29" fmla="*/ 2147483646 h 404"/>
              <a:gd name="T30" fmla="*/ 2147483646 w 348"/>
              <a:gd name="T31" fmla="*/ 2147483646 h 404"/>
              <a:gd name="T32" fmla="*/ 2147483646 w 348"/>
              <a:gd name="T33" fmla="*/ 2147483646 h 404"/>
              <a:gd name="T34" fmla="*/ 2147483646 w 348"/>
              <a:gd name="T35" fmla="*/ 2147483646 h 404"/>
              <a:gd name="T36" fmla="*/ 2147483646 w 348"/>
              <a:gd name="T37" fmla="*/ 2147483646 h 404"/>
              <a:gd name="T38" fmla="*/ 2147483646 w 348"/>
              <a:gd name="T39" fmla="*/ 2147483646 h 404"/>
              <a:gd name="T40" fmla="*/ 2147483646 w 348"/>
              <a:gd name="T41" fmla="*/ 2147483646 h 404"/>
              <a:gd name="T42" fmla="*/ 2147483646 w 348"/>
              <a:gd name="T43" fmla="*/ 2147483646 h 404"/>
              <a:gd name="T44" fmla="*/ 2147483646 w 348"/>
              <a:gd name="T45" fmla="*/ 2147483646 h 404"/>
              <a:gd name="T46" fmla="*/ 2147483646 w 348"/>
              <a:gd name="T47" fmla="*/ 2147483646 h 404"/>
              <a:gd name="T48" fmla="*/ 2147483646 w 348"/>
              <a:gd name="T49" fmla="*/ 2147483646 h 404"/>
              <a:gd name="T50" fmla="*/ 2147483646 w 348"/>
              <a:gd name="T51" fmla="*/ 2147483646 h 404"/>
              <a:gd name="T52" fmla="*/ 2147483646 w 348"/>
              <a:gd name="T53" fmla="*/ 2147483646 h 404"/>
              <a:gd name="T54" fmla="*/ 2147483646 w 348"/>
              <a:gd name="T55" fmla="*/ 2147483646 h 404"/>
              <a:gd name="T56" fmla="*/ 2147483646 w 348"/>
              <a:gd name="T57" fmla="*/ 2147483646 h 404"/>
              <a:gd name="T58" fmla="*/ 2147483646 w 348"/>
              <a:gd name="T59" fmla="*/ 2147483646 h 404"/>
              <a:gd name="T60" fmla="*/ 2147483646 w 348"/>
              <a:gd name="T61" fmla="*/ 2147483646 h 404"/>
              <a:gd name="T62" fmla="*/ 2147483646 w 348"/>
              <a:gd name="T63" fmla="*/ 2147483646 h 404"/>
              <a:gd name="T64" fmla="*/ 2147483646 w 348"/>
              <a:gd name="T65" fmla="*/ 2147483646 h 404"/>
              <a:gd name="T66" fmla="*/ 2147483646 w 348"/>
              <a:gd name="T67" fmla="*/ 2147483646 h 404"/>
              <a:gd name="T68" fmla="*/ 2147483646 w 348"/>
              <a:gd name="T69" fmla="*/ 2147483646 h 404"/>
              <a:gd name="T70" fmla="*/ 2147483646 w 348"/>
              <a:gd name="T71" fmla="*/ 2147483646 h 404"/>
              <a:gd name="T72" fmla="*/ 2147483646 w 348"/>
              <a:gd name="T73" fmla="*/ 2147483646 h 404"/>
              <a:gd name="T74" fmla="*/ 2147483646 w 348"/>
              <a:gd name="T75" fmla="*/ 2147483646 h 404"/>
              <a:gd name="T76" fmla="*/ 2147483646 w 348"/>
              <a:gd name="T77" fmla="*/ 2147483646 h 404"/>
              <a:gd name="T78" fmla="*/ 2147483646 w 348"/>
              <a:gd name="T79" fmla="*/ 2147483646 h 404"/>
              <a:gd name="T80" fmla="*/ 2147483646 w 348"/>
              <a:gd name="T81" fmla="*/ 2147483646 h 404"/>
              <a:gd name="T82" fmla="*/ 2147483646 w 348"/>
              <a:gd name="T83" fmla="*/ 2147483646 h 404"/>
              <a:gd name="T84" fmla="*/ 2147483646 w 348"/>
              <a:gd name="T85" fmla="*/ 2147483646 h 404"/>
              <a:gd name="T86" fmla="*/ 2147483646 w 348"/>
              <a:gd name="T87" fmla="*/ 2147483646 h 404"/>
              <a:gd name="T88" fmla="*/ 2147483646 w 348"/>
              <a:gd name="T89" fmla="*/ 2147483646 h 404"/>
              <a:gd name="T90" fmla="*/ 2147483646 w 348"/>
              <a:gd name="T91" fmla="*/ 2147483646 h 404"/>
              <a:gd name="T92" fmla="*/ 2147483646 w 348"/>
              <a:gd name="T93" fmla="*/ 2147483646 h 404"/>
              <a:gd name="T94" fmla="*/ 2147483646 w 348"/>
              <a:gd name="T95" fmla="*/ 2147483646 h 404"/>
              <a:gd name="T96" fmla="*/ 2147483646 w 348"/>
              <a:gd name="T97" fmla="*/ 2147483646 h 404"/>
              <a:gd name="T98" fmla="*/ 2147483646 w 348"/>
              <a:gd name="T99" fmla="*/ 2147483646 h 404"/>
              <a:gd name="T100" fmla="*/ 2147483646 w 348"/>
              <a:gd name="T101" fmla="*/ 2147483646 h 404"/>
              <a:gd name="T102" fmla="*/ 2147483646 w 348"/>
              <a:gd name="T103" fmla="*/ 2147483646 h 404"/>
              <a:gd name="T104" fmla="*/ 2147483646 w 348"/>
              <a:gd name="T105" fmla="*/ 2147483646 h 404"/>
              <a:gd name="T106" fmla="*/ 2147483646 w 348"/>
              <a:gd name="T107" fmla="*/ 2147483646 h 404"/>
              <a:gd name="T108" fmla="*/ 2147483646 w 348"/>
              <a:gd name="T109" fmla="*/ 2147483646 h 404"/>
              <a:gd name="T110" fmla="*/ 2147483646 w 348"/>
              <a:gd name="T111" fmla="*/ 2147483646 h 404"/>
              <a:gd name="T112" fmla="*/ 2147483646 w 348"/>
              <a:gd name="T113" fmla="*/ 2147483646 h 404"/>
              <a:gd name="T114" fmla="*/ 2147483646 w 348"/>
              <a:gd name="T115" fmla="*/ 2147483646 h 404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w 348"/>
              <a:gd name="T175" fmla="*/ 0 h 404"/>
              <a:gd name="T176" fmla="*/ 348 w 348"/>
              <a:gd name="T177" fmla="*/ 404 h 404"/>
            </a:gdLst>
            <a:ahLst/>
            <a:cxnLst>
              <a:cxn ang="T116">
                <a:pos x="T0" y="T1"/>
              </a:cxn>
              <a:cxn ang="T117">
                <a:pos x="T2" y="T3"/>
              </a:cxn>
              <a:cxn ang="T118">
                <a:pos x="T4" y="T5"/>
              </a:cxn>
              <a:cxn ang="T119">
                <a:pos x="T6" y="T7"/>
              </a:cxn>
              <a:cxn ang="T120">
                <a:pos x="T8" y="T9"/>
              </a:cxn>
              <a:cxn ang="T121">
                <a:pos x="T10" y="T11"/>
              </a:cxn>
              <a:cxn ang="T122">
                <a:pos x="T12" y="T13"/>
              </a:cxn>
              <a:cxn ang="T123">
                <a:pos x="T14" y="T15"/>
              </a:cxn>
              <a:cxn ang="T124">
                <a:pos x="T16" y="T17"/>
              </a:cxn>
              <a:cxn ang="T125">
                <a:pos x="T18" y="T19"/>
              </a:cxn>
              <a:cxn ang="T126">
                <a:pos x="T20" y="T21"/>
              </a:cxn>
              <a:cxn ang="T127">
                <a:pos x="T22" y="T23"/>
              </a:cxn>
              <a:cxn ang="T128">
                <a:pos x="T24" y="T25"/>
              </a:cxn>
              <a:cxn ang="T129">
                <a:pos x="T26" y="T27"/>
              </a:cxn>
              <a:cxn ang="T130">
                <a:pos x="T28" y="T29"/>
              </a:cxn>
              <a:cxn ang="T131">
                <a:pos x="T30" y="T31"/>
              </a:cxn>
              <a:cxn ang="T132">
                <a:pos x="T32" y="T33"/>
              </a:cxn>
              <a:cxn ang="T133">
                <a:pos x="T34" y="T35"/>
              </a:cxn>
              <a:cxn ang="T134">
                <a:pos x="T36" y="T37"/>
              </a:cxn>
              <a:cxn ang="T135">
                <a:pos x="T38" y="T39"/>
              </a:cxn>
              <a:cxn ang="T136">
                <a:pos x="T40" y="T41"/>
              </a:cxn>
              <a:cxn ang="T137">
                <a:pos x="T42" y="T43"/>
              </a:cxn>
              <a:cxn ang="T138">
                <a:pos x="T44" y="T45"/>
              </a:cxn>
              <a:cxn ang="T139">
                <a:pos x="T46" y="T47"/>
              </a:cxn>
              <a:cxn ang="T140">
                <a:pos x="T48" y="T49"/>
              </a:cxn>
              <a:cxn ang="T141">
                <a:pos x="T50" y="T51"/>
              </a:cxn>
              <a:cxn ang="T142">
                <a:pos x="T52" y="T53"/>
              </a:cxn>
              <a:cxn ang="T143">
                <a:pos x="T54" y="T55"/>
              </a:cxn>
              <a:cxn ang="T144">
                <a:pos x="T56" y="T57"/>
              </a:cxn>
              <a:cxn ang="T145">
                <a:pos x="T58" y="T59"/>
              </a:cxn>
              <a:cxn ang="T146">
                <a:pos x="T60" y="T61"/>
              </a:cxn>
              <a:cxn ang="T147">
                <a:pos x="T62" y="T63"/>
              </a:cxn>
              <a:cxn ang="T148">
                <a:pos x="T64" y="T65"/>
              </a:cxn>
              <a:cxn ang="T149">
                <a:pos x="T66" y="T67"/>
              </a:cxn>
              <a:cxn ang="T150">
                <a:pos x="T68" y="T69"/>
              </a:cxn>
              <a:cxn ang="T151">
                <a:pos x="T70" y="T71"/>
              </a:cxn>
              <a:cxn ang="T152">
                <a:pos x="T72" y="T73"/>
              </a:cxn>
              <a:cxn ang="T153">
                <a:pos x="T74" y="T75"/>
              </a:cxn>
              <a:cxn ang="T154">
                <a:pos x="T76" y="T77"/>
              </a:cxn>
              <a:cxn ang="T155">
                <a:pos x="T78" y="T79"/>
              </a:cxn>
              <a:cxn ang="T156">
                <a:pos x="T80" y="T81"/>
              </a:cxn>
              <a:cxn ang="T157">
                <a:pos x="T82" y="T83"/>
              </a:cxn>
              <a:cxn ang="T158">
                <a:pos x="T84" y="T85"/>
              </a:cxn>
              <a:cxn ang="T159">
                <a:pos x="T86" y="T87"/>
              </a:cxn>
              <a:cxn ang="T160">
                <a:pos x="T88" y="T89"/>
              </a:cxn>
              <a:cxn ang="T161">
                <a:pos x="T90" y="T91"/>
              </a:cxn>
              <a:cxn ang="T162">
                <a:pos x="T92" y="T93"/>
              </a:cxn>
              <a:cxn ang="T163">
                <a:pos x="T94" y="T95"/>
              </a:cxn>
              <a:cxn ang="T164">
                <a:pos x="T96" y="T97"/>
              </a:cxn>
              <a:cxn ang="T165">
                <a:pos x="T98" y="T99"/>
              </a:cxn>
              <a:cxn ang="T166">
                <a:pos x="T100" y="T101"/>
              </a:cxn>
              <a:cxn ang="T167">
                <a:pos x="T102" y="T103"/>
              </a:cxn>
              <a:cxn ang="T168">
                <a:pos x="T104" y="T105"/>
              </a:cxn>
              <a:cxn ang="T169">
                <a:pos x="T106" y="T107"/>
              </a:cxn>
              <a:cxn ang="T170">
                <a:pos x="T108" y="T109"/>
              </a:cxn>
              <a:cxn ang="T171">
                <a:pos x="T110" y="T111"/>
              </a:cxn>
              <a:cxn ang="T172">
                <a:pos x="T112" y="T113"/>
              </a:cxn>
              <a:cxn ang="T173">
                <a:pos x="T114" y="T115"/>
              </a:cxn>
            </a:cxnLst>
            <a:rect l="T174" t="T175" r="T176" b="T177"/>
            <a:pathLst>
              <a:path w="348" h="404">
                <a:moveTo>
                  <a:pt x="178" y="398"/>
                </a:moveTo>
                <a:lnTo>
                  <a:pt x="180" y="398"/>
                </a:lnTo>
                <a:lnTo>
                  <a:pt x="178" y="394"/>
                </a:lnTo>
                <a:lnTo>
                  <a:pt x="176" y="392"/>
                </a:lnTo>
                <a:lnTo>
                  <a:pt x="176" y="390"/>
                </a:lnTo>
                <a:lnTo>
                  <a:pt x="178" y="390"/>
                </a:lnTo>
                <a:lnTo>
                  <a:pt x="180" y="390"/>
                </a:lnTo>
                <a:lnTo>
                  <a:pt x="180" y="386"/>
                </a:lnTo>
                <a:lnTo>
                  <a:pt x="180" y="384"/>
                </a:lnTo>
                <a:lnTo>
                  <a:pt x="180" y="382"/>
                </a:lnTo>
                <a:lnTo>
                  <a:pt x="180" y="380"/>
                </a:lnTo>
                <a:lnTo>
                  <a:pt x="180" y="378"/>
                </a:lnTo>
                <a:lnTo>
                  <a:pt x="186" y="378"/>
                </a:lnTo>
                <a:lnTo>
                  <a:pt x="186" y="376"/>
                </a:lnTo>
                <a:lnTo>
                  <a:pt x="188" y="374"/>
                </a:lnTo>
                <a:lnTo>
                  <a:pt x="192" y="368"/>
                </a:lnTo>
                <a:lnTo>
                  <a:pt x="196" y="360"/>
                </a:lnTo>
                <a:lnTo>
                  <a:pt x="202" y="356"/>
                </a:lnTo>
                <a:lnTo>
                  <a:pt x="206" y="354"/>
                </a:lnTo>
                <a:lnTo>
                  <a:pt x="210" y="346"/>
                </a:lnTo>
                <a:lnTo>
                  <a:pt x="212" y="342"/>
                </a:lnTo>
                <a:lnTo>
                  <a:pt x="212" y="338"/>
                </a:lnTo>
                <a:lnTo>
                  <a:pt x="210" y="336"/>
                </a:lnTo>
                <a:lnTo>
                  <a:pt x="212" y="336"/>
                </a:lnTo>
                <a:lnTo>
                  <a:pt x="212" y="332"/>
                </a:lnTo>
                <a:lnTo>
                  <a:pt x="212" y="330"/>
                </a:lnTo>
                <a:lnTo>
                  <a:pt x="214" y="330"/>
                </a:lnTo>
                <a:lnTo>
                  <a:pt x="214" y="328"/>
                </a:lnTo>
                <a:lnTo>
                  <a:pt x="218" y="326"/>
                </a:lnTo>
                <a:lnTo>
                  <a:pt x="224" y="318"/>
                </a:lnTo>
                <a:lnTo>
                  <a:pt x="218" y="310"/>
                </a:lnTo>
                <a:lnTo>
                  <a:pt x="220" y="308"/>
                </a:lnTo>
                <a:lnTo>
                  <a:pt x="224" y="308"/>
                </a:lnTo>
                <a:lnTo>
                  <a:pt x="228" y="310"/>
                </a:lnTo>
                <a:lnTo>
                  <a:pt x="230" y="312"/>
                </a:lnTo>
                <a:lnTo>
                  <a:pt x="232" y="308"/>
                </a:lnTo>
                <a:lnTo>
                  <a:pt x="232" y="304"/>
                </a:lnTo>
                <a:lnTo>
                  <a:pt x="230" y="302"/>
                </a:lnTo>
                <a:lnTo>
                  <a:pt x="230" y="300"/>
                </a:lnTo>
                <a:lnTo>
                  <a:pt x="232" y="296"/>
                </a:lnTo>
                <a:lnTo>
                  <a:pt x="236" y="294"/>
                </a:lnTo>
                <a:lnTo>
                  <a:pt x="236" y="292"/>
                </a:lnTo>
                <a:lnTo>
                  <a:pt x="230" y="290"/>
                </a:lnTo>
                <a:lnTo>
                  <a:pt x="230" y="288"/>
                </a:lnTo>
                <a:lnTo>
                  <a:pt x="232" y="288"/>
                </a:lnTo>
                <a:lnTo>
                  <a:pt x="238" y="288"/>
                </a:lnTo>
                <a:lnTo>
                  <a:pt x="240" y="286"/>
                </a:lnTo>
                <a:lnTo>
                  <a:pt x="244" y="282"/>
                </a:lnTo>
                <a:lnTo>
                  <a:pt x="246" y="282"/>
                </a:lnTo>
                <a:lnTo>
                  <a:pt x="248" y="282"/>
                </a:lnTo>
                <a:lnTo>
                  <a:pt x="252" y="282"/>
                </a:lnTo>
                <a:lnTo>
                  <a:pt x="252" y="278"/>
                </a:lnTo>
                <a:lnTo>
                  <a:pt x="246" y="276"/>
                </a:lnTo>
                <a:lnTo>
                  <a:pt x="246" y="274"/>
                </a:lnTo>
                <a:lnTo>
                  <a:pt x="248" y="272"/>
                </a:lnTo>
                <a:lnTo>
                  <a:pt x="260" y="272"/>
                </a:lnTo>
                <a:lnTo>
                  <a:pt x="260" y="270"/>
                </a:lnTo>
                <a:lnTo>
                  <a:pt x="318" y="210"/>
                </a:lnTo>
                <a:lnTo>
                  <a:pt x="324" y="202"/>
                </a:lnTo>
                <a:lnTo>
                  <a:pt x="328" y="196"/>
                </a:lnTo>
                <a:lnTo>
                  <a:pt x="332" y="192"/>
                </a:lnTo>
                <a:lnTo>
                  <a:pt x="332" y="188"/>
                </a:lnTo>
                <a:lnTo>
                  <a:pt x="332" y="182"/>
                </a:lnTo>
                <a:lnTo>
                  <a:pt x="336" y="178"/>
                </a:lnTo>
                <a:lnTo>
                  <a:pt x="336" y="174"/>
                </a:lnTo>
                <a:lnTo>
                  <a:pt x="336" y="170"/>
                </a:lnTo>
                <a:lnTo>
                  <a:pt x="336" y="164"/>
                </a:lnTo>
                <a:lnTo>
                  <a:pt x="342" y="160"/>
                </a:lnTo>
                <a:lnTo>
                  <a:pt x="342" y="152"/>
                </a:lnTo>
                <a:lnTo>
                  <a:pt x="348" y="142"/>
                </a:lnTo>
                <a:lnTo>
                  <a:pt x="348" y="140"/>
                </a:lnTo>
                <a:lnTo>
                  <a:pt x="344" y="140"/>
                </a:lnTo>
                <a:lnTo>
                  <a:pt x="342" y="140"/>
                </a:lnTo>
                <a:lnTo>
                  <a:pt x="340" y="140"/>
                </a:lnTo>
                <a:lnTo>
                  <a:pt x="336" y="140"/>
                </a:lnTo>
                <a:lnTo>
                  <a:pt x="334" y="138"/>
                </a:lnTo>
                <a:lnTo>
                  <a:pt x="332" y="138"/>
                </a:lnTo>
                <a:lnTo>
                  <a:pt x="330" y="134"/>
                </a:lnTo>
                <a:lnTo>
                  <a:pt x="330" y="130"/>
                </a:lnTo>
                <a:lnTo>
                  <a:pt x="332" y="128"/>
                </a:lnTo>
                <a:lnTo>
                  <a:pt x="334" y="126"/>
                </a:lnTo>
                <a:lnTo>
                  <a:pt x="336" y="126"/>
                </a:lnTo>
                <a:lnTo>
                  <a:pt x="336" y="124"/>
                </a:lnTo>
                <a:lnTo>
                  <a:pt x="340" y="122"/>
                </a:lnTo>
                <a:lnTo>
                  <a:pt x="342" y="120"/>
                </a:lnTo>
                <a:lnTo>
                  <a:pt x="344" y="116"/>
                </a:lnTo>
                <a:lnTo>
                  <a:pt x="346" y="112"/>
                </a:lnTo>
                <a:lnTo>
                  <a:pt x="346" y="110"/>
                </a:lnTo>
                <a:lnTo>
                  <a:pt x="348" y="106"/>
                </a:lnTo>
                <a:lnTo>
                  <a:pt x="348" y="104"/>
                </a:lnTo>
                <a:lnTo>
                  <a:pt x="346" y="102"/>
                </a:lnTo>
                <a:lnTo>
                  <a:pt x="346" y="98"/>
                </a:lnTo>
                <a:lnTo>
                  <a:pt x="344" y="98"/>
                </a:lnTo>
                <a:lnTo>
                  <a:pt x="342" y="98"/>
                </a:lnTo>
                <a:lnTo>
                  <a:pt x="336" y="98"/>
                </a:lnTo>
                <a:lnTo>
                  <a:pt x="336" y="102"/>
                </a:lnTo>
                <a:lnTo>
                  <a:pt x="334" y="102"/>
                </a:lnTo>
                <a:lnTo>
                  <a:pt x="334" y="104"/>
                </a:lnTo>
                <a:lnTo>
                  <a:pt x="334" y="106"/>
                </a:lnTo>
                <a:lnTo>
                  <a:pt x="332" y="108"/>
                </a:lnTo>
                <a:lnTo>
                  <a:pt x="332" y="110"/>
                </a:lnTo>
                <a:lnTo>
                  <a:pt x="332" y="112"/>
                </a:lnTo>
                <a:lnTo>
                  <a:pt x="330" y="114"/>
                </a:lnTo>
                <a:lnTo>
                  <a:pt x="328" y="114"/>
                </a:lnTo>
                <a:lnTo>
                  <a:pt x="328" y="116"/>
                </a:lnTo>
                <a:lnTo>
                  <a:pt x="326" y="120"/>
                </a:lnTo>
                <a:lnTo>
                  <a:pt x="324" y="120"/>
                </a:lnTo>
                <a:lnTo>
                  <a:pt x="322" y="120"/>
                </a:lnTo>
                <a:lnTo>
                  <a:pt x="318" y="120"/>
                </a:lnTo>
                <a:lnTo>
                  <a:pt x="316" y="120"/>
                </a:lnTo>
                <a:lnTo>
                  <a:pt x="314" y="116"/>
                </a:lnTo>
                <a:lnTo>
                  <a:pt x="312" y="114"/>
                </a:lnTo>
                <a:lnTo>
                  <a:pt x="312" y="110"/>
                </a:lnTo>
                <a:lnTo>
                  <a:pt x="312" y="108"/>
                </a:lnTo>
                <a:lnTo>
                  <a:pt x="312" y="106"/>
                </a:lnTo>
                <a:lnTo>
                  <a:pt x="312" y="102"/>
                </a:lnTo>
                <a:lnTo>
                  <a:pt x="314" y="98"/>
                </a:lnTo>
                <a:lnTo>
                  <a:pt x="314" y="96"/>
                </a:lnTo>
                <a:lnTo>
                  <a:pt x="312" y="94"/>
                </a:lnTo>
                <a:lnTo>
                  <a:pt x="312" y="92"/>
                </a:lnTo>
                <a:lnTo>
                  <a:pt x="310" y="90"/>
                </a:lnTo>
                <a:lnTo>
                  <a:pt x="308" y="86"/>
                </a:lnTo>
                <a:lnTo>
                  <a:pt x="304" y="84"/>
                </a:lnTo>
                <a:lnTo>
                  <a:pt x="300" y="84"/>
                </a:lnTo>
                <a:lnTo>
                  <a:pt x="298" y="80"/>
                </a:lnTo>
                <a:lnTo>
                  <a:pt x="296" y="78"/>
                </a:lnTo>
                <a:lnTo>
                  <a:pt x="296" y="76"/>
                </a:lnTo>
                <a:lnTo>
                  <a:pt x="294" y="74"/>
                </a:lnTo>
                <a:lnTo>
                  <a:pt x="294" y="72"/>
                </a:lnTo>
                <a:lnTo>
                  <a:pt x="294" y="70"/>
                </a:lnTo>
                <a:lnTo>
                  <a:pt x="296" y="68"/>
                </a:lnTo>
                <a:lnTo>
                  <a:pt x="298" y="66"/>
                </a:lnTo>
                <a:lnTo>
                  <a:pt x="300" y="66"/>
                </a:lnTo>
                <a:lnTo>
                  <a:pt x="304" y="66"/>
                </a:lnTo>
                <a:lnTo>
                  <a:pt x="306" y="66"/>
                </a:lnTo>
                <a:lnTo>
                  <a:pt x="308" y="66"/>
                </a:lnTo>
                <a:lnTo>
                  <a:pt x="314" y="62"/>
                </a:lnTo>
                <a:lnTo>
                  <a:pt x="324" y="62"/>
                </a:lnTo>
                <a:lnTo>
                  <a:pt x="330" y="60"/>
                </a:lnTo>
                <a:lnTo>
                  <a:pt x="332" y="60"/>
                </a:lnTo>
                <a:lnTo>
                  <a:pt x="332" y="58"/>
                </a:lnTo>
                <a:lnTo>
                  <a:pt x="334" y="56"/>
                </a:lnTo>
                <a:lnTo>
                  <a:pt x="336" y="54"/>
                </a:lnTo>
                <a:lnTo>
                  <a:pt x="340" y="52"/>
                </a:lnTo>
                <a:lnTo>
                  <a:pt x="340" y="50"/>
                </a:lnTo>
                <a:lnTo>
                  <a:pt x="340" y="48"/>
                </a:lnTo>
                <a:lnTo>
                  <a:pt x="342" y="44"/>
                </a:lnTo>
                <a:lnTo>
                  <a:pt x="342" y="42"/>
                </a:lnTo>
                <a:lnTo>
                  <a:pt x="342" y="40"/>
                </a:lnTo>
                <a:lnTo>
                  <a:pt x="342" y="36"/>
                </a:lnTo>
                <a:lnTo>
                  <a:pt x="342" y="34"/>
                </a:lnTo>
                <a:lnTo>
                  <a:pt x="342" y="30"/>
                </a:lnTo>
                <a:lnTo>
                  <a:pt x="340" y="26"/>
                </a:lnTo>
                <a:lnTo>
                  <a:pt x="340" y="24"/>
                </a:lnTo>
                <a:lnTo>
                  <a:pt x="340" y="22"/>
                </a:lnTo>
                <a:lnTo>
                  <a:pt x="340" y="20"/>
                </a:lnTo>
                <a:lnTo>
                  <a:pt x="336" y="18"/>
                </a:lnTo>
                <a:lnTo>
                  <a:pt x="334" y="16"/>
                </a:lnTo>
                <a:lnTo>
                  <a:pt x="332" y="16"/>
                </a:lnTo>
                <a:lnTo>
                  <a:pt x="330" y="16"/>
                </a:lnTo>
                <a:lnTo>
                  <a:pt x="324" y="14"/>
                </a:lnTo>
                <a:lnTo>
                  <a:pt x="312" y="12"/>
                </a:lnTo>
                <a:lnTo>
                  <a:pt x="308" y="8"/>
                </a:lnTo>
                <a:lnTo>
                  <a:pt x="306" y="8"/>
                </a:lnTo>
                <a:lnTo>
                  <a:pt x="304" y="6"/>
                </a:lnTo>
                <a:lnTo>
                  <a:pt x="300" y="6"/>
                </a:lnTo>
                <a:lnTo>
                  <a:pt x="298" y="4"/>
                </a:lnTo>
                <a:lnTo>
                  <a:pt x="296" y="4"/>
                </a:lnTo>
                <a:lnTo>
                  <a:pt x="294" y="4"/>
                </a:lnTo>
                <a:lnTo>
                  <a:pt x="292" y="4"/>
                </a:lnTo>
                <a:lnTo>
                  <a:pt x="292" y="6"/>
                </a:lnTo>
                <a:lnTo>
                  <a:pt x="294" y="12"/>
                </a:lnTo>
                <a:lnTo>
                  <a:pt x="294" y="14"/>
                </a:lnTo>
                <a:lnTo>
                  <a:pt x="296" y="16"/>
                </a:lnTo>
                <a:lnTo>
                  <a:pt x="296" y="18"/>
                </a:lnTo>
                <a:lnTo>
                  <a:pt x="296" y="20"/>
                </a:lnTo>
                <a:lnTo>
                  <a:pt x="296" y="22"/>
                </a:lnTo>
                <a:lnTo>
                  <a:pt x="294" y="22"/>
                </a:lnTo>
                <a:lnTo>
                  <a:pt x="292" y="24"/>
                </a:lnTo>
                <a:lnTo>
                  <a:pt x="290" y="24"/>
                </a:lnTo>
                <a:lnTo>
                  <a:pt x="288" y="24"/>
                </a:lnTo>
                <a:lnTo>
                  <a:pt x="284" y="22"/>
                </a:lnTo>
                <a:lnTo>
                  <a:pt x="278" y="22"/>
                </a:lnTo>
                <a:lnTo>
                  <a:pt x="266" y="20"/>
                </a:lnTo>
                <a:lnTo>
                  <a:pt x="262" y="18"/>
                </a:lnTo>
                <a:lnTo>
                  <a:pt x="260" y="18"/>
                </a:lnTo>
                <a:lnTo>
                  <a:pt x="260" y="16"/>
                </a:lnTo>
                <a:lnTo>
                  <a:pt x="258" y="14"/>
                </a:lnTo>
                <a:lnTo>
                  <a:pt x="256" y="8"/>
                </a:lnTo>
                <a:lnTo>
                  <a:pt x="256" y="6"/>
                </a:lnTo>
                <a:lnTo>
                  <a:pt x="254" y="4"/>
                </a:lnTo>
                <a:lnTo>
                  <a:pt x="252" y="2"/>
                </a:lnTo>
                <a:lnTo>
                  <a:pt x="248" y="0"/>
                </a:lnTo>
                <a:lnTo>
                  <a:pt x="246" y="0"/>
                </a:lnTo>
                <a:lnTo>
                  <a:pt x="244" y="2"/>
                </a:lnTo>
                <a:lnTo>
                  <a:pt x="242" y="4"/>
                </a:lnTo>
                <a:lnTo>
                  <a:pt x="242" y="6"/>
                </a:lnTo>
                <a:lnTo>
                  <a:pt x="244" y="8"/>
                </a:lnTo>
                <a:lnTo>
                  <a:pt x="248" y="12"/>
                </a:lnTo>
                <a:lnTo>
                  <a:pt x="248" y="14"/>
                </a:lnTo>
                <a:lnTo>
                  <a:pt x="252" y="18"/>
                </a:lnTo>
                <a:lnTo>
                  <a:pt x="248" y="24"/>
                </a:lnTo>
                <a:lnTo>
                  <a:pt x="248" y="30"/>
                </a:lnTo>
                <a:lnTo>
                  <a:pt x="248" y="34"/>
                </a:lnTo>
                <a:lnTo>
                  <a:pt x="248" y="36"/>
                </a:lnTo>
                <a:lnTo>
                  <a:pt x="246" y="38"/>
                </a:lnTo>
                <a:lnTo>
                  <a:pt x="244" y="40"/>
                </a:lnTo>
                <a:lnTo>
                  <a:pt x="242" y="40"/>
                </a:lnTo>
                <a:lnTo>
                  <a:pt x="238" y="38"/>
                </a:lnTo>
                <a:lnTo>
                  <a:pt x="238" y="36"/>
                </a:lnTo>
                <a:lnTo>
                  <a:pt x="238" y="32"/>
                </a:lnTo>
                <a:lnTo>
                  <a:pt x="238" y="26"/>
                </a:lnTo>
                <a:lnTo>
                  <a:pt x="238" y="24"/>
                </a:lnTo>
                <a:lnTo>
                  <a:pt x="236" y="22"/>
                </a:lnTo>
                <a:lnTo>
                  <a:pt x="236" y="20"/>
                </a:lnTo>
                <a:lnTo>
                  <a:pt x="236" y="18"/>
                </a:lnTo>
                <a:lnTo>
                  <a:pt x="232" y="16"/>
                </a:lnTo>
                <a:lnTo>
                  <a:pt x="230" y="16"/>
                </a:lnTo>
                <a:lnTo>
                  <a:pt x="228" y="16"/>
                </a:lnTo>
                <a:lnTo>
                  <a:pt x="226" y="16"/>
                </a:lnTo>
                <a:lnTo>
                  <a:pt x="224" y="16"/>
                </a:lnTo>
                <a:lnTo>
                  <a:pt x="222" y="18"/>
                </a:lnTo>
                <a:lnTo>
                  <a:pt x="220" y="20"/>
                </a:lnTo>
                <a:lnTo>
                  <a:pt x="218" y="22"/>
                </a:lnTo>
                <a:lnTo>
                  <a:pt x="214" y="22"/>
                </a:lnTo>
                <a:lnTo>
                  <a:pt x="214" y="24"/>
                </a:lnTo>
                <a:lnTo>
                  <a:pt x="212" y="24"/>
                </a:lnTo>
                <a:lnTo>
                  <a:pt x="210" y="24"/>
                </a:lnTo>
                <a:lnTo>
                  <a:pt x="208" y="24"/>
                </a:lnTo>
                <a:lnTo>
                  <a:pt x="204" y="26"/>
                </a:lnTo>
                <a:lnTo>
                  <a:pt x="202" y="26"/>
                </a:lnTo>
                <a:lnTo>
                  <a:pt x="196" y="26"/>
                </a:lnTo>
                <a:lnTo>
                  <a:pt x="194" y="26"/>
                </a:lnTo>
                <a:lnTo>
                  <a:pt x="190" y="24"/>
                </a:lnTo>
                <a:lnTo>
                  <a:pt x="188" y="24"/>
                </a:lnTo>
                <a:lnTo>
                  <a:pt x="186" y="22"/>
                </a:lnTo>
                <a:lnTo>
                  <a:pt x="180" y="18"/>
                </a:lnTo>
                <a:lnTo>
                  <a:pt x="180" y="16"/>
                </a:lnTo>
                <a:lnTo>
                  <a:pt x="178" y="16"/>
                </a:lnTo>
                <a:lnTo>
                  <a:pt x="174" y="6"/>
                </a:lnTo>
                <a:lnTo>
                  <a:pt x="172" y="2"/>
                </a:lnTo>
                <a:lnTo>
                  <a:pt x="170" y="0"/>
                </a:lnTo>
                <a:lnTo>
                  <a:pt x="166" y="2"/>
                </a:lnTo>
                <a:lnTo>
                  <a:pt x="162" y="4"/>
                </a:lnTo>
                <a:lnTo>
                  <a:pt x="160" y="6"/>
                </a:lnTo>
                <a:lnTo>
                  <a:pt x="160" y="8"/>
                </a:lnTo>
                <a:lnTo>
                  <a:pt x="156" y="14"/>
                </a:lnTo>
                <a:lnTo>
                  <a:pt x="152" y="18"/>
                </a:lnTo>
                <a:lnTo>
                  <a:pt x="148" y="24"/>
                </a:lnTo>
                <a:lnTo>
                  <a:pt x="142" y="26"/>
                </a:lnTo>
                <a:lnTo>
                  <a:pt x="134" y="30"/>
                </a:lnTo>
                <a:lnTo>
                  <a:pt x="122" y="30"/>
                </a:lnTo>
                <a:lnTo>
                  <a:pt x="120" y="32"/>
                </a:lnTo>
                <a:lnTo>
                  <a:pt x="118" y="32"/>
                </a:lnTo>
                <a:lnTo>
                  <a:pt x="118" y="42"/>
                </a:lnTo>
                <a:lnTo>
                  <a:pt x="116" y="48"/>
                </a:lnTo>
                <a:lnTo>
                  <a:pt x="108" y="48"/>
                </a:lnTo>
                <a:lnTo>
                  <a:pt x="100" y="44"/>
                </a:lnTo>
                <a:lnTo>
                  <a:pt x="92" y="38"/>
                </a:lnTo>
                <a:lnTo>
                  <a:pt x="86" y="36"/>
                </a:lnTo>
                <a:lnTo>
                  <a:pt x="80" y="36"/>
                </a:lnTo>
                <a:lnTo>
                  <a:pt x="72" y="38"/>
                </a:lnTo>
                <a:lnTo>
                  <a:pt x="72" y="42"/>
                </a:lnTo>
                <a:lnTo>
                  <a:pt x="58" y="86"/>
                </a:lnTo>
                <a:lnTo>
                  <a:pt x="50" y="108"/>
                </a:lnTo>
                <a:lnTo>
                  <a:pt x="46" y="122"/>
                </a:lnTo>
                <a:lnTo>
                  <a:pt x="30" y="180"/>
                </a:lnTo>
                <a:lnTo>
                  <a:pt x="28" y="192"/>
                </a:lnTo>
                <a:lnTo>
                  <a:pt x="28" y="198"/>
                </a:lnTo>
                <a:lnTo>
                  <a:pt x="28" y="200"/>
                </a:lnTo>
                <a:lnTo>
                  <a:pt x="22" y="206"/>
                </a:lnTo>
                <a:lnTo>
                  <a:pt x="18" y="212"/>
                </a:lnTo>
                <a:lnTo>
                  <a:pt x="20" y="220"/>
                </a:lnTo>
                <a:lnTo>
                  <a:pt x="16" y="224"/>
                </a:lnTo>
                <a:lnTo>
                  <a:pt x="16" y="230"/>
                </a:lnTo>
                <a:lnTo>
                  <a:pt x="16" y="232"/>
                </a:lnTo>
                <a:lnTo>
                  <a:pt x="14" y="236"/>
                </a:lnTo>
                <a:lnTo>
                  <a:pt x="14" y="240"/>
                </a:lnTo>
                <a:lnTo>
                  <a:pt x="14" y="242"/>
                </a:lnTo>
                <a:lnTo>
                  <a:pt x="10" y="252"/>
                </a:lnTo>
                <a:lnTo>
                  <a:pt x="2" y="264"/>
                </a:lnTo>
                <a:lnTo>
                  <a:pt x="0" y="268"/>
                </a:lnTo>
                <a:lnTo>
                  <a:pt x="2" y="268"/>
                </a:lnTo>
                <a:lnTo>
                  <a:pt x="46" y="304"/>
                </a:lnTo>
                <a:lnTo>
                  <a:pt x="54" y="310"/>
                </a:lnTo>
                <a:lnTo>
                  <a:pt x="56" y="312"/>
                </a:lnTo>
                <a:lnTo>
                  <a:pt x="130" y="368"/>
                </a:lnTo>
                <a:lnTo>
                  <a:pt x="132" y="372"/>
                </a:lnTo>
                <a:lnTo>
                  <a:pt x="140" y="378"/>
                </a:lnTo>
                <a:lnTo>
                  <a:pt x="140" y="380"/>
                </a:lnTo>
                <a:lnTo>
                  <a:pt x="142" y="380"/>
                </a:lnTo>
                <a:lnTo>
                  <a:pt x="174" y="404"/>
                </a:lnTo>
                <a:lnTo>
                  <a:pt x="176" y="402"/>
                </a:lnTo>
                <a:lnTo>
                  <a:pt x="178" y="398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 w="6350">
            <a:solidFill>
              <a:schemeClr val="tx2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457200">
              <a:defRPr/>
            </a:pPr>
            <a:endParaRPr lang="en-US" kern="0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68" name="Freeform 46">
            <a:extLst>
              <a:ext uri="{FF2B5EF4-FFF2-40B4-BE49-F238E27FC236}">
                <a16:creationId xmlns:a16="http://schemas.microsoft.com/office/drawing/2014/main" id="{540D52D8-A6C6-8B22-762D-94FF88942F64}"/>
              </a:ext>
            </a:extLst>
          </p:cNvPr>
          <p:cNvSpPr>
            <a:spLocks/>
          </p:cNvSpPr>
          <p:nvPr/>
        </p:nvSpPr>
        <p:spPr bwMode="auto">
          <a:xfrm>
            <a:off x="6530340" y="2311400"/>
            <a:ext cx="482600" cy="439420"/>
          </a:xfrm>
          <a:custGeom>
            <a:avLst/>
            <a:gdLst>
              <a:gd name="T0" fmla="*/ 2147483646 w 380"/>
              <a:gd name="T1" fmla="*/ 2147483646 h 346"/>
              <a:gd name="T2" fmla="*/ 2147483646 w 380"/>
              <a:gd name="T3" fmla="*/ 2147483646 h 346"/>
              <a:gd name="T4" fmla="*/ 2147483646 w 380"/>
              <a:gd name="T5" fmla="*/ 2147483646 h 346"/>
              <a:gd name="T6" fmla="*/ 2147483646 w 380"/>
              <a:gd name="T7" fmla="*/ 2147483646 h 346"/>
              <a:gd name="T8" fmla="*/ 2147483646 w 380"/>
              <a:gd name="T9" fmla="*/ 2147483646 h 346"/>
              <a:gd name="T10" fmla="*/ 2147483646 w 380"/>
              <a:gd name="T11" fmla="*/ 2147483646 h 346"/>
              <a:gd name="T12" fmla="*/ 2147483646 w 380"/>
              <a:gd name="T13" fmla="*/ 2147483646 h 346"/>
              <a:gd name="T14" fmla="*/ 2147483646 w 380"/>
              <a:gd name="T15" fmla="*/ 2147483646 h 346"/>
              <a:gd name="T16" fmla="*/ 2147483646 w 380"/>
              <a:gd name="T17" fmla="*/ 2147483646 h 346"/>
              <a:gd name="T18" fmla="*/ 2147483646 w 380"/>
              <a:gd name="T19" fmla="*/ 2147483646 h 346"/>
              <a:gd name="T20" fmla="*/ 2147483646 w 380"/>
              <a:gd name="T21" fmla="*/ 2147483646 h 346"/>
              <a:gd name="T22" fmla="*/ 2147483646 w 380"/>
              <a:gd name="T23" fmla="*/ 2147483646 h 346"/>
              <a:gd name="T24" fmla="*/ 2147483646 w 380"/>
              <a:gd name="T25" fmla="*/ 2147483646 h 346"/>
              <a:gd name="T26" fmla="*/ 2147483646 w 380"/>
              <a:gd name="T27" fmla="*/ 2147483646 h 346"/>
              <a:gd name="T28" fmla="*/ 2147483646 w 380"/>
              <a:gd name="T29" fmla="*/ 2147483646 h 346"/>
              <a:gd name="T30" fmla="*/ 2147483646 w 380"/>
              <a:gd name="T31" fmla="*/ 0 h 346"/>
              <a:gd name="T32" fmla="*/ 2147483646 w 380"/>
              <a:gd name="T33" fmla="*/ 2147483646 h 346"/>
              <a:gd name="T34" fmla="*/ 2147483646 w 380"/>
              <a:gd name="T35" fmla="*/ 2147483646 h 346"/>
              <a:gd name="T36" fmla="*/ 2147483646 w 380"/>
              <a:gd name="T37" fmla="*/ 2147483646 h 346"/>
              <a:gd name="T38" fmla="*/ 2147483646 w 380"/>
              <a:gd name="T39" fmla="*/ 2147483646 h 346"/>
              <a:gd name="T40" fmla="*/ 2147483646 w 380"/>
              <a:gd name="T41" fmla="*/ 2147483646 h 346"/>
              <a:gd name="T42" fmla="*/ 2147483646 w 380"/>
              <a:gd name="T43" fmla="*/ 2147483646 h 346"/>
              <a:gd name="T44" fmla="*/ 2147483646 w 380"/>
              <a:gd name="T45" fmla="*/ 2147483646 h 346"/>
              <a:gd name="T46" fmla="*/ 2147483646 w 380"/>
              <a:gd name="T47" fmla="*/ 2147483646 h 346"/>
              <a:gd name="T48" fmla="*/ 2147483646 w 380"/>
              <a:gd name="T49" fmla="*/ 2147483646 h 346"/>
              <a:gd name="T50" fmla="*/ 2147483646 w 380"/>
              <a:gd name="T51" fmla="*/ 2147483646 h 346"/>
              <a:gd name="T52" fmla="*/ 2147483646 w 380"/>
              <a:gd name="T53" fmla="*/ 2147483646 h 346"/>
              <a:gd name="T54" fmla="*/ 2147483646 w 380"/>
              <a:gd name="T55" fmla="*/ 2147483646 h 346"/>
              <a:gd name="T56" fmla="*/ 2147483646 w 380"/>
              <a:gd name="T57" fmla="*/ 2147483646 h 346"/>
              <a:gd name="T58" fmla="*/ 2147483646 w 380"/>
              <a:gd name="T59" fmla="*/ 2147483646 h 346"/>
              <a:gd name="T60" fmla="*/ 2147483646 w 380"/>
              <a:gd name="T61" fmla="*/ 2147483646 h 346"/>
              <a:gd name="T62" fmla="*/ 2147483646 w 380"/>
              <a:gd name="T63" fmla="*/ 2147483646 h 346"/>
              <a:gd name="T64" fmla="*/ 2147483646 w 380"/>
              <a:gd name="T65" fmla="*/ 2147483646 h 346"/>
              <a:gd name="T66" fmla="*/ 2147483646 w 380"/>
              <a:gd name="T67" fmla="*/ 2147483646 h 346"/>
              <a:gd name="T68" fmla="*/ 2147483646 w 380"/>
              <a:gd name="T69" fmla="*/ 2147483646 h 346"/>
              <a:gd name="T70" fmla="*/ 2147483646 w 380"/>
              <a:gd name="T71" fmla="*/ 2147483646 h 346"/>
              <a:gd name="T72" fmla="*/ 2147483646 w 380"/>
              <a:gd name="T73" fmla="*/ 2147483646 h 346"/>
              <a:gd name="T74" fmla="*/ 2147483646 w 380"/>
              <a:gd name="T75" fmla="*/ 2147483646 h 346"/>
              <a:gd name="T76" fmla="*/ 2147483646 w 380"/>
              <a:gd name="T77" fmla="*/ 2147483646 h 346"/>
              <a:gd name="T78" fmla="*/ 2147483646 w 380"/>
              <a:gd name="T79" fmla="*/ 2147483646 h 346"/>
              <a:gd name="T80" fmla="*/ 2147483646 w 380"/>
              <a:gd name="T81" fmla="*/ 2147483646 h 346"/>
              <a:gd name="T82" fmla="*/ 2147483646 w 380"/>
              <a:gd name="T83" fmla="*/ 2147483646 h 346"/>
              <a:gd name="T84" fmla="*/ 2147483646 w 380"/>
              <a:gd name="T85" fmla="*/ 2147483646 h 346"/>
              <a:gd name="T86" fmla="*/ 2147483646 w 380"/>
              <a:gd name="T87" fmla="*/ 2147483646 h 346"/>
              <a:gd name="T88" fmla="*/ 2147483646 w 380"/>
              <a:gd name="T89" fmla="*/ 2147483646 h 346"/>
              <a:gd name="T90" fmla="*/ 2147483646 w 380"/>
              <a:gd name="T91" fmla="*/ 2147483646 h 346"/>
              <a:gd name="T92" fmla="*/ 2147483646 w 380"/>
              <a:gd name="T93" fmla="*/ 2147483646 h 346"/>
              <a:gd name="T94" fmla="*/ 2147483646 w 380"/>
              <a:gd name="T95" fmla="*/ 2147483646 h 346"/>
              <a:gd name="T96" fmla="*/ 2147483646 w 380"/>
              <a:gd name="T97" fmla="*/ 2147483646 h 346"/>
              <a:gd name="T98" fmla="*/ 2147483646 w 380"/>
              <a:gd name="T99" fmla="*/ 2147483646 h 346"/>
              <a:gd name="T100" fmla="*/ 2147483646 w 380"/>
              <a:gd name="T101" fmla="*/ 2147483646 h 346"/>
              <a:gd name="T102" fmla="*/ 2147483646 w 380"/>
              <a:gd name="T103" fmla="*/ 2147483646 h 346"/>
              <a:gd name="T104" fmla="*/ 2147483646 w 380"/>
              <a:gd name="T105" fmla="*/ 2147483646 h 346"/>
              <a:gd name="T106" fmla="*/ 2147483646 w 380"/>
              <a:gd name="T107" fmla="*/ 2147483646 h 346"/>
              <a:gd name="T108" fmla="*/ 2147483646 w 380"/>
              <a:gd name="T109" fmla="*/ 2147483646 h 346"/>
              <a:gd name="T110" fmla="*/ 2147483646 w 380"/>
              <a:gd name="T111" fmla="*/ 2147483646 h 346"/>
              <a:gd name="T112" fmla="*/ 0 w 380"/>
              <a:gd name="T113" fmla="*/ 2147483646 h 346"/>
              <a:gd name="T114" fmla="*/ 2147483646 w 380"/>
              <a:gd name="T115" fmla="*/ 2147483646 h 346"/>
              <a:gd name="T116" fmla="*/ 2147483646 w 380"/>
              <a:gd name="T117" fmla="*/ 2147483646 h 34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w 380"/>
              <a:gd name="T178" fmla="*/ 0 h 346"/>
              <a:gd name="T179" fmla="*/ 380 w 380"/>
              <a:gd name="T180" fmla="*/ 346 h 346"/>
            </a:gdLst>
            <a:ahLst/>
            <a:cxnLst>
              <a:cxn ang="T118">
                <a:pos x="T0" y="T1"/>
              </a:cxn>
              <a:cxn ang="T119">
                <a:pos x="T2" y="T3"/>
              </a:cxn>
              <a:cxn ang="T120">
                <a:pos x="T4" y="T5"/>
              </a:cxn>
              <a:cxn ang="T121">
                <a:pos x="T6" y="T7"/>
              </a:cxn>
              <a:cxn ang="T122">
                <a:pos x="T8" y="T9"/>
              </a:cxn>
              <a:cxn ang="T123">
                <a:pos x="T10" y="T11"/>
              </a:cxn>
              <a:cxn ang="T124">
                <a:pos x="T12" y="T13"/>
              </a:cxn>
              <a:cxn ang="T125">
                <a:pos x="T14" y="T15"/>
              </a:cxn>
              <a:cxn ang="T126">
                <a:pos x="T16" y="T17"/>
              </a:cxn>
              <a:cxn ang="T127">
                <a:pos x="T18" y="T19"/>
              </a:cxn>
              <a:cxn ang="T128">
                <a:pos x="T20" y="T21"/>
              </a:cxn>
              <a:cxn ang="T129">
                <a:pos x="T22" y="T23"/>
              </a:cxn>
              <a:cxn ang="T130">
                <a:pos x="T24" y="T25"/>
              </a:cxn>
              <a:cxn ang="T131">
                <a:pos x="T26" y="T27"/>
              </a:cxn>
              <a:cxn ang="T132">
                <a:pos x="T28" y="T29"/>
              </a:cxn>
              <a:cxn ang="T133">
                <a:pos x="T30" y="T31"/>
              </a:cxn>
              <a:cxn ang="T134">
                <a:pos x="T32" y="T33"/>
              </a:cxn>
              <a:cxn ang="T135">
                <a:pos x="T34" y="T35"/>
              </a:cxn>
              <a:cxn ang="T136">
                <a:pos x="T36" y="T37"/>
              </a:cxn>
              <a:cxn ang="T137">
                <a:pos x="T38" y="T39"/>
              </a:cxn>
              <a:cxn ang="T138">
                <a:pos x="T40" y="T41"/>
              </a:cxn>
              <a:cxn ang="T139">
                <a:pos x="T42" y="T43"/>
              </a:cxn>
              <a:cxn ang="T140">
                <a:pos x="T44" y="T45"/>
              </a:cxn>
              <a:cxn ang="T141">
                <a:pos x="T46" y="T47"/>
              </a:cxn>
              <a:cxn ang="T142">
                <a:pos x="T48" y="T49"/>
              </a:cxn>
              <a:cxn ang="T143">
                <a:pos x="T50" y="T51"/>
              </a:cxn>
              <a:cxn ang="T144">
                <a:pos x="T52" y="T53"/>
              </a:cxn>
              <a:cxn ang="T145">
                <a:pos x="T54" y="T55"/>
              </a:cxn>
              <a:cxn ang="T146">
                <a:pos x="T56" y="T57"/>
              </a:cxn>
              <a:cxn ang="T147">
                <a:pos x="T58" y="T59"/>
              </a:cxn>
              <a:cxn ang="T148">
                <a:pos x="T60" y="T61"/>
              </a:cxn>
              <a:cxn ang="T149">
                <a:pos x="T62" y="T63"/>
              </a:cxn>
              <a:cxn ang="T150">
                <a:pos x="T64" y="T65"/>
              </a:cxn>
              <a:cxn ang="T151">
                <a:pos x="T66" y="T67"/>
              </a:cxn>
              <a:cxn ang="T152">
                <a:pos x="T68" y="T69"/>
              </a:cxn>
              <a:cxn ang="T153">
                <a:pos x="T70" y="T71"/>
              </a:cxn>
              <a:cxn ang="T154">
                <a:pos x="T72" y="T73"/>
              </a:cxn>
              <a:cxn ang="T155">
                <a:pos x="T74" y="T75"/>
              </a:cxn>
              <a:cxn ang="T156">
                <a:pos x="T76" y="T77"/>
              </a:cxn>
              <a:cxn ang="T157">
                <a:pos x="T78" y="T79"/>
              </a:cxn>
              <a:cxn ang="T158">
                <a:pos x="T80" y="T81"/>
              </a:cxn>
              <a:cxn ang="T159">
                <a:pos x="T82" y="T83"/>
              </a:cxn>
              <a:cxn ang="T160">
                <a:pos x="T84" y="T85"/>
              </a:cxn>
              <a:cxn ang="T161">
                <a:pos x="T86" y="T87"/>
              </a:cxn>
              <a:cxn ang="T162">
                <a:pos x="T88" y="T89"/>
              </a:cxn>
              <a:cxn ang="T163">
                <a:pos x="T90" y="T91"/>
              </a:cxn>
              <a:cxn ang="T164">
                <a:pos x="T92" y="T93"/>
              </a:cxn>
              <a:cxn ang="T165">
                <a:pos x="T94" y="T95"/>
              </a:cxn>
              <a:cxn ang="T166">
                <a:pos x="T96" y="T97"/>
              </a:cxn>
              <a:cxn ang="T167">
                <a:pos x="T98" y="T99"/>
              </a:cxn>
              <a:cxn ang="T168">
                <a:pos x="T100" y="T101"/>
              </a:cxn>
              <a:cxn ang="T169">
                <a:pos x="T102" y="T103"/>
              </a:cxn>
              <a:cxn ang="T170">
                <a:pos x="T104" y="T105"/>
              </a:cxn>
              <a:cxn ang="T171">
                <a:pos x="T106" y="T107"/>
              </a:cxn>
              <a:cxn ang="T172">
                <a:pos x="T108" y="T109"/>
              </a:cxn>
              <a:cxn ang="T173">
                <a:pos x="T110" y="T111"/>
              </a:cxn>
              <a:cxn ang="T174">
                <a:pos x="T112" y="T113"/>
              </a:cxn>
              <a:cxn ang="T175">
                <a:pos x="T114" y="T115"/>
              </a:cxn>
              <a:cxn ang="T176">
                <a:pos x="T116" y="T117"/>
              </a:cxn>
            </a:cxnLst>
            <a:rect l="T177" t="T178" r="T179" b="T180"/>
            <a:pathLst>
              <a:path w="380" h="346">
                <a:moveTo>
                  <a:pt x="220" y="330"/>
                </a:moveTo>
                <a:lnTo>
                  <a:pt x="224" y="320"/>
                </a:lnTo>
                <a:lnTo>
                  <a:pt x="224" y="318"/>
                </a:lnTo>
                <a:lnTo>
                  <a:pt x="224" y="314"/>
                </a:lnTo>
                <a:lnTo>
                  <a:pt x="226" y="310"/>
                </a:lnTo>
                <a:lnTo>
                  <a:pt x="226" y="308"/>
                </a:lnTo>
                <a:lnTo>
                  <a:pt x="226" y="302"/>
                </a:lnTo>
                <a:lnTo>
                  <a:pt x="230" y="298"/>
                </a:lnTo>
                <a:lnTo>
                  <a:pt x="228" y="290"/>
                </a:lnTo>
                <a:lnTo>
                  <a:pt x="232" y="284"/>
                </a:lnTo>
                <a:lnTo>
                  <a:pt x="238" y="278"/>
                </a:lnTo>
                <a:lnTo>
                  <a:pt x="238" y="276"/>
                </a:lnTo>
                <a:lnTo>
                  <a:pt x="238" y="270"/>
                </a:lnTo>
                <a:lnTo>
                  <a:pt x="240" y="258"/>
                </a:lnTo>
                <a:lnTo>
                  <a:pt x="256" y="200"/>
                </a:lnTo>
                <a:lnTo>
                  <a:pt x="260" y="186"/>
                </a:lnTo>
                <a:lnTo>
                  <a:pt x="268" y="164"/>
                </a:lnTo>
                <a:lnTo>
                  <a:pt x="282" y="120"/>
                </a:lnTo>
                <a:lnTo>
                  <a:pt x="282" y="116"/>
                </a:lnTo>
                <a:lnTo>
                  <a:pt x="290" y="114"/>
                </a:lnTo>
                <a:lnTo>
                  <a:pt x="296" y="114"/>
                </a:lnTo>
                <a:lnTo>
                  <a:pt x="302" y="116"/>
                </a:lnTo>
                <a:lnTo>
                  <a:pt x="310" y="122"/>
                </a:lnTo>
                <a:lnTo>
                  <a:pt x="318" y="126"/>
                </a:lnTo>
                <a:lnTo>
                  <a:pt x="326" y="126"/>
                </a:lnTo>
                <a:lnTo>
                  <a:pt x="328" y="120"/>
                </a:lnTo>
                <a:lnTo>
                  <a:pt x="328" y="110"/>
                </a:lnTo>
                <a:lnTo>
                  <a:pt x="330" y="110"/>
                </a:lnTo>
                <a:lnTo>
                  <a:pt x="332" y="108"/>
                </a:lnTo>
                <a:lnTo>
                  <a:pt x="344" y="108"/>
                </a:lnTo>
                <a:lnTo>
                  <a:pt x="352" y="104"/>
                </a:lnTo>
                <a:lnTo>
                  <a:pt x="358" y="102"/>
                </a:lnTo>
                <a:lnTo>
                  <a:pt x="362" y="96"/>
                </a:lnTo>
                <a:lnTo>
                  <a:pt x="366" y="92"/>
                </a:lnTo>
                <a:lnTo>
                  <a:pt x="370" y="86"/>
                </a:lnTo>
                <a:lnTo>
                  <a:pt x="370" y="84"/>
                </a:lnTo>
                <a:lnTo>
                  <a:pt x="372" y="82"/>
                </a:lnTo>
                <a:lnTo>
                  <a:pt x="376" y="80"/>
                </a:lnTo>
                <a:lnTo>
                  <a:pt x="380" y="78"/>
                </a:lnTo>
                <a:lnTo>
                  <a:pt x="380" y="76"/>
                </a:lnTo>
                <a:lnTo>
                  <a:pt x="376" y="74"/>
                </a:lnTo>
                <a:lnTo>
                  <a:pt x="376" y="72"/>
                </a:lnTo>
                <a:lnTo>
                  <a:pt x="372" y="68"/>
                </a:lnTo>
                <a:lnTo>
                  <a:pt x="372" y="66"/>
                </a:lnTo>
                <a:lnTo>
                  <a:pt x="370" y="66"/>
                </a:lnTo>
                <a:lnTo>
                  <a:pt x="370" y="64"/>
                </a:lnTo>
                <a:lnTo>
                  <a:pt x="368" y="62"/>
                </a:lnTo>
                <a:lnTo>
                  <a:pt x="366" y="62"/>
                </a:lnTo>
                <a:lnTo>
                  <a:pt x="366" y="60"/>
                </a:lnTo>
                <a:lnTo>
                  <a:pt x="364" y="60"/>
                </a:lnTo>
                <a:lnTo>
                  <a:pt x="364" y="58"/>
                </a:lnTo>
                <a:lnTo>
                  <a:pt x="362" y="58"/>
                </a:lnTo>
                <a:lnTo>
                  <a:pt x="360" y="54"/>
                </a:lnTo>
                <a:lnTo>
                  <a:pt x="354" y="50"/>
                </a:lnTo>
                <a:lnTo>
                  <a:pt x="354" y="48"/>
                </a:lnTo>
                <a:lnTo>
                  <a:pt x="352" y="46"/>
                </a:lnTo>
                <a:lnTo>
                  <a:pt x="348" y="42"/>
                </a:lnTo>
                <a:lnTo>
                  <a:pt x="346" y="40"/>
                </a:lnTo>
                <a:lnTo>
                  <a:pt x="342" y="36"/>
                </a:lnTo>
                <a:lnTo>
                  <a:pt x="340" y="32"/>
                </a:lnTo>
                <a:lnTo>
                  <a:pt x="336" y="30"/>
                </a:lnTo>
                <a:lnTo>
                  <a:pt x="330" y="28"/>
                </a:lnTo>
                <a:lnTo>
                  <a:pt x="328" y="26"/>
                </a:lnTo>
                <a:lnTo>
                  <a:pt x="326" y="24"/>
                </a:lnTo>
                <a:lnTo>
                  <a:pt x="324" y="22"/>
                </a:lnTo>
                <a:lnTo>
                  <a:pt x="318" y="20"/>
                </a:lnTo>
                <a:lnTo>
                  <a:pt x="316" y="20"/>
                </a:lnTo>
                <a:lnTo>
                  <a:pt x="314" y="18"/>
                </a:lnTo>
                <a:lnTo>
                  <a:pt x="314" y="14"/>
                </a:lnTo>
                <a:lnTo>
                  <a:pt x="312" y="14"/>
                </a:lnTo>
                <a:lnTo>
                  <a:pt x="310" y="14"/>
                </a:lnTo>
                <a:lnTo>
                  <a:pt x="308" y="14"/>
                </a:lnTo>
                <a:lnTo>
                  <a:pt x="302" y="12"/>
                </a:lnTo>
                <a:lnTo>
                  <a:pt x="292" y="8"/>
                </a:lnTo>
                <a:lnTo>
                  <a:pt x="280" y="6"/>
                </a:lnTo>
                <a:lnTo>
                  <a:pt x="278" y="6"/>
                </a:lnTo>
                <a:lnTo>
                  <a:pt x="276" y="6"/>
                </a:lnTo>
                <a:lnTo>
                  <a:pt x="274" y="6"/>
                </a:lnTo>
                <a:lnTo>
                  <a:pt x="264" y="2"/>
                </a:lnTo>
                <a:lnTo>
                  <a:pt x="256" y="0"/>
                </a:lnTo>
                <a:lnTo>
                  <a:pt x="246" y="0"/>
                </a:lnTo>
                <a:lnTo>
                  <a:pt x="242" y="0"/>
                </a:lnTo>
                <a:lnTo>
                  <a:pt x="242" y="2"/>
                </a:lnTo>
                <a:lnTo>
                  <a:pt x="240" y="4"/>
                </a:lnTo>
                <a:lnTo>
                  <a:pt x="238" y="6"/>
                </a:lnTo>
                <a:lnTo>
                  <a:pt x="236" y="8"/>
                </a:lnTo>
                <a:lnTo>
                  <a:pt x="232" y="14"/>
                </a:lnTo>
                <a:lnTo>
                  <a:pt x="230" y="14"/>
                </a:lnTo>
                <a:lnTo>
                  <a:pt x="228" y="18"/>
                </a:lnTo>
                <a:lnTo>
                  <a:pt x="228" y="20"/>
                </a:lnTo>
                <a:lnTo>
                  <a:pt x="226" y="20"/>
                </a:lnTo>
                <a:lnTo>
                  <a:pt x="224" y="22"/>
                </a:lnTo>
                <a:lnTo>
                  <a:pt x="222" y="22"/>
                </a:lnTo>
                <a:lnTo>
                  <a:pt x="220" y="22"/>
                </a:lnTo>
                <a:lnTo>
                  <a:pt x="216" y="22"/>
                </a:lnTo>
                <a:lnTo>
                  <a:pt x="214" y="22"/>
                </a:lnTo>
                <a:lnTo>
                  <a:pt x="212" y="22"/>
                </a:lnTo>
                <a:lnTo>
                  <a:pt x="208" y="22"/>
                </a:lnTo>
                <a:lnTo>
                  <a:pt x="206" y="22"/>
                </a:lnTo>
                <a:lnTo>
                  <a:pt x="206" y="24"/>
                </a:lnTo>
                <a:lnTo>
                  <a:pt x="204" y="24"/>
                </a:lnTo>
                <a:lnTo>
                  <a:pt x="202" y="26"/>
                </a:lnTo>
                <a:lnTo>
                  <a:pt x="202" y="28"/>
                </a:lnTo>
                <a:lnTo>
                  <a:pt x="202" y="30"/>
                </a:lnTo>
                <a:lnTo>
                  <a:pt x="204" y="30"/>
                </a:lnTo>
                <a:lnTo>
                  <a:pt x="204" y="32"/>
                </a:lnTo>
                <a:lnTo>
                  <a:pt x="206" y="36"/>
                </a:lnTo>
                <a:lnTo>
                  <a:pt x="208" y="38"/>
                </a:lnTo>
                <a:lnTo>
                  <a:pt x="208" y="40"/>
                </a:lnTo>
                <a:lnTo>
                  <a:pt x="208" y="42"/>
                </a:lnTo>
                <a:lnTo>
                  <a:pt x="206" y="42"/>
                </a:lnTo>
                <a:lnTo>
                  <a:pt x="206" y="44"/>
                </a:lnTo>
                <a:lnTo>
                  <a:pt x="202" y="48"/>
                </a:lnTo>
                <a:lnTo>
                  <a:pt x="196" y="54"/>
                </a:lnTo>
                <a:lnTo>
                  <a:pt x="194" y="56"/>
                </a:lnTo>
                <a:lnTo>
                  <a:pt x="190" y="58"/>
                </a:lnTo>
                <a:lnTo>
                  <a:pt x="188" y="60"/>
                </a:lnTo>
                <a:lnTo>
                  <a:pt x="186" y="62"/>
                </a:lnTo>
                <a:lnTo>
                  <a:pt x="186" y="64"/>
                </a:lnTo>
                <a:lnTo>
                  <a:pt x="180" y="66"/>
                </a:lnTo>
                <a:lnTo>
                  <a:pt x="178" y="72"/>
                </a:lnTo>
                <a:lnTo>
                  <a:pt x="178" y="74"/>
                </a:lnTo>
                <a:lnTo>
                  <a:pt x="176" y="78"/>
                </a:lnTo>
                <a:lnTo>
                  <a:pt x="176" y="80"/>
                </a:lnTo>
                <a:lnTo>
                  <a:pt x="176" y="82"/>
                </a:lnTo>
                <a:lnTo>
                  <a:pt x="176" y="84"/>
                </a:lnTo>
                <a:lnTo>
                  <a:pt x="176" y="86"/>
                </a:lnTo>
                <a:lnTo>
                  <a:pt x="174" y="90"/>
                </a:lnTo>
                <a:lnTo>
                  <a:pt x="172" y="90"/>
                </a:lnTo>
                <a:lnTo>
                  <a:pt x="170" y="90"/>
                </a:lnTo>
                <a:lnTo>
                  <a:pt x="168" y="90"/>
                </a:lnTo>
                <a:lnTo>
                  <a:pt x="162" y="90"/>
                </a:lnTo>
                <a:lnTo>
                  <a:pt x="160" y="86"/>
                </a:lnTo>
                <a:lnTo>
                  <a:pt x="156" y="86"/>
                </a:lnTo>
                <a:lnTo>
                  <a:pt x="150" y="82"/>
                </a:lnTo>
                <a:lnTo>
                  <a:pt x="144" y="80"/>
                </a:lnTo>
                <a:lnTo>
                  <a:pt x="136" y="78"/>
                </a:lnTo>
                <a:lnTo>
                  <a:pt x="128" y="74"/>
                </a:lnTo>
                <a:lnTo>
                  <a:pt x="126" y="74"/>
                </a:lnTo>
                <a:lnTo>
                  <a:pt x="120" y="72"/>
                </a:lnTo>
                <a:lnTo>
                  <a:pt x="108" y="68"/>
                </a:lnTo>
                <a:lnTo>
                  <a:pt x="102" y="66"/>
                </a:lnTo>
                <a:lnTo>
                  <a:pt x="98" y="66"/>
                </a:lnTo>
                <a:lnTo>
                  <a:pt x="98" y="64"/>
                </a:lnTo>
                <a:lnTo>
                  <a:pt x="94" y="66"/>
                </a:lnTo>
                <a:lnTo>
                  <a:pt x="92" y="68"/>
                </a:lnTo>
                <a:lnTo>
                  <a:pt x="94" y="68"/>
                </a:lnTo>
                <a:lnTo>
                  <a:pt x="94" y="72"/>
                </a:lnTo>
                <a:lnTo>
                  <a:pt x="98" y="76"/>
                </a:lnTo>
                <a:lnTo>
                  <a:pt x="98" y="78"/>
                </a:lnTo>
                <a:lnTo>
                  <a:pt x="98" y="80"/>
                </a:lnTo>
                <a:lnTo>
                  <a:pt x="94" y="82"/>
                </a:lnTo>
                <a:lnTo>
                  <a:pt x="92" y="82"/>
                </a:lnTo>
                <a:lnTo>
                  <a:pt x="90" y="80"/>
                </a:lnTo>
                <a:lnTo>
                  <a:pt x="88" y="80"/>
                </a:lnTo>
                <a:lnTo>
                  <a:pt x="86" y="80"/>
                </a:lnTo>
                <a:lnTo>
                  <a:pt x="84" y="78"/>
                </a:lnTo>
                <a:lnTo>
                  <a:pt x="82" y="78"/>
                </a:lnTo>
                <a:lnTo>
                  <a:pt x="80" y="78"/>
                </a:lnTo>
                <a:lnTo>
                  <a:pt x="76" y="80"/>
                </a:lnTo>
                <a:lnTo>
                  <a:pt x="74" y="80"/>
                </a:lnTo>
                <a:lnTo>
                  <a:pt x="74" y="84"/>
                </a:lnTo>
                <a:lnTo>
                  <a:pt x="74" y="86"/>
                </a:lnTo>
                <a:lnTo>
                  <a:pt x="80" y="92"/>
                </a:lnTo>
                <a:lnTo>
                  <a:pt x="82" y="94"/>
                </a:lnTo>
                <a:lnTo>
                  <a:pt x="82" y="96"/>
                </a:lnTo>
                <a:lnTo>
                  <a:pt x="82" y="98"/>
                </a:lnTo>
                <a:lnTo>
                  <a:pt x="82" y="100"/>
                </a:lnTo>
                <a:lnTo>
                  <a:pt x="80" y="102"/>
                </a:lnTo>
                <a:lnTo>
                  <a:pt x="76" y="102"/>
                </a:lnTo>
                <a:lnTo>
                  <a:pt x="74" y="102"/>
                </a:lnTo>
                <a:lnTo>
                  <a:pt x="72" y="102"/>
                </a:lnTo>
                <a:lnTo>
                  <a:pt x="70" y="100"/>
                </a:lnTo>
                <a:lnTo>
                  <a:pt x="68" y="100"/>
                </a:lnTo>
                <a:lnTo>
                  <a:pt x="68" y="98"/>
                </a:lnTo>
                <a:lnTo>
                  <a:pt x="66" y="98"/>
                </a:lnTo>
                <a:lnTo>
                  <a:pt x="64" y="96"/>
                </a:lnTo>
                <a:lnTo>
                  <a:pt x="60" y="96"/>
                </a:lnTo>
                <a:lnTo>
                  <a:pt x="58" y="94"/>
                </a:lnTo>
                <a:lnTo>
                  <a:pt x="56" y="92"/>
                </a:lnTo>
                <a:lnTo>
                  <a:pt x="52" y="90"/>
                </a:lnTo>
                <a:lnTo>
                  <a:pt x="48" y="86"/>
                </a:lnTo>
                <a:lnTo>
                  <a:pt x="46" y="86"/>
                </a:lnTo>
                <a:lnTo>
                  <a:pt x="40" y="84"/>
                </a:lnTo>
                <a:lnTo>
                  <a:pt x="38" y="84"/>
                </a:lnTo>
                <a:lnTo>
                  <a:pt x="36" y="84"/>
                </a:lnTo>
                <a:lnTo>
                  <a:pt x="34" y="86"/>
                </a:lnTo>
                <a:lnTo>
                  <a:pt x="32" y="86"/>
                </a:lnTo>
                <a:lnTo>
                  <a:pt x="30" y="90"/>
                </a:lnTo>
                <a:lnTo>
                  <a:pt x="30" y="94"/>
                </a:lnTo>
                <a:lnTo>
                  <a:pt x="32" y="98"/>
                </a:lnTo>
                <a:lnTo>
                  <a:pt x="36" y="104"/>
                </a:lnTo>
                <a:lnTo>
                  <a:pt x="38" y="108"/>
                </a:lnTo>
                <a:lnTo>
                  <a:pt x="40" y="108"/>
                </a:lnTo>
                <a:lnTo>
                  <a:pt x="40" y="110"/>
                </a:lnTo>
                <a:lnTo>
                  <a:pt x="46" y="112"/>
                </a:lnTo>
                <a:lnTo>
                  <a:pt x="50" y="114"/>
                </a:lnTo>
                <a:lnTo>
                  <a:pt x="52" y="116"/>
                </a:lnTo>
                <a:lnTo>
                  <a:pt x="54" y="116"/>
                </a:lnTo>
                <a:lnTo>
                  <a:pt x="58" y="118"/>
                </a:lnTo>
                <a:lnTo>
                  <a:pt x="60" y="120"/>
                </a:lnTo>
                <a:lnTo>
                  <a:pt x="64" y="126"/>
                </a:lnTo>
                <a:lnTo>
                  <a:pt x="64" y="128"/>
                </a:lnTo>
                <a:lnTo>
                  <a:pt x="64" y="130"/>
                </a:lnTo>
                <a:lnTo>
                  <a:pt x="64" y="132"/>
                </a:lnTo>
                <a:lnTo>
                  <a:pt x="60" y="134"/>
                </a:lnTo>
                <a:lnTo>
                  <a:pt x="58" y="134"/>
                </a:lnTo>
                <a:lnTo>
                  <a:pt x="58" y="136"/>
                </a:lnTo>
                <a:lnTo>
                  <a:pt x="54" y="136"/>
                </a:lnTo>
                <a:lnTo>
                  <a:pt x="54" y="138"/>
                </a:lnTo>
                <a:lnTo>
                  <a:pt x="48" y="136"/>
                </a:lnTo>
                <a:lnTo>
                  <a:pt x="42" y="134"/>
                </a:lnTo>
                <a:lnTo>
                  <a:pt x="40" y="132"/>
                </a:lnTo>
                <a:lnTo>
                  <a:pt x="38" y="132"/>
                </a:lnTo>
                <a:lnTo>
                  <a:pt x="36" y="130"/>
                </a:lnTo>
                <a:lnTo>
                  <a:pt x="32" y="128"/>
                </a:lnTo>
                <a:lnTo>
                  <a:pt x="30" y="128"/>
                </a:lnTo>
                <a:lnTo>
                  <a:pt x="28" y="126"/>
                </a:lnTo>
                <a:lnTo>
                  <a:pt x="24" y="126"/>
                </a:lnTo>
                <a:lnTo>
                  <a:pt x="22" y="126"/>
                </a:lnTo>
                <a:lnTo>
                  <a:pt x="18" y="126"/>
                </a:lnTo>
                <a:lnTo>
                  <a:pt x="16" y="126"/>
                </a:lnTo>
                <a:lnTo>
                  <a:pt x="14" y="126"/>
                </a:lnTo>
                <a:lnTo>
                  <a:pt x="12" y="128"/>
                </a:lnTo>
                <a:lnTo>
                  <a:pt x="8" y="130"/>
                </a:lnTo>
                <a:lnTo>
                  <a:pt x="8" y="132"/>
                </a:lnTo>
                <a:lnTo>
                  <a:pt x="8" y="136"/>
                </a:lnTo>
                <a:lnTo>
                  <a:pt x="16" y="146"/>
                </a:lnTo>
                <a:lnTo>
                  <a:pt x="20" y="150"/>
                </a:lnTo>
                <a:lnTo>
                  <a:pt x="22" y="150"/>
                </a:lnTo>
                <a:lnTo>
                  <a:pt x="30" y="156"/>
                </a:lnTo>
                <a:lnTo>
                  <a:pt x="34" y="156"/>
                </a:lnTo>
                <a:lnTo>
                  <a:pt x="38" y="162"/>
                </a:lnTo>
                <a:lnTo>
                  <a:pt x="40" y="162"/>
                </a:lnTo>
                <a:lnTo>
                  <a:pt x="40" y="164"/>
                </a:lnTo>
                <a:lnTo>
                  <a:pt x="46" y="168"/>
                </a:lnTo>
                <a:lnTo>
                  <a:pt x="46" y="170"/>
                </a:lnTo>
                <a:lnTo>
                  <a:pt x="46" y="172"/>
                </a:lnTo>
                <a:lnTo>
                  <a:pt x="42" y="174"/>
                </a:lnTo>
                <a:lnTo>
                  <a:pt x="40" y="174"/>
                </a:lnTo>
                <a:lnTo>
                  <a:pt x="40" y="172"/>
                </a:lnTo>
                <a:lnTo>
                  <a:pt x="38" y="172"/>
                </a:lnTo>
                <a:lnTo>
                  <a:pt x="36" y="172"/>
                </a:lnTo>
                <a:lnTo>
                  <a:pt x="36" y="170"/>
                </a:lnTo>
                <a:lnTo>
                  <a:pt x="36" y="168"/>
                </a:lnTo>
                <a:lnTo>
                  <a:pt x="34" y="168"/>
                </a:lnTo>
                <a:lnTo>
                  <a:pt x="34" y="166"/>
                </a:lnTo>
                <a:lnTo>
                  <a:pt x="32" y="166"/>
                </a:lnTo>
                <a:lnTo>
                  <a:pt x="30" y="166"/>
                </a:lnTo>
                <a:lnTo>
                  <a:pt x="28" y="166"/>
                </a:lnTo>
                <a:lnTo>
                  <a:pt x="28" y="168"/>
                </a:lnTo>
                <a:lnTo>
                  <a:pt x="28" y="170"/>
                </a:lnTo>
                <a:lnTo>
                  <a:pt x="30" y="172"/>
                </a:lnTo>
                <a:lnTo>
                  <a:pt x="32" y="174"/>
                </a:lnTo>
                <a:lnTo>
                  <a:pt x="32" y="176"/>
                </a:lnTo>
                <a:lnTo>
                  <a:pt x="32" y="180"/>
                </a:lnTo>
                <a:lnTo>
                  <a:pt x="32" y="182"/>
                </a:lnTo>
                <a:lnTo>
                  <a:pt x="28" y="182"/>
                </a:lnTo>
                <a:lnTo>
                  <a:pt x="22" y="180"/>
                </a:lnTo>
                <a:lnTo>
                  <a:pt x="22" y="176"/>
                </a:lnTo>
                <a:lnTo>
                  <a:pt x="20" y="172"/>
                </a:lnTo>
                <a:lnTo>
                  <a:pt x="18" y="172"/>
                </a:lnTo>
                <a:lnTo>
                  <a:pt x="16" y="168"/>
                </a:lnTo>
                <a:lnTo>
                  <a:pt x="14" y="168"/>
                </a:lnTo>
                <a:lnTo>
                  <a:pt x="12" y="168"/>
                </a:lnTo>
                <a:lnTo>
                  <a:pt x="8" y="168"/>
                </a:lnTo>
                <a:lnTo>
                  <a:pt x="6" y="170"/>
                </a:lnTo>
                <a:lnTo>
                  <a:pt x="6" y="172"/>
                </a:lnTo>
                <a:lnTo>
                  <a:pt x="8" y="174"/>
                </a:lnTo>
                <a:lnTo>
                  <a:pt x="12" y="176"/>
                </a:lnTo>
                <a:lnTo>
                  <a:pt x="14" y="176"/>
                </a:lnTo>
                <a:lnTo>
                  <a:pt x="14" y="180"/>
                </a:lnTo>
                <a:lnTo>
                  <a:pt x="16" y="182"/>
                </a:lnTo>
                <a:lnTo>
                  <a:pt x="14" y="184"/>
                </a:lnTo>
                <a:lnTo>
                  <a:pt x="12" y="184"/>
                </a:lnTo>
                <a:lnTo>
                  <a:pt x="8" y="186"/>
                </a:lnTo>
                <a:lnTo>
                  <a:pt x="6" y="186"/>
                </a:lnTo>
                <a:lnTo>
                  <a:pt x="6" y="188"/>
                </a:lnTo>
                <a:lnTo>
                  <a:pt x="6" y="190"/>
                </a:lnTo>
                <a:lnTo>
                  <a:pt x="6" y="194"/>
                </a:lnTo>
                <a:lnTo>
                  <a:pt x="6" y="198"/>
                </a:lnTo>
                <a:lnTo>
                  <a:pt x="4" y="200"/>
                </a:lnTo>
                <a:lnTo>
                  <a:pt x="4" y="202"/>
                </a:lnTo>
                <a:lnTo>
                  <a:pt x="2" y="206"/>
                </a:lnTo>
                <a:lnTo>
                  <a:pt x="0" y="206"/>
                </a:lnTo>
                <a:lnTo>
                  <a:pt x="36" y="230"/>
                </a:lnTo>
                <a:lnTo>
                  <a:pt x="70" y="248"/>
                </a:lnTo>
                <a:lnTo>
                  <a:pt x="102" y="260"/>
                </a:lnTo>
                <a:lnTo>
                  <a:pt x="108" y="264"/>
                </a:lnTo>
                <a:lnTo>
                  <a:pt x="140" y="288"/>
                </a:lnTo>
                <a:lnTo>
                  <a:pt x="142" y="290"/>
                </a:lnTo>
                <a:lnTo>
                  <a:pt x="144" y="292"/>
                </a:lnTo>
                <a:lnTo>
                  <a:pt x="146" y="294"/>
                </a:lnTo>
                <a:lnTo>
                  <a:pt x="178" y="316"/>
                </a:lnTo>
                <a:lnTo>
                  <a:pt x="194" y="332"/>
                </a:lnTo>
                <a:lnTo>
                  <a:pt x="210" y="346"/>
                </a:lnTo>
                <a:lnTo>
                  <a:pt x="212" y="342"/>
                </a:lnTo>
                <a:lnTo>
                  <a:pt x="220" y="330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 w="6350">
            <a:solidFill>
              <a:schemeClr val="tx2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457200">
              <a:defRPr/>
            </a:pPr>
            <a:endParaRPr lang="en-US" kern="0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69" name="Freeform 47">
            <a:extLst>
              <a:ext uri="{FF2B5EF4-FFF2-40B4-BE49-F238E27FC236}">
                <a16:creationId xmlns:a16="http://schemas.microsoft.com/office/drawing/2014/main" id="{1960F250-5CDF-7FD3-486A-C8B8B785D3D4}"/>
              </a:ext>
            </a:extLst>
          </p:cNvPr>
          <p:cNvSpPr>
            <a:spLocks/>
          </p:cNvSpPr>
          <p:nvPr/>
        </p:nvSpPr>
        <p:spPr bwMode="auto">
          <a:xfrm>
            <a:off x="7010791" y="2570871"/>
            <a:ext cx="345440" cy="533400"/>
          </a:xfrm>
          <a:custGeom>
            <a:avLst/>
            <a:gdLst>
              <a:gd name="T0" fmla="*/ 2147483646 w 272"/>
              <a:gd name="T1" fmla="*/ 2147483646 h 420"/>
              <a:gd name="T2" fmla="*/ 2147483646 w 272"/>
              <a:gd name="T3" fmla="*/ 2147483646 h 420"/>
              <a:gd name="T4" fmla="*/ 2147483646 w 272"/>
              <a:gd name="T5" fmla="*/ 2147483646 h 420"/>
              <a:gd name="T6" fmla="*/ 2147483646 w 272"/>
              <a:gd name="T7" fmla="*/ 2147483646 h 420"/>
              <a:gd name="T8" fmla="*/ 2147483646 w 272"/>
              <a:gd name="T9" fmla="*/ 2147483646 h 420"/>
              <a:gd name="T10" fmla="*/ 2147483646 w 272"/>
              <a:gd name="T11" fmla="*/ 2147483646 h 420"/>
              <a:gd name="T12" fmla="*/ 2147483646 w 272"/>
              <a:gd name="T13" fmla="*/ 2147483646 h 420"/>
              <a:gd name="T14" fmla="*/ 2147483646 w 272"/>
              <a:gd name="T15" fmla="*/ 2147483646 h 420"/>
              <a:gd name="T16" fmla="*/ 2147483646 w 272"/>
              <a:gd name="T17" fmla="*/ 2147483646 h 420"/>
              <a:gd name="T18" fmla="*/ 2147483646 w 272"/>
              <a:gd name="T19" fmla="*/ 2147483646 h 420"/>
              <a:gd name="T20" fmla="*/ 2147483646 w 272"/>
              <a:gd name="T21" fmla="*/ 2147483646 h 420"/>
              <a:gd name="T22" fmla="*/ 2147483646 w 272"/>
              <a:gd name="T23" fmla="*/ 2147483646 h 420"/>
              <a:gd name="T24" fmla="*/ 2147483646 w 272"/>
              <a:gd name="T25" fmla="*/ 2147483646 h 420"/>
              <a:gd name="T26" fmla="*/ 2147483646 w 272"/>
              <a:gd name="T27" fmla="*/ 2147483646 h 420"/>
              <a:gd name="T28" fmla="*/ 2147483646 w 272"/>
              <a:gd name="T29" fmla="*/ 2147483646 h 420"/>
              <a:gd name="T30" fmla="*/ 2147483646 w 272"/>
              <a:gd name="T31" fmla="*/ 2147483646 h 420"/>
              <a:gd name="T32" fmla="*/ 2147483646 w 272"/>
              <a:gd name="T33" fmla="*/ 2147483646 h 420"/>
              <a:gd name="T34" fmla="*/ 2147483646 w 272"/>
              <a:gd name="T35" fmla="*/ 2147483646 h 420"/>
              <a:gd name="T36" fmla="*/ 2147483646 w 272"/>
              <a:gd name="T37" fmla="*/ 2147483646 h 420"/>
              <a:gd name="T38" fmla="*/ 2147483646 w 272"/>
              <a:gd name="T39" fmla="*/ 2147483646 h 420"/>
              <a:gd name="T40" fmla="*/ 2147483646 w 272"/>
              <a:gd name="T41" fmla="*/ 2147483646 h 420"/>
              <a:gd name="T42" fmla="*/ 2147483646 w 272"/>
              <a:gd name="T43" fmla="*/ 2147483646 h 420"/>
              <a:gd name="T44" fmla="*/ 2147483646 w 272"/>
              <a:gd name="T45" fmla="*/ 2147483646 h 420"/>
              <a:gd name="T46" fmla="*/ 2147483646 w 272"/>
              <a:gd name="T47" fmla="*/ 2147483646 h 420"/>
              <a:gd name="T48" fmla="*/ 2147483646 w 272"/>
              <a:gd name="T49" fmla="*/ 2147483646 h 420"/>
              <a:gd name="T50" fmla="*/ 2147483646 w 272"/>
              <a:gd name="T51" fmla="*/ 2147483646 h 420"/>
              <a:gd name="T52" fmla="*/ 2147483646 w 272"/>
              <a:gd name="T53" fmla="*/ 2147483646 h 420"/>
              <a:gd name="T54" fmla="*/ 2147483646 w 272"/>
              <a:gd name="T55" fmla="*/ 2147483646 h 420"/>
              <a:gd name="T56" fmla="*/ 2147483646 w 272"/>
              <a:gd name="T57" fmla="*/ 2147483646 h 420"/>
              <a:gd name="T58" fmla="*/ 2147483646 w 272"/>
              <a:gd name="T59" fmla="*/ 2147483646 h 420"/>
              <a:gd name="T60" fmla="*/ 2147483646 w 272"/>
              <a:gd name="T61" fmla="*/ 2147483646 h 420"/>
              <a:gd name="T62" fmla="*/ 2147483646 w 272"/>
              <a:gd name="T63" fmla="*/ 2147483646 h 420"/>
              <a:gd name="T64" fmla="*/ 2147483646 w 272"/>
              <a:gd name="T65" fmla="*/ 2147483646 h 420"/>
              <a:gd name="T66" fmla="*/ 2147483646 w 272"/>
              <a:gd name="T67" fmla="*/ 2147483646 h 420"/>
              <a:gd name="T68" fmla="*/ 2147483646 w 272"/>
              <a:gd name="T69" fmla="*/ 2147483646 h 420"/>
              <a:gd name="T70" fmla="*/ 2147483646 w 272"/>
              <a:gd name="T71" fmla="*/ 2147483646 h 420"/>
              <a:gd name="T72" fmla="*/ 2147483646 w 272"/>
              <a:gd name="T73" fmla="*/ 2147483646 h 420"/>
              <a:gd name="T74" fmla="*/ 2147483646 w 272"/>
              <a:gd name="T75" fmla="*/ 2147483646 h 420"/>
              <a:gd name="T76" fmla="*/ 2147483646 w 272"/>
              <a:gd name="T77" fmla="*/ 2147483646 h 420"/>
              <a:gd name="T78" fmla="*/ 2147483646 w 272"/>
              <a:gd name="T79" fmla="*/ 2147483646 h 420"/>
              <a:gd name="T80" fmla="*/ 2147483646 w 272"/>
              <a:gd name="T81" fmla="*/ 2147483646 h 420"/>
              <a:gd name="T82" fmla="*/ 2147483646 w 272"/>
              <a:gd name="T83" fmla="*/ 2147483646 h 420"/>
              <a:gd name="T84" fmla="*/ 2147483646 w 272"/>
              <a:gd name="T85" fmla="*/ 2147483646 h 420"/>
              <a:gd name="T86" fmla="*/ 2147483646 w 272"/>
              <a:gd name="T87" fmla="*/ 2147483646 h 420"/>
              <a:gd name="T88" fmla="*/ 2147483646 w 272"/>
              <a:gd name="T89" fmla="*/ 2147483646 h 420"/>
              <a:gd name="T90" fmla="*/ 2147483646 w 272"/>
              <a:gd name="T91" fmla="*/ 2147483646 h 420"/>
              <a:gd name="T92" fmla="*/ 2147483646 w 272"/>
              <a:gd name="T93" fmla="*/ 2147483646 h 420"/>
              <a:gd name="T94" fmla="*/ 2147483646 w 272"/>
              <a:gd name="T95" fmla="*/ 2147483646 h 420"/>
              <a:gd name="T96" fmla="*/ 2147483646 w 272"/>
              <a:gd name="T97" fmla="*/ 2147483646 h 420"/>
              <a:gd name="T98" fmla="*/ 2147483646 w 272"/>
              <a:gd name="T99" fmla="*/ 2147483646 h 420"/>
              <a:gd name="T100" fmla="*/ 2147483646 w 272"/>
              <a:gd name="T101" fmla="*/ 2147483646 h 420"/>
              <a:gd name="T102" fmla="*/ 2147483646 w 272"/>
              <a:gd name="T103" fmla="*/ 2147483646 h 420"/>
              <a:gd name="T104" fmla="*/ 2147483646 w 272"/>
              <a:gd name="T105" fmla="*/ 2147483646 h 420"/>
              <a:gd name="T106" fmla="*/ 2147483646 w 272"/>
              <a:gd name="T107" fmla="*/ 2147483646 h 420"/>
              <a:gd name="T108" fmla="*/ 2147483646 w 272"/>
              <a:gd name="T109" fmla="*/ 2147483646 h 420"/>
              <a:gd name="T110" fmla="*/ 2147483646 w 272"/>
              <a:gd name="T111" fmla="*/ 2147483646 h 420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w 272"/>
              <a:gd name="T169" fmla="*/ 0 h 420"/>
              <a:gd name="T170" fmla="*/ 272 w 272"/>
              <a:gd name="T171" fmla="*/ 420 h 420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T168" t="T169" r="T170" b="T171"/>
            <a:pathLst>
              <a:path w="272" h="420">
                <a:moveTo>
                  <a:pt x="266" y="196"/>
                </a:moveTo>
                <a:lnTo>
                  <a:pt x="262" y="196"/>
                </a:lnTo>
                <a:lnTo>
                  <a:pt x="258" y="194"/>
                </a:lnTo>
                <a:lnTo>
                  <a:pt x="254" y="192"/>
                </a:lnTo>
                <a:lnTo>
                  <a:pt x="246" y="190"/>
                </a:lnTo>
                <a:lnTo>
                  <a:pt x="244" y="190"/>
                </a:lnTo>
                <a:lnTo>
                  <a:pt x="242" y="188"/>
                </a:lnTo>
                <a:lnTo>
                  <a:pt x="240" y="188"/>
                </a:lnTo>
                <a:lnTo>
                  <a:pt x="240" y="186"/>
                </a:lnTo>
                <a:lnTo>
                  <a:pt x="238" y="182"/>
                </a:lnTo>
                <a:lnTo>
                  <a:pt x="238" y="180"/>
                </a:lnTo>
                <a:lnTo>
                  <a:pt x="238" y="178"/>
                </a:lnTo>
                <a:lnTo>
                  <a:pt x="240" y="176"/>
                </a:lnTo>
                <a:lnTo>
                  <a:pt x="242" y="174"/>
                </a:lnTo>
                <a:lnTo>
                  <a:pt x="246" y="170"/>
                </a:lnTo>
                <a:lnTo>
                  <a:pt x="248" y="164"/>
                </a:lnTo>
                <a:lnTo>
                  <a:pt x="248" y="162"/>
                </a:lnTo>
                <a:lnTo>
                  <a:pt x="248" y="160"/>
                </a:lnTo>
                <a:lnTo>
                  <a:pt x="248" y="158"/>
                </a:lnTo>
                <a:lnTo>
                  <a:pt x="248" y="156"/>
                </a:lnTo>
                <a:lnTo>
                  <a:pt x="248" y="154"/>
                </a:lnTo>
                <a:lnTo>
                  <a:pt x="248" y="152"/>
                </a:lnTo>
                <a:lnTo>
                  <a:pt x="246" y="150"/>
                </a:lnTo>
                <a:lnTo>
                  <a:pt x="246" y="146"/>
                </a:lnTo>
                <a:lnTo>
                  <a:pt x="244" y="142"/>
                </a:lnTo>
                <a:lnTo>
                  <a:pt x="244" y="140"/>
                </a:lnTo>
                <a:lnTo>
                  <a:pt x="244" y="138"/>
                </a:lnTo>
                <a:lnTo>
                  <a:pt x="242" y="138"/>
                </a:lnTo>
                <a:lnTo>
                  <a:pt x="242" y="136"/>
                </a:lnTo>
                <a:lnTo>
                  <a:pt x="242" y="134"/>
                </a:lnTo>
                <a:lnTo>
                  <a:pt x="244" y="134"/>
                </a:lnTo>
                <a:lnTo>
                  <a:pt x="244" y="132"/>
                </a:lnTo>
                <a:lnTo>
                  <a:pt x="246" y="132"/>
                </a:lnTo>
                <a:lnTo>
                  <a:pt x="248" y="132"/>
                </a:lnTo>
                <a:lnTo>
                  <a:pt x="252" y="128"/>
                </a:lnTo>
                <a:lnTo>
                  <a:pt x="254" y="128"/>
                </a:lnTo>
                <a:lnTo>
                  <a:pt x="256" y="128"/>
                </a:lnTo>
                <a:lnTo>
                  <a:pt x="256" y="126"/>
                </a:lnTo>
                <a:lnTo>
                  <a:pt x="256" y="124"/>
                </a:lnTo>
                <a:lnTo>
                  <a:pt x="256" y="122"/>
                </a:lnTo>
                <a:lnTo>
                  <a:pt x="254" y="118"/>
                </a:lnTo>
                <a:lnTo>
                  <a:pt x="252" y="110"/>
                </a:lnTo>
                <a:lnTo>
                  <a:pt x="246" y="102"/>
                </a:lnTo>
                <a:lnTo>
                  <a:pt x="244" y="96"/>
                </a:lnTo>
                <a:lnTo>
                  <a:pt x="242" y="92"/>
                </a:lnTo>
                <a:lnTo>
                  <a:pt x="242" y="90"/>
                </a:lnTo>
                <a:lnTo>
                  <a:pt x="240" y="88"/>
                </a:lnTo>
                <a:lnTo>
                  <a:pt x="240" y="86"/>
                </a:lnTo>
                <a:lnTo>
                  <a:pt x="238" y="86"/>
                </a:lnTo>
                <a:lnTo>
                  <a:pt x="238" y="84"/>
                </a:lnTo>
                <a:lnTo>
                  <a:pt x="236" y="84"/>
                </a:lnTo>
                <a:lnTo>
                  <a:pt x="230" y="82"/>
                </a:lnTo>
                <a:lnTo>
                  <a:pt x="228" y="82"/>
                </a:lnTo>
                <a:lnTo>
                  <a:pt x="226" y="82"/>
                </a:lnTo>
                <a:lnTo>
                  <a:pt x="224" y="82"/>
                </a:lnTo>
                <a:lnTo>
                  <a:pt x="220" y="82"/>
                </a:lnTo>
                <a:lnTo>
                  <a:pt x="210" y="80"/>
                </a:lnTo>
                <a:lnTo>
                  <a:pt x="206" y="80"/>
                </a:lnTo>
                <a:lnTo>
                  <a:pt x="204" y="80"/>
                </a:lnTo>
                <a:lnTo>
                  <a:pt x="202" y="78"/>
                </a:lnTo>
                <a:lnTo>
                  <a:pt x="200" y="74"/>
                </a:lnTo>
                <a:lnTo>
                  <a:pt x="200" y="72"/>
                </a:lnTo>
                <a:lnTo>
                  <a:pt x="196" y="72"/>
                </a:lnTo>
                <a:lnTo>
                  <a:pt x="196" y="70"/>
                </a:lnTo>
                <a:lnTo>
                  <a:pt x="196" y="68"/>
                </a:lnTo>
                <a:lnTo>
                  <a:pt x="200" y="68"/>
                </a:lnTo>
                <a:lnTo>
                  <a:pt x="202" y="68"/>
                </a:lnTo>
                <a:lnTo>
                  <a:pt x="204" y="68"/>
                </a:lnTo>
                <a:lnTo>
                  <a:pt x="206" y="68"/>
                </a:lnTo>
                <a:lnTo>
                  <a:pt x="208" y="68"/>
                </a:lnTo>
                <a:lnTo>
                  <a:pt x="208" y="66"/>
                </a:lnTo>
                <a:lnTo>
                  <a:pt x="210" y="66"/>
                </a:lnTo>
                <a:lnTo>
                  <a:pt x="212" y="64"/>
                </a:lnTo>
                <a:lnTo>
                  <a:pt x="210" y="62"/>
                </a:lnTo>
                <a:lnTo>
                  <a:pt x="210" y="60"/>
                </a:lnTo>
                <a:lnTo>
                  <a:pt x="208" y="60"/>
                </a:lnTo>
                <a:lnTo>
                  <a:pt x="204" y="54"/>
                </a:lnTo>
                <a:lnTo>
                  <a:pt x="202" y="52"/>
                </a:lnTo>
                <a:lnTo>
                  <a:pt x="200" y="48"/>
                </a:lnTo>
                <a:lnTo>
                  <a:pt x="200" y="46"/>
                </a:lnTo>
                <a:lnTo>
                  <a:pt x="202" y="46"/>
                </a:lnTo>
                <a:lnTo>
                  <a:pt x="204" y="46"/>
                </a:lnTo>
                <a:lnTo>
                  <a:pt x="206" y="46"/>
                </a:lnTo>
                <a:lnTo>
                  <a:pt x="208" y="46"/>
                </a:lnTo>
                <a:lnTo>
                  <a:pt x="210" y="46"/>
                </a:lnTo>
                <a:lnTo>
                  <a:pt x="212" y="46"/>
                </a:lnTo>
                <a:lnTo>
                  <a:pt x="214" y="46"/>
                </a:lnTo>
                <a:lnTo>
                  <a:pt x="218" y="46"/>
                </a:lnTo>
                <a:lnTo>
                  <a:pt x="218" y="44"/>
                </a:lnTo>
                <a:lnTo>
                  <a:pt x="214" y="42"/>
                </a:lnTo>
                <a:lnTo>
                  <a:pt x="212" y="42"/>
                </a:lnTo>
                <a:lnTo>
                  <a:pt x="210" y="38"/>
                </a:lnTo>
                <a:lnTo>
                  <a:pt x="208" y="36"/>
                </a:lnTo>
                <a:lnTo>
                  <a:pt x="204" y="34"/>
                </a:lnTo>
                <a:lnTo>
                  <a:pt x="202" y="32"/>
                </a:lnTo>
                <a:lnTo>
                  <a:pt x="200" y="30"/>
                </a:lnTo>
                <a:lnTo>
                  <a:pt x="200" y="28"/>
                </a:lnTo>
                <a:lnTo>
                  <a:pt x="200" y="26"/>
                </a:lnTo>
                <a:lnTo>
                  <a:pt x="202" y="24"/>
                </a:lnTo>
                <a:lnTo>
                  <a:pt x="206" y="20"/>
                </a:lnTo>
                <a:lnTo>
                  <a:pt x="208" y="18"/>
                </a:lnTo>
                <a:lnTo>
                  <a:pt x="210" y="18"/>
                </a:lnTo>
                <a:lnTo>
                  <a:pt x="214" y="16"/>
                </a:lnTo>
                <a:lnTo>
                  <a:pt x="218" y="16"/>
                </a:lnTo>
                <a:lnTo>
                  <a:pt x="220" y="14"/>
                </a:lnTo>
                <a:lnTo>
                  <a:pt x="222" y="12"/>
                </a:lnTo>
                <a:lnTo>
                  <a:pt x="224" y="10"/>
                </a:lnTo>
                <a:lnTo>
                  <a:pt x="226" y="8"/>
                </a:lnTo>
                <a:lnTo>
                  <a:pt x="226" y="6"/>
                </a:lnTo>
                <a:lnTo>
                  <a:pt x="224" y="2"/>
                </a:lnTo>
                <a:lnTo>
                  <a:pt x="222" y="0"/>
                </a:lnTo>
                <a:lnTo>
                  <a:pt x="218" y="0"/>
                </a:lnTo>
                <a:lnTo>
                  <a:pt x="212" y="2"/>
                </a:lnTo>
                <a:lnTo>
                  <a:pt x="210" y="2"/>
                </a:lnTo>
                <a:lnTo>
                  <a:pt x="206" y="8"/>
                </a:lnTo>
                <a:lnTo>
                  <a:pt x="204" y="8"/>
                </a:lnTo>
                <a:lnTo>
                  <a:pt x="204" y="10"/>
                </a:lnTo>
                <a:lnTo>
                  <a:pt x="202" y="12"/>
                </a:lnTo>
                <a:lnTo>
                  <a:pt x="200" y="14"/>
                </a:lnTo>
                <a:lnTo>
                  <a:pt x="196" y="14"/>
                </a:lnTo>
                <a:lnTo>
                  <a:pt x="194" y="14"/>
                </a:lnTo>
                <a:lnTo>
                  <a:pt x="190" y="12"/>
                </a:lnTo>
                <a:lnTo>
                  <a:pt x="188" y="12"/>
                </a:lnTo>
                <a:lnTo>
                  <a:pt x="184" y="10"/>
                </a:lnTo>
                <a:lnTo>
                  <a:pt x="182" y="10"/>
                </a:lnTo>
                <a:lnTo>
                  <a:pt x="178" y="10"/>
                </a:lnTo>
                <a:lnTo>
                  <a:pt x="174" y="10"/>
                </a:lnTo>
                <a:lnTo>
                  <a:pt x="168" y="20"/>
                </a:lnTo>
                <a:lnTo>
                  <a:pt x="168" y="28"/>
                </a:lnTo>
                <a:lnTo>
                  <a:pt x="162" y="32"/>
                </a:lnTo>
                <a:lnTo>
                  <a:pt x="162" y="38"/>
                </a:lnTo>
                <a:lnTo>
                  <a:pt x="162" y="42"/>
                </a:lnTo>
                <a:lnTo>
                  <a:pt x="162" y="46"/>
                </a:lnTo>
                <a:lnTo>
                  <a:pt x="158" y="50"/>
                </a:lnTo>
                <a:lnTo>
                  <a:pt x="158" y="56"/>
                </a:lnTo>
                <a:lnTo>
                  <a:pt x="158" y="60"/>
                </a:lnTo>
                <a:lnTo>
                  <a:pt x="154" y="64"/>
                </a:lnTo>
                <a:lnTo>
                  <a:pt x="150" y="70"/>
                </a:lnTo>
                <a:lnTo>
                  <a:pt x="144" y="78"/>
                </a:lnTo>
                <a:lnTo>
                  <a:pt x="86" y="138"/>
                </a:lnTo>
                <a:lnTo>
                  <a:pt x="86" y="140"/>
                </a:lnTo>
                <a:lnTo>
                  <a:pt x="74" y="140"/>
                </a:lnTo>
                <a:lnTo>
                  <a:pt x="72" y="142"/>
                </a:lnTo>
                <a:lnTo>
                  <a:pt x="72" y="144"/>
                </a:lnTo>
                <a:lnTo>
                  <a:pt x="78" y="146"/>
                </a:lnTo>
                <a:lnTo>
                  <a:pt x="78" y="150"/>
                </a:lnTo>
                <a:lnTo>
                  <a:pt x="74" y="150"/>
                </a:lnTo>
                <a:lnTo>
                  <a:pt x="72" y="150"/>
                </a:lnTo>
                <a:lnTo>
                  <a:pt x="70" y="150"/>
                </a:lnTo>
                <a:lnTo>
                  <a:pt x="66" y="154"/>
                </a:lnTo>
                <a:lnTo>
                  <a:pt x="64" y="156"/>
                </a:lnTo>
                <a:lnTo>
                  <a:pt x="58" y="156"/>
                </a:lnTo>
                <a:lnTo>
                  <a:pt x="56" y="156"/>
                </a:lnTo>
                <a:lnTo>
                  <a:pt x="56" y="158"/>
                </a:lnTo>
                <a:lnTo>
                  <a:pt x="62" y="160"/>
                </a:lnTo>
                <a:lnTo>
                  <a:pt x="62" y="162"/>
                </a:lnTo>
                <a:lnTo>
                  <a:pt x="58" y="164"/>
                </a:lnTo>
                <a:lnTo>
                  <a:pt x="56" y="168"/>
                </a:lnTo>
                <a:lnTo>
                  <a:pt x="56" y="170"/>
                </a:lnTo>
                <a:lnTo>
                  <a:pt x="58" y="172"/>
                </a:lnTo>
                <a:lnTo>
                  <a:pt x="58" y="176"/>
                </a:lnTo>
                <a:lnTo>
                  <a:pt x="56" y="180"/>
                </a:lnTo>
                <a:lnTo>
                  <a:pt x="54" y="178"/>
                </a:lnTo>
                <a:lnTo>
                  <a:pt x="50" y="176"/>
                </a:lnTo>
                <a:lnTo>
                  <a:pt x="46" y="176"/>
                </a:lnTo>
                <a:lnTo>
                  <a:pt x="44" y="178"/>
                </a:lnTo>
                <a:lnTo>
                  <a:pt x="50" y="186"/>
                </a:lnTo>
                <a:lnTo>
                  <a:pt x="44" y="194"/>
                </a:lnTo>
                <a:lnTo>
                  <a:pt x="40" y="196"/>
                </a:lnTo>
                <a:lnTo>
                  <a:pt x="40" y="198"/>
                </a:lnTo>
                <a:lnTo>
                  <a:pt x="38" y="198"/>
                </a:lnTo>
                <a:lnTo>
                  <a:pt x="38" y="200"/>
                </a:lnTo>
                <a:lnTo>
                  <a:pt x="38" y="204"/>
                </a:lnTo>
                <a:lnTo>
                  <a:pt x="36" y="204"/>
                </a:lnTo>
                <a:lnTo>
                  <a:pt x="38" y="206"/>
                </a:lnTo>
                <a:lnTo>
                  <a:pt x="38" y="210"/>
                </a:lnTo>
                <a:lnTo>
                  <a:pt x="36" y="214"/>
                </a:lnTo>
                <a:lnTo>
                  <a:pt x="32" y="222"/>
                </a:lnTo>
                <a:lnTo>
                  <a:pt x="28" y="224"/>
                </a:lnTo>
                <a:lnTo>
                  <a:pt x="22" y="228"/>
                </a:lnTo>
                <a:lnTo>
                  <a:pt x="18" y="236"/>
                </a:lnTo>
                <a:lnTo>
                  <a:pt x="14" y="242"/>
                </a:lnTo>
                <a:lnTo>
                  <a:pt x="12" y="244"/>
                </a:lnTo>
                <a:lnTo>
                  <a:pt x="12" y="246"/>
                </a:lnTo>
                <a:lnTo>
                  <a:pt x="6" y="246"/>
                </a:lnTo>
                <a:lnTo>
                  <a:pt x="6" y="248"/>
                </a:lnTo>
                <a:lnTo>
                  <a:pt x="6" y="250"/>
                </a:lnTo>
                <a:lnTo>
                  <a:pt x="6" y="252"/>
                </a:lnTo>
                <a:lnTo>
                  <a:pt x="6" y="254"/>
                </a:lnTo>
                <a:lnTo>
                  <a:pt x="6" y="258"/>
                </a:lnTo>
                <a:lnTo>
                  <a:pt x="4" y="258"/>
                </a:lnTo>
                <a:lnTo>
                  <a:pt x="2" y="258"/>
                </a:lnTo>
                <a:lnTo>
                  <a:pt x="2" y="260"/>
                </a:lnTo>
                <a:lnTo>
                  <a:pt x="4" y="262"/>
                </a:lnTo>
                <a:lnTo>
                  <a:pt x="6" y="266"/>
                </a:lnTo>
                <a:lnTo>
                  <a:pt x="4" y="266"/>
                </a:lnTo>
                <a:lnTo>
                  <a:pt x="2" y="270"/>
                </a:lnTo>
                <a:lnTo>
                  <a:pt x="0" y="272"/>
                </a:lnTo>
                <a:lnTo>
                  <a:pt x="2" y="276"/>
                </a:lnTo>
                <a:lnTo>
                  <a:pt x="4" y="276"/>
                </a:lnTo>
                <a:lnTo>
                  <a:pt x="32" y="298"/>
                </a:lnTo>
                <a:lnTo>
                  <a:pt x="32" y="300"/>
                </a:lnTo>
                <a:lnTo>
                  <a:pt x="36" y="300"/>
                </a:lnTo>
                <a:lnTo>
                  <a:pt x="72" y="330"/>
                </a:lnTo>
                <a:lnTo>
                  <a:pt x="92" y="348"/>
                </a:lnTo>
                <a:lnTo>
                  <a:pt x="96" y="348"/>
                </a:lnTo>
                <a:lnTo>
                  <a:pt x="102" y="354"/>
                </a:lnTo>
                <a:lnTo>
                  <a:pt x="104" y="354"/>
                </a:lnTo>
                <a:lnTo>
                  <a:pt x="152" y="394"/>
                </a:lnTo>
                <a:lnTo>
                  <a:pt x="154" y="394"/>
                </a:lnTo>
                <a:lnTo>
                  <a:pt x="156" y="396"/>
                </a:lnTo>
                <a:lnTo>
                  <a:pt x="184" y="420"/>
                </a:lnTo>
                <a:lnTo>
                  <a:pt x="186" y="416"/>
                </a:lnTo>
                <a:lnTo>
                  <a:pt x="188" y="414"/>
                </a:lnTo>
                <a:lnTo>
                  <a:pt x="188" y="412"/>
                </a:lnTo>
                <a:lnTo>
                  <a:pt x="188" y="410"/>
                </a:lnTo>
                <a:lnTo>
                  <a:pt x="188" y="408"/>
                </a:lnTo>
                <a:lnTo>
                  <a:pt x="190" y="404"/>
                </a:lnTo>
                <a:lnTo>
                  <a:pt x="190" y="402"/>
                </a:lnTo>
                <a:lnTo>
                  <a:pt x="190" y="398"/>
                </a:lnTo>
                <a:lnTo>
                  <a:pt x="192" y="394"/>
                </a:lnTo>
                <a:lnTo>
                  <a:pt x="192" y="392"/>
                </a:lnTo>
                <a:lnTo>
                  <a:pt x="194" y="388"/>
                </a:lnTo>
                <a:lnTo>
                  <a:pt x="194" y="386"/>
                </a:lnTo>
                <a:lnTo>
                  <a:pt x="194" y="384"/>
                </a:lnTo>
                <a:lnTo>
                  <a:pt x="196" y="380"/>
                </a:lnTo>
                <a:lnTo>
                  <a:pt x="200" y="378"/>
                </a:lnTo>
                <a:lnTo>
                  <a:pt x="202" y="376"/>
                </a:lnTo>
                <a:lnTo>
                  <a:pt x="202" y="372"/>
                </a:lnTo>
                <a:lnTo>
                  <a:pt x="204" y="368"/>
                </a:lnTo>
                <a:lnTo>
                  <a:pt x="204" y="362"/>
                </a:lnTo>
                <a:lnTo>
                  <a:pt x="206" y="356"/>
                </a:lnTo>
                <a:lnTo>
                  <a:pt x="206" y="352"/>
                </a:lnTo>
                <a:lnTo>
                  <a:pt x="208" y="344"/>
                </a:lnTo>
                <a:lnTo>
                  <a:pt x="210" y="338"/>
                </a:lnTo>
                <a:lnTo>
                  <a:pt x="212" y="332"/>
                </a:lnTo>
                <a:lnTo>
                  <a:pt x="212" y="330"/>
                </a:lnTo>
                <a:lnTo>
                  <a:pt x="214" y="320"/>
                </a:lnTo>
                <a:lnTo>
                  <a:pt x="218" y="314"/>
                </a:lnTo>
                <a:lnTo>
                  <a:pt x="222" y="312"/>
                </a:lnTo>
                <a:lnTo>
                  <a:pt x="222" y="308"/>
                </a:lnTo>
                <a:lnTo>
                  <a:pt x="224" y="306"/>
                </a:lnTo>
                <a:lnTo>
                  <a:pt x="226" y="304"/>
                </a:lnTo>
                <a:lnTo>
                  <a:pt x="226" y="302"/>
                </a:lnTo>
                <a:lnTo>
                  <a:pt x="228" y="302"/>
                </a:lnTo>
                <a:lnTo>
                  <a:pt x="228" y="298"/>
                </a:lnTo>
                <a:lnTo>
                  <a:pt x="228" y="296"/>
                </a:lnTo>
                <a:lnTo>
                  <a:pt x="230" y="296"/>
                </a:lnTo>
                <a:lnTo>
                  <a:pt x="230" y="290"/>
                </a:lnTo>
                <a:lnTo>
                  <a:pt x="230" y="286"/>
                </a:lnTo>
                <a:lnTo>
                  <a:pt x="228" y="282"/>
                </a:lnTo>
                <a:lnTo>
                  <a:pt x="228" y="280"/>
                </a:lnTo>
                <a:lnTo>
                  <a:pt x="230" y="280"/>
                </a:lnTo>
                <a:lnTo>
                  <a:pt x="230" y="278"/>
                </a:lnTo>
                <a:lnTo>
                  <a:pt x="230" y="276"/>
                </a:lnTo>
                <a:lnTo>
                  <a:pt x="234" y="272"/>
                </a:lnTo>
                <a:lnTo>
                  <a:pt x="236" y="270"/>
                </a:lnTo>
                <a:lnTo>
                  <a:pt x="238" y="268"/>
                </a:lnTo>
                <a:lnTo>
                  <a:pt x="240" y="266"/>
                </a:lnTo>
                <a:lnTo>
                  <a:pt x="240" y="264"/>
                </a:lnTo>
                <a:lnTo>
                  <a:pt x="240" y="260"/>
                </a:lnTo>
                <a:lnTo>
                  <a:pt x="242" y="258"/>
                </a:lnTo>
                <a:lnTo>
                  <a:pt x="242" y="254"/>
                </a:lnTo>
                <a:lnTo>
                  <a:pt x="242" y="248"/>
                </a:lnTo>
                <a:lnTo>
                  <a:pt x="244" y="244"/>
                </a:lnTo>
                <a:lnTo>
                  <a:pt x="246" y="240"/>
                </a:lnTo>
                <a:lnTo>
                  <a:pt x="248" y="232"/>
                </a:lnTo>
                <a:lnTo>
                  <a:pt x="252" y="228"/>
                </a:lnTo>
                <a:lnTo>
                  <a:pt x="254" y="222"/>
                </a:lnTo>
                <a:lnTo>
                  <a:pt x="256" y="222"/>
                </a:lnTo>
                <a:lnTo>
                  <a:pt x="256" y="218"/>
                </a:lnTo>
                <a:lnTo>
                  <a:pt x="256" y="216"/>
                </a:lnTo>
                <a:lnTo>
                  <a:pt x="258" y="216"/>
                </a:lnTo>
                <a:lnTo>
                  <a:pt x="258" y="214"/>
                </a:lnTo>
                <a:lnTo>
                  <a:pt x="258" y="212"/>
                </a:lnTo>
                <a:lnTo>
                  <a:pt x="260" y="212"/>
                </a:lnTo>
                <a:lnTo>
                  <a:pt x="260" y="210"/>
                </a:lnTo>
                <a:lnTo>
                  <a:pt x="264" y="206"/>
                </a:lnTo>
                <a:lnTo>
                  <a:pt x="266" y="206"/>
                </a:lnTo>
                <a:lnTo>
                  <a:pt x="266" y="204"/>
                </a:lnTo>
                <a:lnTo>
                  <a:pt x="272" y="200"/>
                </a:lnTo>
                <a:lnTo>
                  <a:pt x="272" y="198"/>
                </a:lnTo>
                <a:lnTo>
                  <a:pt x="270" y="198"/>
                </a:lnTo>
                <a:lnTo>
                  <a:pt x="266" y="196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 w="6350">
            <a:solidFill>
              <a:schemeClr val="tx2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457200">
              <a:defRPr/>
            </a:pPr>
            <a:endParaRPr lang="en-US" kern="0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70" name="Freeform 48">
            <a:extLst>
              <a:ext uri="{FF2B5EF4-FFF2-40B4-BE49-F238E27FC236}">
                <a16:creationId xmlns:a16="http://schemas.microsoft.com/office/drawing/2014/main" id="{C8299A15-FBCD-80AA-3217-13E62F17524B}"/>
              </a:ext>
            </a:extLst>
          </p:cNvPr>
          <p:cNvSpPr>
            <a:spLocks/>
          </p:cNvSpPr>
          <p:nvPr/>
        </p:nvSpPr>
        <p:spPr bwMode="auto">
          <a:xfrm>
            <a:off x="5255260" y="3398520"/>
            <a:ext cx="645160" cy="782320"/>
          </a:xfrm>
          <a:custGeom>
            <a:avLst/>
            <a:gdLst>
              <a:gd name="T0" fmla="*/ 2147483646 w 508"/>
              <a:gd name="T1" fmla="*/ 2147483646 h 616"/>
              <a:gd name="T2" fmla="*/ 2147483646 w 508"/>
              <a:gd name="T3" fmla="*/ 2147483646 h 616"/>
              <a:gd name="T4" fmla="*/ 2147483646 w 508"/>
              <a:gd name="T5" fmla="*/ 2147483646 h 616"/>
              <a:gd name="T6" fmla="*/ 2147483646 w 508"/>
              <a:gd name="T7" fmla="*/ 2147483646 h 616"/>
              <a:gd name="T8" fmla="*/ 2147483646 w 508"/>
              <a:gd name="T9" fmla="*/ 2147483646 h 616"/>
              <a:gd name="T10" fmla="*/ 2147483646 w 508"/>
              <a:gd name="T11" fmla="*/ 2147483646 h 616"/>
              <a:gd name="T12" fmla="*/ 2147483646 w 508"/>
              <a:gd name="T13" fmla="*/ 2147483646 h 616"/>
              <a:gd name="T14" fmla="*/ 2147483646 w 508"/>
              <a:gd name="T15" fmla="*/ 2147483646 h 616"/>
              <a:gd name="T16" fmla="*/ 2147483646 w 508"/>
              <a:gd name="T17" fmla="*/ 2147483646 h 616"/>
              <a:gd name="T18" fmla="*/ 2147483646 w 508"/>
              <a:gd name="T19" fmla="*/ 2147483646 h 616"/>
              <a:gd name="T20" fmla="*/ 2147483646 w 508"/>
              <a:gd name="T21" fmla="*/ 2147483646 h 616"/>
              <a:gd name="T22" fmla="*/ 2147483646 w 508"/>
              <a:gd name="T23" fmla="*/ 2147483646 h 616"/>
              <a:gd name="T24" fmla="*/ 2147483646 w 508"/>
              <a:gd name="T25" fmla="*/ 2147483646 h 616"/>
              <a:gd name="T26" fmla="*/ 2147483646 w 508"/>
              <a:gd name="T27" fmla="*/ 2147483646 h 616"/>
              <a:gd name="T28" fmla="*/ 2147483646 w 508"/>
              <a:gd name="T29" fmla="*/ 2147483646 h 616"/>
              <a:gd name="T30" fmla="*/ 2147483646 w 508"/>
              <a:gd name="T31" fmla="*/ 2147483646 h 616"/>
              <a:gd name="T32" fmla="*/ 2147483646 w 508"/>
              <a:gd name="T33" fmla="*/ 2147483646 h 616"/>
              <a:gd name="T34" fmla="*/ 2147483646 w 508"/>
              <a:gd name="T35" fmla="*/ 2147483646 h 616"/>
              <a:gd name="T36" fmla="*/ 2147483646 w 508"/>
              <a:gd name="T37" fmla="*/ 2147483646 h 616"/>
              <a:gd name="T38" fmla="*/ 2147483646 w 508"/>
              <a:gd name="T39" fmla="*/ 2147483646 h 616"/>
              <a:gd name="T40" fmla="*/ 2147483646 w 508"/>
              <a:gd name="T41" fmla="*/ 2147483646 h 616"/>
              <a:gd name="T42" fmla="*/ 2147483646 w 508"/>
              <a:gd name="T43" fmla="*/ 2147483646 h 616"/>
              <a:gd name="T44" fmla="*/ 2147483646 w 508"/>
              <a:gd name="T45" fmla="*/ 2147483646 h 616"/>
              <a:gd name="T46" fmla="*/ 2147483646 w 508"/>
              <a:gd name="T47" fmla="*/ 2147483646 h 616"/>
              <a:gd name="T48" fmla="*/ 2147483646 w 508"/>
              <a:gd name="T49" fmla="*/ 2147483646 h 616"/>
              <a:gd name="T50" fmla="*/ 2147483646 w 508"/>
              <a:gd name="T51" fmla="*/ 2147483646 h 616"/>
              <a:gd name="T52" fmla="*/ 2147483646 w 508"/>
              <a:gd name="T53" fmla="*/ 2147483646 h 616"/>
              <a:gd name="T54" fmla="*/ 2147483646 w 508"/>
              <a:gd name="T55" fmla="*/ 2147483646 h 616"/>
              <a:gd name="T56" fmla="*/ 2147483646 w 508"/>
              <a:gd name="T57" fmla="*/ 2147483646 h 616"/>
              <a:gd name="T58" fmla="*/ 2147483646 w 508"/>
              <a:gd name="T59" fmla="*/ 2147483646 h 616"/>
              <a:gd name="T60" fmla="*/ 2147483646 w 508"/>
              <a:gd name="T61" fmla="*/ 2147483646 h 616"/>
              <a:gd name="T62" fmla="*/ 2147483646 w 508"/>
              <a:gd name="T63" fmla="*/ 2147483646 h 616"/>
              <a:gd name="T64" fmla="*/ 2147483646 w 508"/>
              <a:gd name="T65" fmla="*/ 2147483646 h 616"/>
              <a:gd name="T66" fmla="*/ 2147483646 w 508"/>
              <a:gd name="T67" fmla="*/ 2147483646 h 616"/>
              <a:gd name="T68" fmla="*/ 2147483646 w 508"/>
              <a:gd name="T69" fmla="*/ 2147483646 h 616"/>
              <a:gd name="T70" fmla="*/ 2147483646 w 508"/>
              <a:gd name="T71" fmla="*/ 2147483646 h 616"/>
              <a:gd name="T72" fmla="*/ 2147483646 w 508"/>
              <a:gd name="T73" fmla="*/ 2147483646 h 616"/>
              <a:gd name="T74" fmla="*/ 2147483646 w 508"/>
              <a:gd name="T75" fmla="*/ 2147483646 h 616"/>
              <a:gd name="T76" fmla="*/ 2147483646 w 508"/>
              <a:gd name="T77" fmla="*/ 2147483646 h 616"/>
              <a:gd name="T78" fmla="*/ 2147483646 w 508"/>
              <a:gd name="T79" fmla="*/ 2147483646 h 616"/>
              <a:gd name="T80" fmla="*/ 2147483646 w 508"/>
              <a:gd name="T81" fmla="*/ 2147483646 h 616"/>
              <a:gd name="T82" fmla="*/ 2147483646 w 508"/>
              <a:gd name="T83" fmla="*/ 2147483646 h 616"/>
              <a:gd name="T84" fmla="*/ 2147483646 w 508"/>
              <a:gd name="T85" fmla="*/ 2147483646 h 616"/>
              <a:gd name="T86" fmla="*/ 2147483646 w 508"/>
              <a:gd name="T87" fmla="*/ 2147483646 h 616"/>
              <a:gd name="T88" fmla="*/ 2147483646 w 508"/>
              <a:gd name="T89" fmla="*/ 2147483646 h 616"/>
              <a:gd name="T90" fmla="*/ 2147483646 w 508"/>
              <a:gd name="T91" fmla="*/ 2147483646 h 616"/>
              <a:gd name="T92" fmla="*/ 2147483646 w 508"/>
              <a:gd name="T93" fmla="*/ 2147483646 h 616"/>
              <a:gd name="T94" fmla="*/ 2147483646 w 508"/>
              <a:gd name="T95" fmla="*/ 2147483646 h 616"/>
              <a:gd name="T96" fmla="*/ 2147483646 w 508"/>
              <a:gd name="T97" fmla="*/ 2147483646 h 616"/>
              <a:gd name="T98" fmla="*/ 2147483646 w 508"/>
              <a:gd name="T99" fmla="*/ 2147483646 h 616"/>
              <a:gd name="T100" fmla="*/ 2147483646 w 508"/>
              <a:gd name="T101" fmla="*/ 2147483646 h 616"/>
              <a:gd name="T102" fmla="*/ 2147483646 w 508"/>
              <a:gd name="T103" fmla="*/ 2147483646 h 616"/>
              <a:gd name="T104" fmla="*/ 2147483646 w 508"/>
              <a:gd name="T105" fmla="*/ 2147483646 h 616"/>
              <a:gd name="T106" fmla="*/ 2147483646 w 508"/>
              <a:gd name="T107" fmla="*/ 2147483646 h 616"/>
              <a:gd name="T108" fmla="*/ 2147483646 w 508"/>
              <a:gd name="T109" fmla="*/ 2147483646 h 616"/>
              <a:gd name="T110" fmla="*/ 2147483646 w 508"/>
              <a:gd name="T111" fmla="*/ 2147483646 h 616"/>
              <a:gd name="T112" fmla="*/ 2147483646 w 508"/>
              <a:gd name="T113" fmla="*/ 2147483646 h 61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w 508"/>
              <a:gd name="T172" fmla="*/ 0 h 616"/>
              <a:gd name="T173" fmla="*/ 508 w 508"/>
              <a:gd name="T174" fmla="*/ 616 h 616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T171" t="T172" r="T173" b="T174"/>
            <a:pathLst>
              <a:path w="508" h="616">
                <a:moveTo>
                  <a:pt x="444" y="162"/>
                </a:moveTo>
                <a:lnTo>
                  <a:pt x="420" y="142"/>
                </a:lnTo>
                <a:lnTo>
                  <a:pt x="384" y="110"/>
                </a:lnTo>
                <a:lnTo>
                  <a:pt x="360" y="92"/>
                </a:lnTo>
                <a:lnTo>
                  <a:pt x="358" y="90"/>
                </a:lnTo>
                <a:lnTo>
                  <a:pt x="356" y="90"/>
                </a:lnTo>
                <a:lnTo>
                  <a:pt x="338" y="76"/>
                </a:lnTo>
                <a:lnTo>
                  <a:pt x="288" y="36"/>
                </a:lnTo>
                <a:lnTo>
                  <a:pt x="280" y="30"/>
                </a:lnTo>
                <a:lnTo>
                  <a:pt x="276" y="22"/>
                </a:lnTo>
                <a:lnTo>
                  <a:pt x="272" y="18"/>
                </a:lnTo>
                <a:lnTo>
                  <a:pt x="254" y="0"/>
                </a:lnTo>
                <a:lnTo>
                  <a:pt x="252" y="2"/>
                </a:lnTo>
                <a:lnTo>
                  <a:pt x="248" y="10"/>
                </a:lnTo>
                <a:lnTo>
                  <a:pt x="246" y="18"/>
                </a:lnTo>
                <a:lnTo>
                  <a:pt x="244" y="22"/>
                </a:lnTo>
                <a:lnTo>
                  <a:pt x="240" y="26"/>
                </a:lnTo>
                <a:lnTo>
                  <a:pt x="236" y="30"/>
                </a:lnTo>
                <a:lnTo>
                  <a:pt x="230" y="36"/>
                </a:lnTo>
                <a:lnTo>
                  <a:pt x="226" y="40"/>
                </a:lnTo>
                <a:lnTo>
                  <a:pt x="218" y="40"/>
                </a:lnTo>
                <a:lnTo>
                  <a:pt x="210" y="40"/>
                </a:lnTo>
                <a:lnTo>
                  <a:pt x="206" y="40"/>
                </a:lnTo>
                <a:lnTo>
                  <a:pt x="200" y="44"/>
                </a:lnTo>
                <a:lnTo>
                  <a:pt x="194" y="38"/>
                </a:lnTo>
                <a:lnTo>
                  <a:pt x="186" y="34"/>
                </a:lnTo>
                <a:lnTo>
                  <a:pt x="182" y="30"/>
                </a:lnTo>
                <a:lnTo>
                  <a:pt x="172" y="32"/>
                </a:lnTo>
                <a:lnTo>
                  <a:pt x="168" y="32"/>
                </a:lnTo>
                <a:lnTo>
                  <a:pt x="160" y="34"/>
                </a:lnTo>
                <a:lnTo>
                  <a:pt x="160" y="38"/>
                </a:lnTo>
                <a:lnTo>
                  <a:pt x="172" y="64"/>
                </a:lnTo>
                <a:lnTo>
                  <a:pt x="170" y="66"/>
                </a:lnTo>
                <a:lnTo>
                  <a:pt x="160" y="68"/>
                </a:lnTo>
                <a:lnTo>
                  <a:pt x="156" y="70"/>
                </a:lnTo>
                <a:lnTo>
                  <a:pt x="150" y="74"/>
                </a:lnTo>
                <a:lnTo>
                  <a:pt x="148" y="74"/>
                </a:lnTo>
                <a:lnTo>
                  <a:pt x="138" y="80"/>
                </a:lnTo>
                <a:lnTo>
                  <a:pt x="136" y="82"/>
                </a:lnTo>
                <a:lnTo>
                  <a:pt x="124" y="74"/>
                </a:lnTo>
                <a:lnTo>
                  <a:pt x="112" y="74"/>
                </a:lnTo>
                <a:lnTo>
                  <a:pt x="106" y="76"/>
                </a:lnTo>
                <a:lnTo>
                  <a:pt x="106" y="82"/>
                </a:lnTo>
                <a:lnTo>
                  <a:pt x="108" y="88"/>
                </a:lnTo>
                <a:lnTo>
                  <a:pt x="114" y="98"/>
                </a:lnTo>
                <a:lnTo>
                  <a:pt x="112" y="110"/>
                </a:lnTo>
                <a:lnTo>
                  <a:pt x="104" y="116"/>
                </a:lnTo>
                <a:lnTo>
                  <a:pt x="102" y="122"/>
                </a:lnTo>
                <a:lnTo>
                  <a:pt x="96" y="128"/>
                </a:lnTo>
                <a:lnTo>
                  <a:pt x="92" y="136"/>
                </a:lnTo>
                <a:lnTo>
                  <a:pt x="98" y="136"/>
                </a:lnTo>
                <a:lnTo>
                  <a:pt x="102" y="140"/>
                </a:lnTo>
                <a:lnTo>
                  <a:pt x="104" y="144"/>
                </a:lnTo>
                <a:lnTo>
                  <a:pt x="100" y="160"/>
                </a:lnTo>
                <a:lnTo>
                  <a:pt x="100" y="162"/>
                </a:lnTo>
                <a:lnTo>
                  <a:pt x="114" y="176"/>
                </a:lnTo>
                <a:lnTo>
                  <a:pt x="116" y="178"/>
                </a:lnTo>
                <a:lnTo>
                  <a:pt x="120" y="186"/>
                </a:lnTo>
                <a:lnTo>
                  <a:pt x="120" y="192"/>
                </a:lnTo>
                <a:lnTo>
                  <a:pt x="116" y="198"/>
                </a:lnTo>
                <a:lnTo>
                  <a:pt x="112" y="204"/>
                </a:lnTo>
                <a:lnTo>
                  <a:pt x="102" y="218"/>
                </a:lnTo>
                <a:lnTo>
                  <a:pt x="100" y="230"/>
                </a:lnTo>
                <a:lnTo>
                  <a:pt x="96" y="236"/>
                </a:lnTo>
                <a:lnTo>
                  <a:pt x="88" y="244"/>
                </a:lnTo>
                <a:lnTo>
                  <a:pt x="82" y="254"/>
                </a:lnTo>
                <a:lnTo>
                  <a:pt x="74" y="258"/>
                </a:lnTo>
                <a:lnTo>
                  <a:pt x="72" y="262"/>
                </a:lnTo>
                <a:lnTo>
                  <a:pt x="72" y="270"/>
                </a:lnTo>
                <a:lnTo>
                  <a:pt x="68" y="274"/>
                </a:lnTo>
                <a:lnTo>
                  <a:pt x="66" y="274"/>
                </a:lnTo>
                <a:lnTo>
                  <a:pt x="64" y="280"/>
                </a:lnTo>
                <a:lnTo>
                  <a:pt x="64" y="284"/>
                </a:lnTo>
                <a:lnTo>
                  <a:pt x="60" y="288"/>
                </a:lnTo>
                <a:lnTo>
                  <a:pt x="56" y="290"/>
                </a:lnTo>
                <a:lnTo>
                  <a:pt x="54" y="296"/>
                </a:lnTo>
                <a:lnTo>
                  <a:pt x="48" y="298"/>
                </a:lnTo>
                <a:lnTo>
                  <a:pt x="46" y="304"/>
                </a:lnTo>
                <a:lnTo>
                  <a:pt x="40" y="312"/>
                </a:lnTo>
                <a:lnTo>
                  <a:pt x="36" y="316"/>
                </a:lnTo>
                <a:lnTo>
                  <a:pt x="40" y="326"/>
                </a:lnTo>
                <a:lnTo>
                  <a:pt x="44" y="332"/>
                </a:lnTo>
                <a:lnTo>
                  <a:pt x="44" y="334"/>
                </a:lnTo>
                <a:lnTo>
                  <a:pt x="38" y="336"/>
                </a:lnTo>
                <a:lnTo>
                  <a:pt x="28" y="332"/>
                </a:lnTo>
                <a:lnTo>
                  <a:pt x="20" y="328"/>
                </a:lnTo>
                <a:lnTo>
                  <a:pt x="18" y="328"/>
                </a:lnTo>
                <a:lnTo>
                  <a:pt x="14" y="332"/>
                </a:lnTo>
                <a:lnTo>
                  <a:pt x="14" y="338"/>
                </a:lnTo>
                <a:lnTo>
                  <a:pt x="18" y="340"/>
                </a:lnTo>
                <a:lnTo>
                  <a:pt x="18" y="344"/>
                </a:lnTo>
                <a:lnTo>
                  <a:pt x="16" y="352"/>
                </a:lnTo>
                <a:lnTo>
                  <a:pt x="12" y="358"/>
                </a:lnTo>
                <a:lnTo>
                  <a:pt x="10" y="360"/>
                </a:lnTo>
                <a:lnTo>
                  <a:pt x="8" y="366"/>
                </a:lnTo>
                <a:lnTo>
                  <a:pt x="12" y="370"/>
                </a:lnTo>
                <a:lnTo>
                  <a:pt x="14" y="372"/>
                </a:lnTo>
                <a:lnTo>
                  <a:pt x="14" y="376"/>
                </a:lnTo>
                <a:lnTo>
                  <a:pt x="18" y="384"/>
                </a:lnTo>
                <a:lnTo>
                  <a:pt x="22" y="388"/>
                </a:lnTo>
                <a:lnTo>
                  <a:pt x="18" y="396"/>
                </a:lnTo>
                <a:lnTo>
                  <a:pt x="14" y="398"/>
                </a:lnTo>
                <a:lnTo>
                  <a:pt x="4" y="400"/>
                </a:lnTo>
                <a:lnTo>
                  <a:pt x="0" y="416"/>
                </a:lnTo>
                <a:lnTo>
                  <a:pt x="2" y="416"/>
                </a:lnTo>
                <a:lnTo>
                  <a:pt x="2" y="418"/>
                </a:lnTo>
                <a:lnTo>
                  <a:pt x="12" y="420"/>
                </a:lnTo>
                <a:lnTo>
                  <a:pt x="20" y="428"/>
                </a:lnTo>
                <a:lnTo>
                  <a:pt x="30" y="432"/>
                </a:lnTo>
                <a:lnTo>
                  <a:pt x="38" y="436"/>
                </a:lnTo>
                <a:lnTo>
                  <a:pt x="40" y="436"/>
                </a:lnTo>
                <a:lnTo>
                  <a:pt x="46" y="438"/>
                </a:lnTo>
                <a:lnTo>
                  <a:pt x="48" y="442"/>
                </a:lnTo>
                <a:lnTo>
                  <a:pt x="54" y="444"/>
                </a:lnTo>
                <a:lnTo>
                  <a:pt x="62" y="446"/>
                </a:lnTo>
                <a:lnTo>
                  <a:pt x="64" y="448"/>
                </a:lnTo>
                <a:lnTo>
                  <a:pt x="66" y="448"/>
                </a:lnTo>
                <a:lnTo>
                  <a:pt x="70" y="450"/>
                </a:lnTo>
                <a:lnTo>
                  <a:pt x="78" y="452"/>
                </a:lnTo>
                <a:lnTo>
                  <a:pt x="82" y="454"/>
                </a:lnTo>
                <a:lnTo>
                  <a:pt x="86" y="456"/>
                </a:lnTo>
                <a:lnTo>
                  <a:pt x="90" y="460"/>
                </a:lnTo>
                <a:lnTo>
                  <a:pt x="92" y="462"/>
                </a:lnTo>
                <a:lnTo>
                  <a:pt x="96" y="464"/>
                </a:lnTo>
                <a:lnTo>
                  <a:pt x="98" y="468"/>
                </a:lnTo>
                <a:lnTo>
                  <a:pt x="104" y="478"/>
                </a:lnTo>
                <a:lnTo>
                  <a:pt x="106" y="480"/>
                </a:lnTo>
                <a:lnTo>
                  <a:pt x="114" y="490"/>
                </a:lnTo>
                <a:lnTo>
                  <a:pt x="120" y="502"/>
                </a:lnTo>
                <a:lnTo>
                  <a:pt x="126" y="518"/>
                </a:lnTo>
                <a:lnTo>
                  <a:pt x="130" y="520"/>
                </a:lnTo>
                <a:lnTo>
                  <a:pt x="130" y="522"/>
                </a:lnTo>
                <a:lnTo>
                  <a:pt x="132" y="524"/>
                </a:lnTo>
                <a:lnTo>
                  <a:pt x="150" y="568"/>
                </a:lnTo>
                <a:lnTo>
                  <a:pt x="204" y="586"/>
                </a:lnTo>
                <a:lnTo>
                  <a:pt x="222" y="592"/>
                </a:lnTo>
                <a:lnTo>
                  <a:pt x="244" y="598"/>
                </a:lnTo>
                <a:lnTo>
                  <a:pt x="252" y="600"/>
                </a:lnTo>
                <a:lnTo>
                  <a:pt x="252" y="604"/>
                </a:lnTo>
                <a:lnTo>
                  <a:pt x="268" y="608"/>
                </a:lnTo>
                <a:lnTo>
                  <a:pt x="276" y="610"/>
                </a:lnTo>
                <a:lnTo>
                  <a:pt x="288" y="614"/>
                </a:lnTo>
                <a:lnTo>
                  <a:pt x="292" y="614"/>
                </a:lnTo>
                <a:lnTo>
                  <a:pt x="294" y="616"/>
                </a:lnTo>
                <a:lnTo>
                  <a:pt x="296" y="616"/>
                </a:lnTo>
                <a:lnTo>
                  <a:pt x="300" y="614"/>
                </a:lnTo>
                <a:lnTo>
                  <a:pt x="300" y="612"/>
                </a:lnTo>
                <a:lnTo>
                  <a:pt x="304" y="612"/>
                </a:lnTo>
                <a:lnTo>
                  <a:pt x="306" y="610"/>
                </a:lnTo>
                <a:lnTo>
                  <a:pt x="308" y="610"/>
                </a:lnTo>
                <a:lnTo>
                  <a:pt x="308" y="608"/>
                </a:lnTo>
                <a:lnTo>
                  <a:pt x="310" y="608"/>
                </a:lnTo>
                <a:lnTo>
                  <a:pt x="312" y="608"/>
                </a:lnTo>
                <a:lnTo>
                  <a:pt x="314" y="606"/>
                </a:lnTo>
                <a:lnTo>
                  <a:pt x="316" y="606"/>
                </a:lnTo>
                <a:lnTo>
                  <a:pt x="320" y="606"/>
                </a:lnTo>
                <a:lnTo>
                  <a:pt x="322" y="606"/>
                </a:lnTo>
                <a:lnTo>
                  <a:pt x="324" y="604"/>
                </a:lnTo>
                <a:lnTo>
                  <a:pt x="322" y="598"/>
                </a:lnTo>
                <a:lnTo>
                  <a:pt x="322" y="596"/>
                </a:lnTo>
                <a:lnTo>
                  <a:pt x="322" y="592"/>
                </a:lnTo>
                <a:lnTo>
                  <a:pt x="324" y="590"/>
                </a:lnTo>
                <a:lnTo>
                  <a:pt x="326" y="590"/>
                </a:lnTo>
                <a:lnTo>
                  <a:pt x="326" y="588"/>
                </a:lnTo>
                <a:lnTo>
                  <a:pt x="328" y="588"/>
                </a:lnTo>
                <a:lnTo>
                  <a:pt x="330" y="586"/>
                </a:lnTo>
                <a:lnTo>
                  <a:pt x="334" y="580"/>
                </a:lnTo>
                <a:lnTo>
                  <a:pt x="340" y="576"/>
                </a:lnTo>
                <a:lnTo>
                  <a:pt x="340" y="574"/>
                </a:lnTo>
                <a:lnTo>
                  <a:pt x="342" y="572"/>
                </a:lnTo>
                <a:lnTo>
                  <a:pt x="344" y="570"/>
                </a:lnTo>
                <a:lnTo>
                  <a:pt x="346" y="570"/>
                </a:lnTo>
                <a:lnTo>
                  <a:pt x="348" y="570"/>
                </a:lnTo>
                <a:lnTo>
                  <a:pt x="350" y="568"/>
                </a:lnTo>
                <a:lnTo>
                  <a:pt x="352" y="568"/>
                </a:lnTo>
                <a:lnTo>
                  <a:pt x="352" y="564"/>
                </a:lnTo>
                <a:lnTo>
                  <a:pt x="352" y="562"/>
                </a:lnTo>
                <a:lnTo>
                  <a:pt x="352" y="558"/>
                </a:lnTo>
                <a:lnTo>
                  <a:pt x="356" y="556"/>
                </a:lnTo>
                <a:lnTo>
                  <a:pt x="356" y="554"/>
                </a:lnTo>
                <a:lnTo>
                  <a:pt x="356" y="552"/>
                </a:lnTo>
                <a:lnTo>
                  <a:pt x="358" y="552"/>
                </a:lnTo>
                <a:lnTo>
                  <a:pt x="362" y="550"/>
                </a:lnTo>
                <a:lnTo>
                  <a:pt x="362" y="546"/>
                </a:lnTo>
                <a:lnTo>
                  <a:pt x="364" y="546"/>
                </a:lnTo>
                <a:lnTo>
                  <a:pt x="366" y="544"/>
                </a:lnTo>
                <a:lnTo>
                  <a:pt x="366" y="542"/>
                </a:lnTo>
                <a:lnTo>
                  <a:pt x="368" y="542"/>
                </a:lnTo>
                <a:lnTo>
                  <a:pt x="372" y="540"/>
                </a:lnTo>
                <a:lnTo>
                  <a:pt x="372" y="538"/>
                </a:lnTo>
                <a:lnTo>
                  <a:pt x="374" y="534"/>
                </a:lnTo>
                <a:lnTo>
                  <a:pt x="376" y="532"/>
                </a:lnTo>
                <a:lnTo>
                  <a:pt x="376" y="528"/>
                </a:lnTo>
                <a:lnTo>
                  <a:pt x="378" y="526"/>
                </a:lnTo>
                <a:lnTo>
                  <a:pt x="380" y="524"/>
                </a:lnTo>
                <a:lnTo>
                  <a:pt x="382" y="522"/>
                </a:lnTo>
                <a:lnTo>
                  <a:pt x="382" y="520"/>
                </a:lnTo>
                <a:lnTo>
                  <a:pt x="384" y="516"/>
                </a:lnTo>
                <a:lnTo>
                  <a:pt x="384" y="514"/>
                </a:lnTo>
                <a:lnTo>
                  <a:pt x="382" y="508"/>
                </a:lnTo>
                <a:lnTo>
                  <a:pt x="382" y="506"/>
                </a:lnTo>
                <a:lnTo>
                  <a:pt x="382" y="504"/>
                </a:lnTo>
                <a:lnTo>
                  <a:pt x="382" y="500"/>
                </a:lnTo>
                <a:lnTo>
                  <a:pt x="384" y="492"/>
                </a:lnTo>
                <a:lnTo>
                  <a:pt x="386" y="486"/>
                </a:lnTo>
                <a:lnTo>
                  <a:pt x="386" y="484"/>
                </a:lnTo>
                <a:lnTo>
                  <a:pt x="390" y="480"/>
                </a:lnTo>
                <a:lnTo>
                  <a:pt x="394" y="474"/>
                </a:lnTo>
                <a:lnTo>
                  <a:pt x="396" y="466"/>
                </a:lnTo>
                <a:lnTo>
                  <a:pt x="400" y="462"/>
                </a:lnTo>
                <a:lnTo>
                  <a:pt x="402" y="454"/>
                </a:lnTo>
                <a:lnTo>
                  <a:pt x="404" y="452"/>
                </a:lnTo>
                <a:lnTo>
                  <a:pt x="404" y="450"/>
                </a:lnTo>
                <a:lnTo>
                  <a:pt x="412" y="438"/>
                </a:lnTo>
                <a:lnTo>
                  <a:pt x="414" y="434"/>
                </a:lnTo>
                <a:lnTo>
                  <a:pt x="416" y="430"/>
                </a:lnTo>
                <a:lnTo>
                  <a:pt x="418" y="426"/>
                </a:lnTo>
                <a:lnTo>
                  <a:pt x="420" y="424"/>
                </a:lnTo>
                <a:lnTo>
                  <a:pt x="420" y="420"/>
                </a:lnTo>
                <a:lnTo>
                  <a:pt x="420" y="418"/>
                </a:lnTo>
                <a:lnTo>
                  <a:pt x="424" y="416"/>
                </a:lnTo>
                <a:lnTo>
                  <a:pt x="424" y="414"/>
                </a:lnTo>
                <a:lnTo>
                  <a:pt x="426" y="410"/>
                </a:lnTo>
                <a:lnTo>
                  <a:pt x="426" y="402"/>
                </a:lnTo>
                <a:lnTo>
                  <a:pt x="428" y="398"/>
                </a:lnTo>
                <a:lnTo>
                  <a:pt x="428" y="394"/>
                </a:lnTo>
                <a:lnTo>
                  <a:pt x="428" y="392"/>
                </a:lnTo>
                <a:lnTo>
                  <a:pt x="428" y="388"/>
                </a:lnTo>
                <a:lnTo>
                  <a:pt x="430" y="384"/>
                </a:lnTo>
                <a:lnTo>
                  <a:pt x="432" y="380"/>
                </a:lnTo>
                <a:lnTo>
                  <a:pt x="434" y="376"/>
                </a:lnTo>
                <a:lnTo>
                  <a:pt x="442" y="360"/>
                </a:lnTo>
                <a:lnTo>
                  <a:pt x="442" y="358"/>
                </a:lnTo>
                <a:lnTo>
                  <a:pt x="444" y="354"/>
                </a:lnTo>
                <a:lnTo>
                  <a:pt x="446" y="352"/>
                </a:lnTo>
                <a:lnTo>
                  <a:pt x="448" y="346"/>
                </a:lnTo>
                <a:lnTo>
                  <a:pt x="448" y="344"/>
                </a:lnTo>
                <a:lnTo>
                  <a:pt x="450" y="342"/>
                </a:lnTo>
                <a:lnTo>
                  <a:pt x="452" y="340"/>
                </a:lnTo>
                <a:lnTo>
                  <a:pt x="452" y="338"/>
                </a:lnTo>
                <a:lnTo>
                  <a:pt x="454" y="338"/>
                </a:lnTo>
                <a:lnTo>
                  <a:pt x="456" y="336"/>
                </a:lnTo>
                <a:lnTo>
                  <a:pt x="460" y="336"/>
                </a:lnTo>
                <a:lnTo>
                  <a:pt x="462" y="336"/>
                </a:lnTo>
                <a:lnTo>
                  <a:pt x="464" y="336"/>
                </a:lnTo>
                <a:lnTo>
                  <a:pt x="466" y="336"/>
                </a:lnTo>
                <a:lnTo>
                  <a:pt x="466" y="338"/>
                </a:lnTo>
                <a:lnTo>
                  <a:pt x="468" y="340"/>
                </a:lnTo>
                <a:lnTo>
                  <a:pt x="470" y="340"/>
                </a:lnTo>
                <a:lnTo>
                  <a:pt x="472" y="340"/>
                </a:lnTo>
                <a:lnTo>
                  <a:pt x="476" y="340"/>
                </a:lnTo>
                <a:lnTo>
                  <a:pt x="478" y="338"/>
                </a:lnTo>
                <a:lnTo>
                  <a:pt x="480" y="336"/>
                </a:lnTo>
                <a:lnTo>
                  <a:pt x="482" y="334"/>
                </a:lnTo>
                <a:lnTo>
                  <a:pt x="482" y="328"/>
                </a:lnTo>
                <a:lnTo>
                  <a:pt x="482" y="326"/>
                </a:lnTo>
                <a:lnTo>
                  <a:pt x="484" y="322"/>
                </a:lnTo>
                <a:lnTo>
                  <a:pt x="486" y="318"/>
                </a:lnTo>
                <a:lnTo>
                  <a:pt x="486" y="312"/>
                </a:lnTo>
                <a:lnTo>
                  <a:pt x="486" y="308"/>
                </a:lnTo>
                <a:lnTo>
                  <a:pt x="486" y="306"/>
                </a:lnTo>
                <a:lnTo>
                  <a:pt x="486" y="304"/>
                </a:lnTo>
                <a:lnTo>
                  <a:pt x="486" y="302"/>
                </a:lnTo>
                <a:lnTo>
                  <a:pt x="484" y="300"/>
                </a:lnTo>
                <a:lnTo>
                  <a:pt x="484" y="298"/>
                </a:lnTo>
                <a:lnTo>
                  <a:pt x="484" y="292"/>
                </a:lnTo>
                <a:lnTo>
                  <a:pt x="482" y="290"/>
                </a:lnTo>
                <a:lnTo>
                  <a:pt x="482" y="286"/>
                </a:lnTo>
                <a:lnTo>
                  <a:pt x="484" y="282"/>
                </a:lnTo>
                <a:lnTo>
                  <a:pt x="484" y="278"/>
                </a:lnTo>
                <a:lnTo>
                  <a:pt x="484" y="272"/>
                </a:lnTo>
                <a:lnTo>
                  <a:pt x="486" y="270"/>
                </a:lnTo>
                <a:lnTo>
                  <a:pt x="486" y="264"/>
                </a:lnTo>
                <a:lnTo>
                  <a:pt x="488" y="256"/>
                </a:lnTo>
                <a:lnTo>
                  <a:pt x="488" y="254"/>
                </a:lnTo>
                <a:lnTo>
                  <a:pt x="490" y="252"/>
                </a:lnTo>
                <a:lnTo>
                  <a:pt x="490" y="250"/>
                </a:lnTo>
                <a:lnTo>
                  <a:pt x="494" y="244"/>
                </a:lnTo>
                <a:lnTo>
                  <a:pt x="496" y="242"/>
                </a:lnTo>
                <a:lnTo>
                  <a:pt x="502" y="232"/>
                </a:lnTo>
                <a:lnTo>
                  <a:pt x="506" y="226"/>
                </a:lnTo>
                <a:lnTo>
                  <a:pt x="506" y="224"/>
                </a:lnTo>
                <a:lnTo>
                  <a:pt x="508" y="218"/>
                </a:lnTo>
                <a:lnTo>
                  <a:pt x="466" y="182"/>
                </a:lnTo>
                <a:lnTo>
                  <a:pt x="444" y="162"/>
                </a:lnTo>
                <a:close/>
              </a:path>
            </a:pathLst>
          </a:custGeom>
          <a:solidFill>
            <a:srgbClr val="F1B728"/>
          </a:solidFill>
          <a:ln w="6350">
            <a:solidFill>
              <a:schemeClr val="tx1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457200"/>
            <a:endParaRPr lang="en-US" kern="0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71" name="Freeform 49">
            <a:extLst>
              <a:ext uri="{FF2B5EF4-FFF2-40B4-BE49-F238E27FC236}">
                <a16:creationId xmlns:a16="http://schemas.microsoft.com/office/drawing/2014/main" id="{D1C50ABB-DB29-33C7-1BEC-CAF1E442AFA7}"/>
              </a:ext>
            </a:extLst>
          </p:cNvPr>
          <p:cNvSpPr>
            <a:spLocks/>
          </p:cNvSpPr>
          <p:nvPr/>
        </p:nvSpPr>
        <p:spPr bwMode="auto">
          <a:xfrm>
            <a:off x="1905000" y="4157980"/>
            <a:ext cx="500380" cy="833120"/>
          </a:xfrm>
          <a:custGeom>
            <a:avLst/>
            <a:gdLst>
              <a:gd name="T0" fmla="*/ 2147483646 w 394"/>
              <a:gd name="T1" fmla="*/ 2147483646 h 656"/>
              <a:gd name="T2" fmla="*/ 2147483646 w 394"/>
              <a:gd name="T3" fmla="*/ 2147483646 h 656"/>
              <a:gd name="T4" fmla="*/ 2147483646 w 394"/>
              <a:gd name="T5" fmla="*/ 2147483646 h 656"/>
              <a:gd name="T6" fmla="*/ 2147483646 w 394"/>
              <a:gd name="T7" fmla="*/ 2147483646 h 656"/>
              <a:gd name="T8" fmla="*/ 2147483646 w 394"/>
              <a:gd name="T9" fmla="*/ 2147483646 h 656"/>
              <a:gd name="T10" fmla="*/ 2147483646 w 394"/>
              <a:gd name="T11" fmla="*/ 2147483646 h 656"/>
              <a:gd name="T12" fmla="*/ 2147483646 w 394"/>
              <a:gd name="T13" fmla="*/ 2147483646 h 656"/>
              <a:gd name="T14" fmla="*/ 2147483646 w 394"/>
              <a:gd name="T15" fmla="*/ 2147483646 h 656"/>
              <a:gd name="T16" fmla="*/ 2147483646 w 394"/>
              <a:gd name="T17" fmla="*/ 2147483646 h 656"/>
              <a:gd name="T18" fmla="*/ 2147483646 w 394"/>
              <a:gd name="T19" fmla="*/ 2147483646 h 656"/>
              <a:gd name="T20" fmla="*/ 2147483646 w 394"/>
              <a:gd name="T21" fmla="*/ 2147483646 h 656"/>
              <a:gd name="T22" fmla="*/ 2147483646 w 394"/>
              <a:gd name="T23" fmla="*/ 2147483646 h 656"/>
              <a:gd name="T24" fmla="*/ 2147483646 w 394"/>
              <a:gd name="T25" fmla="*/ 2147483646 h 656"/>
              <a:gd name="T26" fmla="*/ 2147483646 w 394"/>
              <a:gd name="T27" fmla="*/ 2147483646 h 656"/>
              <a:gd name="T28" fmla="*/ 2147483646 w 394"/>
              <a:gd name="T29" fmla="*/ 2147483646 h 656"/>
              <a:gd name="T30" fmla="*/ 2147483646 w 394"/>
              <a:gd name="T31" fmla="*/ 2147483646 h 656"/>
              <a:gd name="T32" fmla="*/ 2147483646 w 394"/>
              <a:gd name="T33" fmla="*/ 2147483646 h 656"/>
              <a:gd name="T34" fmla="*/ 2147483646 w 394"/>
              <a:gd name="T35" fmla="*/ 2147483646 h 656"/>
              <a:gd name="T36" fmla="*/ 2147483646 w 394"/>
              <a:gd name="T37" fmla="*/ 2147483646 h 656"/>
              <a:gd name="T38" fmla="*/ 2147483646 w 394"/>
              <a:gd name="T39" fmla="*/ 2147483646 h 656"/>
              <a:gd name="T40" fmla="*/ 2147483646 w 394"/>
              <a:gd name="T41" fmla="*/ 2147483646 h 656"/>
              <a:gd name="T42" fmla="*/ 2147483646 w 394"/>
              <a:gd name="T43" fmla="*/ 2147483646 h 656"/>
              <a:gd name="T44" fmla="*/ 2147483646 w 394"/>
              <a:gd name="T45" fmla="*/ 2147483646 h 656"/>
              <a:gd name="T46" fmla="*/ 2147483646 w 394"/>
              <a:gd name="T47" fmla="*/ 2147483646 h 656"/>
              <a:gd name="T48" fmla="*/ 2147483646 w 394"/>
              <a:gd name="T49" fmla="*/ 2147483646 h 656"/>
              <a:gd name="T50" fmla="*/ 2147483646 w 394"/>
              <a:gd name="T51" fmla="*/ 2147483646 h 656"/>
              <a:gd name="T52" fmla="*/ 2147483646 w 394"/>
              <a:gd name="T53" fmla="*/ 2147483646 h 656"/>
              <a:gd name="T54" fmla="*/ 2147483646 w 394"/>
              <a:gd name="T55" fmla="*/ 2147483646 h 656"/>
              <a:gd name="T56" fmla="*/ 2147483646 w 394"/>
              <a:gd name="T57" fmla="*/ 2147483646 h 656"/>
              <a:gd name="T58" fmla="*/ 2147483646 w 394"/>
              <a:gd name="T59" fmla="*/ 2147483646 h 656"/>
              <a:gd name="T60" fmla="*/ 2147483646 w 394"/>
              <a:gd name="T61" fmla="*/ 2147483646 h 656"/>
              <a:gd name="T62" fmla="*/ 2147483646 w 394"/>
              <a:gd name="T63" fmla="*/ 2147483646 h 656"/>
              <a:gd name="T64" fmla="*/ 2147483646 w 394"/>
              <a:gd name="T65" fmla="*/ 2147483646 h 656"/>
              <a:gd name="T66" fmla="*/ 2147483646 w 394"/>
              <a:gd name="T67" fmla="*/ 2147483646 h 656"/>
              <a:gd name="T68" fmla="*/ 2147483646 w 394"/>
              <a:gd name="T69" fmla="*/ 2147483646 h 656"/>
              <a:gd name="T70" fmla="*/ 2147483646 w 394"/>
              <a:gd name="T71" fmla="*/ 2147483646 h 656"/>
              <a:gd name="T72" fmla="*/ 2147483646 w 394"/>
              <a:gd name="T73" fmla="*/ 2147483646 h 656"/>
              <a:gd name="T74" fmla="*/ 2147483646 w 394"/>
              <a:gd name="T75" fmla="*/ 2147483646 h 656"/>
              <a:gd name="T76" fmla="*/ 2147483646 w 394"/>
              <a:gd name="T77" fmla="*/ 2147483646 h 656"/>
              <a:gd name="T78" fmla="*/ 2147483646 w 394"/>
              <a:gd name="T79" fmla="*/ 2147483646 h 656"/>
              <a:gd name="T80" fmla="*/ 2147483646 w 394"/>
              <a:gd name="T81" fmla="*/ 2147483646 h 656"/>
              <a:gd name="T82" fmla="*/ 2147483646 w 394"/>
              <a:gd name="T83" fmla="*/ 2147483646 h 656"/>
              <a:gd name="T84" fmla="*/ 2147483646 w 394"/>
              <a:gd name="T85" fmla="*/ 2147483646 h 656"/>
              <a:gd name="T86" fmla="*/ 2147483646 w 394"/>
              <a:gd name="T87" fmla="*/ 2147483646 h 656"/>
              <a:gd name="T88" fmla="*/ 2147483646 w 394"/>
              <a:gd name="T89" fmla="*/ 2147483646 h 656"/>
              <a:gd name="T90" fmla="*/ 2147483646 w 394"/>
              <a:gd name="T91" fmla="*/ 2147483646 h 656"/>
              <a:gd name="T92" fmla="*/ 2147483646 w 394"/>
              <a:gd name="T93" fmla="*/ 2147483646 h 656"/>
              <a:gd name="T94" fmla="*/ 2147483646 w 394"/>
              <a:gd name="T95" fmla="*/ 2147483646 h 656"/>
              <a:gd name="T96" fmla="*/ 2147483646 w 394"/>
              <a:gd name="T97" fmla="*/ 2147483646 h 656"/>
              <a:gd name="T98" fmla="*/ 2147483646 w 394"/>
              <a:gd name="T99" fmla="*/ 2147483646 h 656"/>
              <a:gd name="T100" fmla="*/ 2147483646 w 394"/>
              <a:gd name="T101" fmla="*/ 2147483646 h 656"/>
              <a:gd name="T102" fmla="*/ 2147483646 w 394"/>
              <a:gd name="T103" fmla="*/ 2147483646 h 656"/>
              <a:gd name="T104" fmla="*/ 2147483646 w 394"/>
              <a:gd name="T105" fmla="*/ 2147483646 h 656"/>
              <a:gd name="T106" fmla="*/ 2147483646 w 394"/>
              <a:gd name="T107" fmla="*/ 2147483646 h 656"/>
              <a:gd name="T108" fmla="*/ 2147483646 w 394"/>
              <a:gd name="T109" fmla="*/ 2147483646 h 656"/>
              <a:gd name="T110" fmla="*/ 2147483646 w 394"/>
              <a:gd name="T111" fmla="*/ 2147483646 h 656"/>
              <a:gd name="T112" fmla="*/ 2147483646 w 394"/>
              <a:gd name="T113" fmla="*/ 2147483646 h 65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w 394"/>
              <a:gd name="T172" fmla="*/ 0 h 656"/>
              <a:gd name="T173" fmla="*/ 394 w 394"/>
              <a:gd name="T174" fmla="*/ 656 h 656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T171" t="T172" r="T173" b="T174"/>
            <a:pathLst>
              <a:path w="394" h="656">
                <a:moveTo>
                  <a:pt x="206" y="656"/>
                </a:moveTo>
                <a:lnTo>
                  <a:pt x="210" y="656"/>
                </a:lnTo>
                <a:lnTo>
                  <a:pt x="212" y="650"/>
                </a:lnTo>
                <a:lnTo>
                  <a:pt x="208" y="644"/>
                </a:lnTo>
                <a:lnTo>
                  <a:pt x="206" y="640"/>
                </a:lnTo>
                <a:lnTo>
                  <a:pt x="204" y="636"/>
                </a:lnTo>
                <a:lnTo>
                  <a:pt x="246" y="588"/>
                </a:lnTo>
                <a:lnTo>
                  <a:pt x="294" y="540"/>
                </a:lnTo>
                <a:lnTo>
                  <a:pt x="338" y="492"/>
                </a:lnTo>
                <a:lnTo>
                  <a:pt x="346" y="484"/>
                </a:lnTo>
                <a:lnTo>
                  <a:pt x="348" y="478"/>
                </a:lnTo>
                <a:lnTo>
                  <a:pt x="358" y="476"/>
                </a:lnTo>
                <a:lnTo>
                  <a:pt x="368" y="462"/>
                </a:lnTo>
                <a:lnTo>
                  <a:pt x="378" y="458"/>
                </a:lnTo>
                <a:lnTo>
                  <a:pt x="380" y="458"/>
                </a:lnTo>
                <a:lnTo>
                  <a:pt x="382" y="456"/>
                </a:lnTo>
                <a:lnTo>
                  <a:pt x="384" y="456"/>
                </a:lnTo>
                <a:lnTo>
                  <a:pt x="384" y="452"/>
                </a:lnTo>
                <a:lnTo>
                  <a:pt x="380" y="448"/>
                </a:lnTo>
                <a:lnTo>
                  <a:pt x="382" y="446"/>
                </a:lnTo>
                <a:lnTo>
                  <a:pt x="386" y="442"/>
                </a:lnTo>
                <a:lnTo>
                  <a:pt x="390" y="438"/>
                </a:lnTo>
                <a:lnTo>
                  <a:pt x="390" y="432"/>
                </a:lnTo>
                <a:lnTo>
                  <a:pt x="390" y="430"/>
                </a:lnTo>
                <a:lnTo>
                  <a:pt x="394" y="428"/>
                </a:lnTo>
                <a:lnTo>
                  <a:pt x="394" y="426"/>
                </a:lnTo>
                <a:lnTo>
                  <a:pt x="394" y="424"/>
                </a:lnTo>
                <a:lnTo>
                  <a:pt x="392" y="426"/>
                </a:lnTo>
                <a:lnTo>
                  <a:pt x="390" y="426"/>
                </a:lnTo>
                <a:lnTo>
                  <a:pt x="384" y="424"/>
                </a:lnTo>
                <a:lnTo>
                  <a:pt x="382" y="424"/>
                </a:lnTo>
                <a:lnTo>
                  <a:pt x="380" y="422"/>
                </a:lnTo>
                <a:lnTo>
                  <a:pt x="378" y="420"/>
                </a:lnTo>
                <a:lnTo>
                  <a:pt x="380" y="416"/>
                </a:lnTo>
                <a:lnTo>
                  <a:pt x="384" y="414"/>
                </a:lnTo>
                <a:lnTo>
                  <a:pt x="382" y="410"/>
                </a:lnTo>
                <a:lnTo>
                  <a:pt x="382" y="406"/>
                </a:lnTo>
                <a:lnTo>
                  <a:pt x="380" y="404"/>
                </a:lnTo>
                <a:lnTo>
                  <a:pt x="374" y="404"/>
                </a:lnTo>
                <a:lnTo>
                  <a:pt x="368" y="404"/>
                </a:lnTo>
                <a:lnTo>
                  <a:pt x="362" y="402"/>
                </a:lnTo>
                <a:lnTo>
                  <a:pt x="362" y="394"/>
                </a:lnTo>
                <a:lnTo>
                  <a:pt x="354" y="392"/>
                </a:lnTo>
                <a:lnTo>
                  <a:pt x="354" y="388"/>
                </a:lnTo>
                <a:lnTo>
                  <a:pt x="356" y="380"/>
                </a:lnTo>
                <a:lnTo>
                  <a:pt x="356" y="374"/>
                </a:lnTo>
                <a:lnTo>
                  <a:pt x="356" y="370"/>
                </a:lnTo>
                <a:lnTo>
                  <a:pt x="350" y="368"/>
                </a:lnTo>
                <a:lnTo>
                  <a:pt x="346" y="368"/>
                </a:lnTo>
                <a:lnTo>
                  <a:pt x="342" y="368"/>
                </a:lnTo>
                <a:lnTo>
                  <a:pt x="340" y="366"/>
                </a:lnTo>
                <a:lnTo>
                  <a:pt x="338" y="362"/>
                </a:lnTo>
                <a:lnTo>
                  <a:pt x="334" y="360"/>
                </a:lnTo>
                <a:lnTo>
                  <a:pt x="332" y="358"/>
                </a:lnTo>
                <a:lnTo>
                  <a:pt x="328" y="348"/>
                </a:lnTo>
                <a:lnTo>
                  <a:pt x="330" y="344"/>
                </a:lnTo>
                <a:lnTo>
                  <a:pt x="332" y="342"/>
                </a:lnTo>
                <a:lnTo>
                  <a:pt x="334" y="336"/>
                </a:lnTo>
                <a:lnTo>
                  <a:pt x="334" y="332"/>
                </a:lnTo>
                <a:lnTo>
                  <a:pt x="334" y="330"/>
                </a:lnTo>
                <a:lnTo>
                  <a:pt x="330" y="330"/>
                </a:lnTo>
                <a:lnTo>
                  <a:pt x="328" y="326"/>
                </a:lnTo>
                <a:lnTo>
                  <a:pt x="324" y="324"/>
                </a:lnTo>
                <a:lnTo>
                  <a:pt x="314" y="320"/>
                </a:lnTo>
                <a:lnTo>
                  <a:pt x="312" y="320"/>
                </a:lnTo>
                <a:lnTo>
                  <a:pt x="312" y="316"/>
                </a:lnTo>
                <a:lnTo>
                  <a:pt x="316" y="306"/>
                </a:lnTo>
                <a:lnTo>
                  <a:pt x="320" y="300"/>
                </a:lnTo>
                <a:lnTo>
                  <a:pt x="326" y="288"/>
                </a:lnTo>
                <a:lnTo>
                  <a:pt x="322" y="286"/>
                </a:lnTo>
                <a:lnTo>
                  <a:pt x="322" y="284"/>
                </a:lnTo>
                <a:lnTo>
                  <a:pt x="324" y="278"/>
                </a:lnTo>
                <a:lnTo>
                  <a:pt x="326" y="276"/>
                </a:lnTo>
                <a:lnTo>
                  <a:pt x="326" y="268"/>
                </a:lnTo>
                <a:lnTo>
                  <a:pt x="326" y="266"/>
                </a:lnTo>
                <a:lnTo>
                  <a:pt x="322" y="260"/>
                </a:lnTo>
                <a:lnTo>
                  <a:pt x="324" y="252"/>
                </a:lnTo>
                <a:lnTo>
                  <a:pt x="320" y="250"/>
                </a:lnTo>
                <a:lnTo>
                  <a:pt x="326" y="248"/>
                </a:lnTo>
                <a:lnTo>
                  <a:pt x="328" y="244"/>
                </a:lnTo>
                <a:lnTo>
                  <a:pt x="332" y="240"/>
                </a:lnTo>
                <a:lnTo>
                  <a:pt x="330" y="234"/>
                </a:lnTo>
                <a:lnTo>
                  <a:pt x="330" y="230"/>
                </a:lnTo>
                <a:lnTo>
                  <a:pt x="334" y="222"/>
                </a:lnTo>
                <a:lnTo>
                  <a:pt x="332" y="218"/>
                </a:lnTo>
                <a:lnTo>
                  <a:pt x="330" y="218"/>
                </a:lnTo>
                <a:lnTo>
                  <a:pt x="324" y="222"/>
                </a:lnTo>
                <a:lnTo>
                  <a:pt x="314" y="218"/>
                </a:lnTo>
                <a:lnTo>
                  <a:pt x="310" y="212"/>
                </a:lnTo>
                <a:lnTo>
                  <a:pt x="308" y="210"/>
                </a:lnTo>
                <a:lnTo>
                  <a:pt x="306" y="208"/>
                </a:lnTo>
                <a:lnTo>
                  <a:pt x="306" y="200"/>
                </a:lnTo>
                <a:lnTo>
                  <a:pt x="298" y="196"/>
                </a:lnTo>
                <a:lnTo>
                  <a:pt x="294" y="188"/>
                </a:lnTo>
                <a:lnTo>
                  <a:pt x="294" y="178"/>
                </a:lnTo>
                <a:lnTo>
                  <a:pt x="294" y="174"/>
                </a:lnTo>
                <a:lnTo>
                  <a:pt x="294" y="162"/>
                </a:lnTo>
                <a:lnTo>
                  <a:pt x="294" y="160"/>
                </a:lnTo>
                <a:lnTo>
                  <a:pt x="298" y="154"/>
                </a:lnTo>
                <a:lnTo>
                  <a:pt x="302" y="146"/>
                </a:lnTo>
                <a:lnTo>
                  <a:pt x="304" y="146"/>
                </a:lnTo>
                <a:lnTo>
                  <a:pt x="306" y="146"/>
                </a:lnTo>
                <a:lnTo>
                  <a:pt x="314" y="142"/>
                </a:lnTo>
                <a:lnTo>
                  <a:pt x="320" y="138"/>
                </a:lnTo>
                <a:lnTo>
                  <a:pt x="324" y="138"/>
                </a:lnTo>
                <a:lnTo>
                  <a:pt x="324" y="134"/>
                </a:lnTo>
                <a:lnTo>
                  <a:pt x="322" y="124"/>
                </a:lnTo>
                <a:lnTo>
                  <a:pt x="316" y="124"/>
                </a:lnTo>
                <a:lnTo>
                  <a:pt x="312" y="124"/>
                </a:lnTo>
                <a:lnTo>
                  <a:pt x="314" y="120"/>
                </a:lnTo>
                <a:lnTo>
                  <a:pt x="316" y="118"/>
                </a:lnTo>
                <a:lnTo>
                  <a:pt x="314" y="116"/>
                </a:lnTo>
                <a:lnTo>
                  <a:pt x="310" y="116"/>
                </a:lnTo>
                <a:lnTo>
                  <a:pt x="308" y="116"/>
                </a:lnTo>
                <a:lnTo>
                  <a:pt x="304" y="106"/>
                </a:lnTo>
                <a:lnTo>
                  <a:pt x="294" y="102"/>
                </a:lnTo>
                <a:lnTo>
                  <a:pt x="292" y="104"/>
                </a:lnTo>
                <a:lnTo>
                  <a:pt x="292" y="108"/>
                </a:lnTo>
                <a:lnTo>
                  <a:pt x="288" y="110"/>
                </a:lnTo>
                <a:lnTo>
                  <a:pt x="278" y="110"/>
                </a:lnTo>
                <a:lnTo>
                  <a:pt x="276" y="110"/>
                </a:lnTo>
                <a:lnTo>
                  <a:pt x="274" y="114"/>
                </a:lnTo>
                <a:lnTo>
                  <a:pt x="276" y="122"/>
                </a:lnTo>
                <a:lnTo>
                  <a:pt x="268" y="132"/>
                </a:lnTo>
                <a:lnTo>
                  <a:pt x="260" y="126"/>
                </a:lnTo>
                <a:lnTo>
                  <a:pt x="130" y="10"/>
                </a:lnTo>
                <a:lnTo>
                  <a:pt x="124" y="12"/>
                </a:lnTo>
                <a:lnTo>
                  <a:pt x="116" y="14"/>
                </a:lnTo>
                <a:lnTo>
                  <a:pt x="114" y="14"/>
                </a:lnTo>
                <a:lnTo>
                  <a:pt x="104" y="18"/>
                </a:lnTo>
                <a:lnTo>
                  <a:pt x="96" y="18"/>
                </a:lnTo>
                <a:lnTo>
                  <a:pt x="86" y="20"/>
                </a:lnTo>
                <a:lnTo>
                  <a:pt x="80" y="20"/>
                </a:lnTo>
                <a:lnTo>
                  <a:pt x="78" y="18"/>
                </a:lnTo>
                <a:lnTo>
                  <a:pt x="72" y="18"/>
                </a:lnTo>
                <a:lnTo>
                  <a:pt x="68" y="16"/>
                </a:lnTo>
                <a:lnTo>
                  <a:pt x="66" y="16"/>
                </a:lnTo>
                <a:lnTo>
                  <a:pt x="64" y="14"/>
                </a:lnTo>
                <a:lnTo>
                  <a:pt x="62" y="14"/>
                </a:lnTo>
                <a:lnTo>
                  <a:pt x="60" y="12"/>
                </a:lnTo>
                <a:lnTo>
                  <a:pt x="54" y="10"/>
                </a:lnTo>
                <a:lnTo>
                  <a:pt x="50" y="6"/>
                </a:lnTo>
                <a:lnTo>
                  <a:pt x="50" y="0"/>
                </a:lnTo>
                <a:lnTo>
                  <a:pt x="48" y="2"/>
                </a:lnTo>
                <a:lnTo>
                  <a:pt x="48" y="6"/>
                </a:lnTo>
                <a:lnTo>
                  <a:pt x="48" y="12"/>
                </a:lnTo>
                <a:lnTo>
                  <a:pt x="50" y="20"/>
                </a:lnTo>
                <a:lnTo>
                  <a:pt x="48" y="24"/>
                </a:lnTo>
                <a:lnTo>
                  <a:pt x="48" y="26"/>
                </a:lnTo>
                <a:lnTo>
                  <a:pt x="46" y="30"/>
                </a:lnTo>
                <a:lnTo>
                  <a:pt x="46" y="36"/>
                </a:lnTo>
                <a:lnTo>
                  <a:pt x="50" y="46"/>
                </a:lnTo>
                <a:lnTo>
                  <a:pt x="48" y="48"/>
                </a:lnTo>
                <a:lnTo>
                  <a:pt x="48" y="50"/>
                </a:lnTo>
                <a:lnTo>
                  <a:pt x="48" y="56"/>
                </a:lnTo>
                <a:lnTo>
                  <a:pt x="46" y="74"/>
                </a:lnTo>
                <a:lnTo>
                  <a:pt x="46" y="84"/>
                </a:lnTo>
                <a:lnTo>
                  <a:pt x="50" y="88"/>
                </a:lnTo>
                <a:lnTo>
                  <a:pt x="56" y="96"/>
                </a:lnTo>
                <a:lnTo>
                  <a:pt x="60" y="100"/>
                </a:lnTo>
                <a:lnTo>
                  <a:pt x="62" y="102"/>
                </a:lnTo>
                <a:lnTo>
                  <a:pt x="64" y="108"/>
                </a:lnTo>
                <a:lnTo>
                  <a:pt x="66" y="118"/>
                </a:lnTo>
                <a:lnTo>
                  <a:pt x="64" y="122"/>
                </a:lnTo>
                <a:lnTo>
                  <a:pt x="64" y="124"/>
                </a:lnTo>
                <a:lnTo>
                  <a:pt x="62" y="132"/>
                </a:lnTo>
                <a:lnTo>
                  <a:pt x="60" y="136"/>
                </a:lnTo>
                <a:lnTo>
                  <a:pt x="60" y="138"/>
                </a:lnTo>
                <a:lnTo>
                  <a:pt x="60" y="150"/>
                </a:lnTo>
                <a:lnTo>
                  <a:pt x="60" y="154"/>
                </a:lnTo>
                <a:lnTo>
                  <a:pt x="64" y="168"/>
                </a:lnTo>
                <a:lnTo>
                  <a:pt x="62" y="182"/>
                </a:lnTo>
                <a:lnTo>
                  <a:pt x="60" y="192"/>
                </a:lnTo>
                <a:lnTo>
                  <a:pt x="56" y="192"/>
                </a:lnTo>
                <a:lnTo>
                  <a:pt x="54" y="196"/>
                </a:lnTo>
                <a:lnTo>
                  <a:pt x="50" y="198"/>
                </a:lnTo>
                <a:lnTo>
                  <a:pt x="48" y="198"/>
                </a:lnTo>
                <a:lnTo>
                  <a:pt x="34" y="198"/>
                </a:lnTo>
                <a:lnTo>
                  <a:pt x="30" y="206"/>
                </a:lnTo>
                <a:lnTo>
                  <a:pt x="30" y="210"/>
                </a:lnTo>
                <a:lnTo>
                  <a:pt x="30" y="214"/>
                </a:lnTo>
                <a:lnTo>
                  <a:pt x="30" y="216"/>
                </a:lnTo>
                <a:lnTo>
                  <a:pt x="32" y="218"/>
                </a:lnTo>
                <a:lnTo>
                  <a:pt x="34" y="222"/>
                </a:lnTo>
                <a:lnTo>
                  <a:pt x="38" y="226"/>
                </a:lnTo>
                <a:lnTo>
                  <a:pt x="42" y="230"/>
                </a:lnTo>
                <a:lnTo>
                  <a:pt x="42" y="240"/>
                </a:lnTo>
                <a:lnTo>
                  <a:pt x="38" y="248"/>
                </a:lnTo>
                <a:lnTo>
                  <a:pt x="36" y="254"/>
                </a:lnTo>
                <a:lnTo>
                  <a:pt x="34" y="262"/>
                </a:lnTo>
                <a:lnTo>
                  <a:pt x="32" y="268"/>
                </a:lnTo>
                <a:lnTo>
                  <a:pt x="32" y="272"/>
                </a:lnTo>
                <a:lnTo>
                  <a:pt x="30" y="276"/>
                </a:lnTo>
                <a:lnTo>
                  <a:pt x="28" y="280"/>
                </a:lnTo>
                <a:lnTo>
                  <a:pt x="20" y="282"/>
                </a:lnTo>
                <a:lnTo>
                  <a:pt x="14" y="282"/>
                </a:lnTo>
                <a:lnTo>
                  <a:pt x="8" y="282"/>
                </a:lnTo>
                <a:lnTo>
                  <a:pt x="2" y="284"/>
                </a:lnTo>
                <a:lnTo>
                  <a:pt x="0" y="288"/>
                </a:lnTo>
                <a:lnTo>
                  <a:pt x="2" y="298"/>
                </a:lnTo>
                <a:lnTo>
                  <a:pt x="4" y="300"/>
                </a:lnTo>
                <a:lnTo>
                  <a:pt x="4" y="306"/>
                </a:lnTo>
                <a:lnTo>
                  <a:pt x="2" y="316"/>
                </a:lnTo>
                <a:lnTo>
                  <a:pt x="4" y="318"/>
                </a:lnTo>
                <a:lnTo>
                  <a:pt x="12" y="320"/>
                </a:lnTo>
                <a:lnTo>
                  <a:pt x="16" y="322"/>
                </a:lnTo>
                <a:lnTo>
                  <a:pt x="16" y="324"/>
                </a:lnTo>
                <a:lnTo>
                  <a:pt x="18" y="324"/>
                </a:lnTo>
                <a:lnTo>
                  <a:pt x="18" y="330"/>
                </a:lnTo>
                <a:lnTo>
                  <a:pt x="20" y="334"/>
                </a:lnTo>
                <a:lnTo>
                  <a:pt x="20" y="336"/>
                </a:lnTo>
                <a:lnTo>
                  <a:pt x="28" y="338"/>
                </a:lnTo>
                <a:lnTo>
                  <a:pt x="30" y="338"/>
                </a:lnTo>
                <a:lnTo>
                  <a:pt x="34" y="340"/>
                </a:lnTo>
                <a:lnTo>
                  <a:pt x="36" y="340"/>
                </a:lnTo>
                <a:lnTo>
                  <a:pt x="38" y="342"/>
                </a:lnTo>
                <a:lnTo>
                  <a:pt x="44" y="350"/>
                </a:lnTo>
                <a:lnTo>
                  <a:pt x="46" y="354"/>
                </a:lnTo>
                <a:lnTo>
                  <a:pt x="48" y="354"/>
                </a:lnTo>
                <a:lnTo>
                  <a:pt x="48" y="356"/>
                </a:lnTo>
                <a:lnTo>
                  <a:pt x="48" y="358"/>
                </a:lnTo>
                <a:lnTo>
                  <a:pt x="48" y="362"/>
                </a:lnTo>
                <a:lnTo>
                  <a:pt x="48" y="368"/>
                </a:lnTo>
                <a:lnTo>
                  <a:pt x="50" y="372"/>
                </a:lnTo>
                <a:lnTo>
                  <a:pt x="52" y="374"/>
                </a:lnTo>
                <a:lnTo>
                  <a:pt x="56" y="378"/>
                </a:lnTo>
                <a:lnTo>
                  <a:pt x="56" y="380"/>
                </a:lnTo>
                <a:lnTo>
                  <a:pt x="66" y="384"/>
                </a:lnTo>
                <a:lnTo>
                  <a:pt x="70" y="392"/>
                </a:lnTo>
                <a:lnTo>
                  <a:pt x="72" y="392"/>
                </a:lnTo>
                <a:lnTo>
                  <a:pt x="78" y="394"/>
                </a:lnTo>
                <a:lnTo>
                  <a:pt x="80" y="394"/>
                </a:lnTo>
                <a:lnTo>
                  <a:pt x="80" y="398"/>
                </a:lnTo>
                <a:lnTo>
                  <a:pt x="80" y="402"/>
                </a:lnTo>
                <a:lnTo>
                  <a:pt x="80" y="404"/>
                </a:lnTo>
                <a:lnTo>
                  <a:pt x="84" y="410"/>
                </a:lnTo>
                <a:lnTo>
                  <a:pt x="84" y="414"/>
                </a:lnTo>
                <a:lnTo>
                  <a:pt x="84" y="416"/>
                </a:lnTo>
                <a:lnTo>
                  <a:pt x="88" y="424"/>
                </a:lnTo>
                <a:lnTo>
                  <a:pt x="90" y="428"/>
                </a:lnTo>
                <a:lnTo>
                  <a:pt x="90" y="438"/>
                </a:lnTo>
                <a:lnTo>
                  <a:pt x="96" y="442"/>
                </a:lnTo>
                <a:lnTo>
                  <a:pt x="98" y="444"/>
                </a:lnTo>
                <a:lnTo>
                  <a:pt x="100" y="448"/>
                </a:lnTo>
                <a:lnTo>
                  <a:pt x="100" y="452"/>
                </a:lnTo>
                <a:lnTo>
                  <a:pt x="100" y="458"/>
                </a:lnTo>
                <a:lnTo>
                  <a:pt x="104" y="466"/>
                </a:lnTo>
                <a:lnTo>
                  <a:pt x="106" y="466"/>
                </a:lnTo>
                <a:lnTo>
                  <a:pt x="106" y="468"/>
                </a:lnTo>
                <a:lnTo>
                  <a:pt x="106" y="470"/>
                </a:lnTo>
                <a:lnTo>
                  <a:pt x="104" y="474"/>
                </a:lnTo>
                <a:lnTo>
                  <a:pt x="104" y="476"/>
                </a:lnTo>
                <a:lnTo>
                  <a:pt x="114" y="476"/>
                </a:lnTo>
                <a:lnTo>
                  <a:pt x="120" y="478"/>
                </a:lnTo>
                <a:lnTo>
                  <a:pt x="122" y="480"/>
                </a:lnTo>
                <a:lnTo>
                  <a:pt x="130" y="480"/>
                </a:lnTo>
                <a:lnTo>
                  <a:pt x="134" y="484"/>
                </a:lnTo>
                <a:lnTo>
                  <a:pt x="134" y="486"/>
                </a:lnTo>
                <a:lnTo>
                  <a:pt x="134" y="488"/>
                </a:lnTo>
                <a:lnTo>
                  <a:pt x="136" y="494"/>
                </a:lnTo>
                <a:lnTo>
                  <a:pt x="142" y="494"/>
                </a:lnTo>
                <a:lnTo>
                  <a:pt x="146" y="494"/>
                </a:lnTo>
                <a:lnTo>
                  <a:pt x="148" y="494"/>
                </a:lnTo>
                <a:lnTo>
                  <a:pt x="152" y="498"/>
                </a:lnTo>
                <a:lnTo>
                  <a:pt x="152" y="500"/>
                </a:lnTo>
                <a:lnTo>
                  <a:pt x="152" y="502"/>
                </a:lnTo>
                <a:lnTo>
                  <a:pt x="152" y="504"/>
                </a:lnTo>
                <a:lnTo>
                  <a:pt x="150" y="504"/>
                </a:lnTo>
                <a:lnTo>
                  <a:pt x="140" y="506"/>
                </a:lnTo>
                <a:lnTo>
                  <a:pt x="138" y="506"/>
                </a:lnTo>
                <a:lnTo>
                  <a:pt x="136" y="512"/>
                </a:lnTo>
                <a:lnTo>
                  <a:pt x="136" y="518"/>
                </a:lnTo>
                <a:lnTo>
                  <a:pt x="142" y="522"/>
                </a:lnTo>
                <a:lnTo>
                  <a:pt x="146" y="524"/>
                </a:lnTo>
                <a:lnTo>
                  <a:pt x="146" y="528"/>
                </a:lnTo>
                <a:lnTo>
                  <a:pt x="138" y="534"/>
                </a:lnTo>
                <a:lnTo>
                  <a:pt x="134" y="536"/>
                </a:lnTo>
                <a:lnTo>
                  <a:pt x="130" y="538"/>
                </a:lnTo>
                <a:lnTo>
                  <a:pt x="124" y="540"/>
                </a:lnTo>
                <a:lnTo>
                  <a:pt x="124" y="542"/>
                </a:lnTo>
                <a:lnTo>
                  <a:pt x="126" y="546"/>
                </a:lnTo>
                <a:lnTo>
                  <a:pt x="130" y="548"/>
                </a:lnTo>
                <a:lnTo>
                  <a:pt x="126" y="550"/>
                </a:lnTo>
                <a:lnTo>
                  <a:pt x="124" y="550"/>
                </a:lnTo>
                <a:lnTo>
                  <a:pt x="120" y="550"/>
                </a:lnTo>
                <a:lnTo>
                  <a:pt x="118" y="550"/>
                </a:lnTo>
                <a:lnTo>
                  <a:pt x="118" y="554"/>
                </a:lnTo>
                <a:lnTo>
                  <a:pt x="122" y="556"/>
                </a:lnTo>
                <a:lnTo>
                  <a:pt x="124" y="558"/>
                </a:lnTo>
                <a:lnTo>
                  <a:pt x="134" y="558"/>
                </a:lnTo>
                <a:lnTo>
                  <a:pt x="136" y="560"/>
                </a:lnTo>
                <a:lnTo>
                  <a:pt x="136" y="564"/>
                </a:lnTo>
                <a:lnTo>
                  <a:pt x="136" y="566"/>
                </a:lnTo>
                <a:lnTo>
                  <a:pt x="130" y="570"/>
                </a:lnTo>
                <a:lnTo>
                  <a:pt x="132" y="572"/>
                </a:lnTo>
                <a:lnTo>
                  <a:pt x="134" y="572"/>
                </a:lnTo>
                <a:lnTo>
                  <a:pt x="136" y="572"/>
                </a:lnTo>
                <a:lnTo>
                  <a:pt x="138" y="572"/>
                </a:lnTo>
                <a:lnTo>
                  <a:pt x="140" y="576"/>
                </a:lnTo>
                <a:lnTo>
                  <a:pt x="140" y="582"/>
                </a:lnTo>
                <a:lnTo>
                  <a:pt x="142" y="584"/>
                </a:lnTo>
                <a:lnTo>
                  <a:pt x="142" y="586"/>
                </a:lnTo>
                <a:lnTo>
                  <a:pt x="146" y="588"/>
                </a:lnTo>
                <a:lnTo>
                  <a:pt x="146" y="586"/>
                </a:lnTo>
                <a:lnTo>
                  <a:pt x="146" y="584"/>
                </a:lnTo>
                <a:lnTo>
                  <a:pt x="148" y="582"/>
                </a:lnTo>
                <a:lnTo>
                  <a:pt x="148" y="578"/>
                </a:lnTo>
                <a:lnTo>
                  <a:pt x="148" y="576"/>
                </a:lnTo>
                <a:lnTo>
                  <a:pt x="152" y="574"/>
                </a:lnTo>
                <a:lnTo>
                  <a:pt x="152" y="576"/>
                </a:lnTo>
                <a:lnTo>
                  <a:pt x="154" y="578"/>
                </a:lnTo>
                <a:lnTo>
                  <a:pt x="156" y="578"/>
                </a:lnTo>
                <a:lnTo>
                  <a:pt x="158" y="582"/>
                </a:lnTo>
                <a:lnTo>
                  <a:pt x="160" y="582"/>
                </a:lnTo>
                <a:lnTo>
                  <a:pt x="164" y="582"/>
                </a:lnTo>
                <a:lnTo>
                  <a:pt x="168" y="586"/>
                </a:lnTo>
                <a:lnTo>
                  <a:pt x="170" y="588"/>
                </a:lnTo>
                <a:lnTo>
                  <a:pt x="174" y="590"/>
                </a:lnTo>
                <a:lnTo>
                  <a:pt x="174" y="592"/>
                </a:lnTo>
                <a:lnTo>
                  <a:pt x="176" y="592"/>
                </a:lnTo>
                <a:lnTo>
                  <a:pt x="176" y="594"/>
                </a:lnTo>
                <a:lnTo>
                  <a:pt x="178" y="600"/>
                </a:lnTo>
                <a:lnTo>
                  <a:pt x="182" y="602"/>
                </a:lnTo>
                <a:lnTo>
                  <a:pt x="188" y="606"/>
                </a:lnTo>
                <a:lnTo>
                  <a:pt x="190" y="608"/>
                </a:lnTo>
                <a:lnTo>
                  <a:pt x="190" y="610"/>
                </a:lnTo>
                <a:lnTo>
                  <a:pt x="190" y="612"/>
                </a:lnTo>
                <a:lnTo>
                  <a:pt x="190" y="614"/>
                </a:lnTo>
                <a:lnTo>
                  <a:pt x="190" y="620"/>
                </a:lnTo>
                <a:lnTo>
                  <a:pt x="190" y="622"/>
                </a:lnTo>
                <a:lnTo>
                  <a:pt x="192" y="624"/>
                </a:lnTo>
                <a:lnTo>
                  <a:pt x="198" y="626"/>
                </a:lnTo>
                <a:lnTo>
                  <a:pt x="200" y="628"/>
                </a:lnTo>
                <a:lnTo>
                  <a:pt x="198" y="628"/>
                </a:lnTo>
                <a:lnTo>
                  <a:pt x="194" y="630"/>
                </a:lnTo>
                <a:lnTo>
                  <a:pt x="192" y="630"/>
                </a:lnTo>
                <a:lnTo>
                  <a:pt x="186" y="636"/>
                </a:lnTo>
                <a:lnTo>
                  <a:pt x="190" y="640"/>
                </a:lnTo>
                <a:lnTo>
                  <a:pt x="192" y="642"/>
                </a:lnTo>
                <a:lnTo>
                  <a:pt x="190" y="646"/>
                </a:lnTo>
                <a:lnTo>
                  <a:pt x="190" y="648"/>
                </a:lnTo>
                <a:lnTo>
                  <a:pt x="202" y="650"/>
                </a:lnTo>
                <a:lnTo>
                  <a:pt x="206" y="656"/>
                </a:lnTo>
                <a:close/>
              </a:path>
            </a:pathLst>
          </a:custGeom>
          <a:solidFill>
            <a:srgbClr val="F1B728"/>
          </a:solidFill>
          <a:ln w="6350">
            <a:solidFill>
              <a:schemeClr val="tx1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457200">
              <a:defRPr/>
            </a:pPr>
            <a:endParaRPr lang="en-US" kern="0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72" name="Freeform 50">
            <a:extLst>
              <a:ext uri="{FF2B5EF4-FFF2-40B4-BE49-F238E27FC236}">
                <a16:creationId xmlns:a16="http://schemas.microsoft.com/office/drawing/2014/main" id="{DBD084C4-F747-4700-8273-047522278E96}"/>
              </a:ext>
            </a:extLst>
          </p:cNvPr>
          <p:cNvSpPr>
            <a:spLocks/>
          </p:cNvSpPr>
          <p:nvPr/>
        </p:nvSpPr>
        <p:spPr bwMode="auto">
          <a:xfrm>
            <a:off x="5971540" y="2547620"/>
            <a:ext cx="708660" cy="645160"/>
          </a:xfrm>
          <a:custGeom>
            <a:avLst/>
            <a:gdLst>
              <a:gd name="T0" fmla="*/ 2147483646 w 558"/>
              <a:gd name="T1" fmla="*/ 2147483646 h 508"/>
              <a:gd name="T2" fmla="*/ 2147483646 w 558"/>
              <a:gd name="T3" fmla="*/ 2147483646 h 508"/>
              <a:gd name="T4" fmla="*/ 2147483646 w 558"/>
              <a:gd name="T5" fmla="*/ 2147483646 h 508"/>
              <a:gd name="T6" fmla="*/ 2147483646 w 558"/>
              <a:gd name="T7" fmla="*/ 2147483646 h 508"/>
              <a:gd name="T8" fmla="*/ 2147483646 w 558"/>
              <a:gd name="T9" fmla="*/ 2147483646 h 508"/>
              <a:gd name="T10" fmla="*/ 2147483646 w 558"/>
              <a:gd name="T11" fmla="*/ 2147483646 h 508"/>
              <a:gd name="T12" fmla="*/ 2147483646 w 558"/>
              <a:gd name="T13" fmla="*/ 2147483646 h 508"/>
              <a:gd name="T14" fmla="*/ 2147483646 w 558"/>
              <a:gd name="T15" fmla="*/ 2147483646 h 508"/>
              <a:gd name="T16" fmla="*/ 2147483646 w 558"/>
              <a:gd name="T17" fmla="*/ 0 h 508"/>
              <a:gd name="T18" fmla="*/ 2147483646 w 558"/>
              <a:gd name="T19" fmla="*/ 2147483646 h 508"/>
              <a:gd name="T20" fmla="*/ 2147483646 w 558"/>
              <a:gd name="T21" fmla="*/ 2147483646 h 508"/>
              <a:gd name="T22" fmla="*/ 2147483646 w 558"/>
              <a:gd name="T23" fmla="*/ 2147483646 h 508"/>
              <a:gd name="T24" fmla="*/ 2147483646 w 558"/>
              <a:gd name="T25" fmla="*/ 2147483646 h 508"/>
              <a:gd name="T26" fmla="*/ 2147483646 w 558"/>
              <a:gd name="T27" fmla="*/ 2147483646 h 508"/>
              <a:gd name="T28" fmla="*/ 2147483646 w 558"/>
              <a:gd name="T29" fmla="*/ 2147483646 h 508"/>
              <a:gd name="T30" fmla="*/ 2147483646 w 558"/>
              <a:gd name="T31" fmla="*/ 2147483646 h 508"/>
              <a:gd name="T32" fmla="*/ 2147483646 w 558"/>
              <a:gd name="T33" fmla="*/ 2147483646 h 508"/>
              <a:gd name="T34" fmla="*/ 2147483646 w 558"/>
              <a:gd name="T35" fmla="*/ 2147483646 h 508"/>
              <a:gd name="T36" fmla="*/ 2147483646 w 558"/>
              <a:gd name="T37" fmla="*/ 2147483646 h 508"/>
              <a:gd name="T38" fmla="*/ 2147483646 w 558"/>
              <a:gd name="T39" fmla="*/ 2147483646 h 508"/>
              <a:gd name="T40" fmla="*/ 2147483646 w 558"/>
              <a:gd name="T41" fmla="*/ 2147483646 h 508"/>
              <a:gd name="T42" fmla="*/ 2147483646 w 558"/>
              <a:gd name="T43" fmla="*/ 2147483646 h 508"/>
              <a:gd name="T44" fmla="*/ 2147483646 w 558"/>
              <a:gd name="T45" fmla="*/ 2147483646 h 508"/>
              <a:gd name="T46" fmla="*/ 2147483646 w 558"/>
              <a:gd name="T47" fmla="*/ 2147483646 h 508"/>
              <a:gd name="T48" fmla="*/ 2147483646 w 558"/>
              <a:gd name="T49" fmla="*/ 2147483646 h 508"/>
              <a:gd name="T50" fmla="*/ 2147483646 w 558"/>
              <a:gd name="T51" fmla="*/ 2147483646 h 508"/>
              <a:gd name="T52" fmla="*/ 2147483646 w 558"/>
              <a:gd name="T53" fmla="*/ 2147483646 h 508"/>
              <a:gd name="T54" fmla="*/ 2147483646 w 558"/>
              <a:gd name="T55" fmla="*/ 2147483646 h 508"/>
              <a:gd name="T56" fmla="*/ 2147483646 w 558"/>
              <a:gd name="T57" fmla="*/ 2147483646 h 508"/>
              <a:gd name="T58" fmla="*/ 2147483646 w 558"/>
              <a:gd name="T59" fmla="*/ 2147483646 h 508"/>
              <a:gd name="T60" fmla="*/ 2147483646 w 558"/>
              <a:gd name="T61" fmla="*/ 2147483646 h 508"/>
              <a:gd name="T62" fmla="*/ 2147483646 w 558"/>
              <a:gd name="T63" fmla="*/ 2147483646 h 508"/>
              <a:gd name="T64" fmla="*/ 2147483646 w 558"/>
              <a:gd name="T65" fmla="*/ 2147483646 h 508"/>
              <a:gd name="T66" fmla="*/ 2147483646 w 558"/>
              <a:gd name="T67" fmla="*/ 2147483646 h 508"/>
              <a:gd name="T68" fmla="*/ 2147483646 w 558"/>
              <a:gd name="T69" fmla="*/ 2147483646 h 508"/>
              <a:gd name="T70" fmla="*/ 2147483646 w 558"/>
              <a:gd name="T71" fmla="*/ 2147483646 h 508"/>
              <a:gd name="T72" fmla="*/ 2147483646 w 558"/>
              <a:gd name="T73" fmla="*/ 2147483646 h 508"/>
              <a:gd name="T74" fmla="*/ 2147483646 w 558"/>
              <a:gd name="T75" fmla="*/ 2147483646 h 508"/>
              <a:gd name="T76" fmla="*/ 2147483646 w 558"/>
              <a:gd name="T77" fmla="*/ 2147483646 h 508"/>
              <a:gd name="T78" fmla="*/ 2147483646 w 558"/>
              <a:gd name="T79" fmla="*/ 2147483646 h 508"/>
              <a:gd name="T80" fmla="*/ 2147483646 w 558"/>
              <a:gd name="T81" fmla="*/ 2147483646 h 508"/>
              <a:gd name="T82" fmla="*/ 2147483646 w 558"/>
              <a:gd name="T83" fmla="*/ 2147483646 h 508"/>
              <a:gd name="T84" fmla="*/ 2147483646 w 558"/>
              <a:gd name="T85" fmla="*/ 2147483646 h 508"/>
              <a:gd name="T86" fmla="*/ 2147483646 w 558"/>
              <a:gd name="T87" fmla="*/ 2147483646 h 508"/>
              <a:gd name="T88" fmla="*/ 2147483646 w 558"/>
              <a:gd name="T89" fmla="*/ 2147483646 h 508"/>
              <a:gd name="T90" fmla="*/ 2147483646 w 558"/>
              <a:gd name="T91" fmla="*/ 2147483646 h 508"/>
              <a:gd name="T92" fmla="*/ 2147483646 w 558"/>
              <a:gd name="T93" fmla="*/ 2147483646 h 508"/>
              <a:gd name="T94" fmla="*/ 2147483646 w 558"/>
              <a:gd name="T95" fmla="*/ 2147483646 h 508"/>
              <a:gd name="T96" fmla="*/ 2147483646 w 558"/>
              <a:gd name="T97" fmla="*/ 2147483646 h 508"/>
              <a:gd name="T98" fmla="*/ 2147483646 w 558"/>
              <a:gd name="T99" fmla="*/ 2147483646 h 508"/>
              <a:gd name="T100" fmla="*/ 2147483646 w 558"/>
              <a:gd name="T101" fmla="*/ 2147483646 h 508"/>
              <a:gd name="T102" fmla="*/ 2147483646 w 558"/>
              <a:gd name="T103" fmla="*/ 2147483646 h 508"/>
              <a:gd name="T104" fmla="*/ 2147483646 w 558"/>
              <a:gd name="T105" fmla="*/ 2147483646 h 508"/>
              <a:gd name="T106" fmla="*/ 2147483646 w 558"/>
              <a:gd name="T107" fmla="*/ 2147483646 h 508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w 558"/>
              <a:gd name="T163" fmla="*/ 0 h 508"/>
              <a:gd name="T164" fmla="*/ 558 w 558"/>
              <a:gd name="T165" fmla="*/ 508 h 508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T162" t="T163" r="T164" b="T165"/>
            <a:pathLst>
              <a:path w="558" h="508">
                <a:moveTo>
                  <a:pt x="510" y="62"/>
                </a:moveTo>
                <a:lnTo>
                  <a:pt x="476" y="44"/>
                </a:lnTo>
                <a:lnTo>
                  <a:pt x="440" y="20"/>
                </a:lnTo>
                <a:lnTo>
                  <a:pt x="438" y="20"/>
                </a:lnTo>
                <a:lnTo>
                  <a:pt x="436" y="20"/>
                </a:lnTo>
                <a:lnTo>
                  <a:pt x="434" y="20"/>
                </a:lnTo>
                <a:lnTo>
                  <a:pt x="430" y="18"/>
                </a:lnTo>
                <a:lnTo>
                  <a:pt x="428" y="18"/>
                </a:lnTo>
                <a:lnTo>
                  <a:pt x="426" y="18"/>
                </a:lnTo>
                <a:lnTo>
                  <a:pt x="424" y="18"/>
                </a:lnTo>
                <a:lnTo>
                  <a:pt x="422" y="18"/>
                </a:lnTo>
                <a:lnTo>
                  <a:pt x="420" y="20"/>
                </a:lnTo>
                <a:lnTo>
                  <a:pt x="418" y="20"/>
                </a:lnTo>
                <a:lnTo>
                  <a:pt x="416" y="20"/>
                </a:lnTo>
                <a:lnTo>
                  <a:pt x="412" y="20"/>
                </a:lnTo>
                <a:lnTo>
                  <a:pt x="410" y="20"/>
                </a:lnTo>
                <a:lnTo>
                  <a:pt x="406" y="18"/>
                </a:lnTo>
                <a:lnTo>
                  <a:pt x="404" y="16"/>
                </a:lnTo>
                <a:lnTo>
                  <a:pt x="402" y="14"/>
                </a:lnTo>
                <a:lnTo>
                  <a:pt x="400" y="14"/>
                </a:lnTo>
                <a:lnTo>
                  <a:pt x="396" y="14"/>
                </a:lnTo>
                <a:lnTo>
                  <a:pt x="394" y="14"/>
                </a:lnTo>
                <a:lnTo>
                  <a:pt x="392" y="14"/>
                </a:lnTo>
                <a:lnTo>
                  <a:pt x="388" y="14"/>
                </a:lnTo>
                <a:lnTo>
                  <a:pt x="382" y="16"/>
                </a:lnTo>
                <a:lnTo>
                  <a:pt x="378" y="16"/>
                </a:lnTo>
                <a:lnTo>
                  <a:pt x="374" y="18"/>
                </a:lnTo>
                <a:lnTo>
                  <a:pt x="370" y="20"/>
                </a:lnTo>
                <a:lnTo>
                  <a:pt x="366" y="20"/>
                </a:lnTo>
                <a:lnTo>
                  <a:pt x="364" y="20"/>
                </a:lnTo>
                <a:lnTo>
                  <a:pt x="358" y="20"/>
                </a:lnTo>
                <a:lnTo>
                  <a:pt x="356" y="20"/>
                </a:lnTo>
                <a:lnTo>
                  <a:pt x="354" y="18"/>
                </a:lnTo>
                <a:lnTo>
                  <a:pt x="352" y="18"/>
                </a:lnTo>
                <a:lnTo>
                  <a:pt x="350" y="16"/>
                </a:lnTo>
                <a:lnTo>
                  <a:pt x="350" y="14"/>
                </a:lnTo>
                <a:lnTo>
                  <a:pt x="348" y="12"/>
                </a:lnTo>
                <a:lnTo>
                  <a:pt x="342" y="12"/>
                </a:lnTo>
                <a:lnTo>
                  <a:pt x="340" y="12"/>
                </a:lnTo>
                <a:lnTo>
                  <a:pt x="338" y="12"/>
                </a:lnTo>
                <a:lnTo>
                  <a:pt x="336" y="8"/>
                </a:lnTo>
                <a:lnTo>
                  <a:pt x="336" y="6"/>
                </a:lnTo>
                <a:lnTo>
                  <a:pt x="336" y="4"/>
                </a:lnTo>
                <a:lnTo>
                  <a:pt x="336" y="2"/>
                </a:lnTo>
                <a:lnTo>
                  <a:pt x="334" y="0"/>
                </a:lnTo>
                <a:lnTo>
                  <a:pt x="332" y="2"/>
                </a:lnTo>
                <a:lnTo>
                  <a:pt x="330" y="2"/>
                </a:lnTo>
                <a:lnTo>
                  <a:pt x="326" y="4"/>
                </a:lnTo>
                <a:lnTo>
                  <a:pt x="324" y="4"/>
                </a:lnTo>
                <a:lnTo>
                  <a:pt x="322" y="4"/>
                </a:lnTo>
                <a:lnTo>
                  <a:pt x="318" y="2"/>
                </a:lnTo>
                <a:lnTo>
                  <a:pt x="316" y="2"/>
                </a:lnTo>
                <a:lnTo>
                  <a:pt x="316" y="0"/>
                </a:lnTo>
                <a:lnTo>
                  <a:pt x="312" y="0"/>
                </a:lnTo>
                <a:lnTo>
                  <a:pt x="306" y="0"/>
                </a:lnTo>
                <a:lnTo>
                  <a:pt x="302" y="0"/>
                </a:lnTo>
                <a:lnTo>
                  <a:pt x="298" y="2"/>
                </a:lnTo>
                <a:lnTo>
                  <a:pt x="296" y="2"/>
                </a:lnTo>
                <a:lnTo>
                  <a:pt x="294" y="2"/>
                </a:lnTo>
                <a:lnTo>
                  <a:pt x="290" y="2"/>
                </a:lnTo>
                <a:lnTo>
                  <a:pt x="286" y="4"/>
                </a:lnTo>
                <a:lnTo>
                  <a:pt x="284" y="4"/>
                </a:lnTo>
                <a:lnTo>
                  <a:pt x="280" y="2"/>
                </a:lnTo>
                <a:lnTo>
                  <a:pt x="278" y="2"/>
                </a:lnTo>
                <a:lnTo>
                  <a:pt x="274" y="2"/>
                </a:lnTo>
                <a:lnTo>
                  <a:pt x="252" y="40"/>
                </a:lnTo>
                <a:lnTo>
                  <a:pt x="248" y="42"/>
                </a:lnTo>
                <a:lnTo>
                  <a:pt x="244" y="48"/>
                </a:lnTo>
                <a:lnTo>
                  <a:pt x="236" y="52"/>
                </a:lnTo>
                <a:lnTo>
                  <a:pt x="232" y="60"/>
                </a:lnTo>
                <a:lnTo>
                  <a:pt x="222" y="78"/>
                </a:lnTo>
                <a:lnTo>
                  <a:pt x="218" y="86"/>
                </a:lnTo>
                <a:lnTo>
                  <a:pt x="216" y="88"/>
                </a:lnTo>
                <a:lnTo>
                  <a:pt x="214" y="86"/>
                </a:lnTo>
                <a:lnTo>
                  <a:pt x="210" y="88"/>
                </a:lnTo>
                <a:lnTo>
                  <a:pt x="210" y="92"/>
                </a:lnTo>
                <a:lnTo>
                  <a:pt x="210" y="94"/>
                </a:lnTo>
                <a:lnTo>
                  <a:pt x="208" y="96"/>
                </a:lnTo>
                <a:lnTo>
                  <a:pt x="202" y="96"/>
                </a:lnTo>
                <a:lnTo>
                  <a:pt x="202" y="98"/>
                </a:lnTo>
                <a:lnTo>
                  <a:pt x="198" y="104"/>
                </a:lnTo>
                <a:lnTo>
                  <a:pt x="194" y="108"/>
                </a:lnTo>
                <a:lnTo>
                  <a:pt x="192" y="110"/>
                </a:lnTo>
                <a:lnTo>
                  <a:pt x="186" y="106"/>
                </a:lnTo>
                <a:lnTo>
                  <a:pt x="182" y="106"/>
                </a:lnTo>
                <a:lnTo>
                  <a:pt x="180" y="108"/>
                </a:lnTo>
                <a:lnTo>
                  <a:pt x="176" y="116"/>
                </a:lnTo>
                <a:lnTo>
                  <a:pt x="170" y="126"/>
                </a:lnTo>
                <a:lnTo>
                  <a:pt x="166" y="134"/>
                </a:lnTo>
                <a:lnTo>
                  <a:pt x="166" y="142"/>
                </a:lnTo>
                <a:lnTo>
                  <a:pt x="164" y="144"/>
                </a:lnTo>
                <a:lnTo>
                  <a:pt x="158" y="166"/>
                </a:lnTo>
                <a:lnTo>
                  <a:pt x="146" y="186"/>
                </a:lnTo>
                <a:lnTo>
                  <a:pt x="142" y="196"/>
                </a:lnTo>
                <a:lnTo>
                  <a:pt x="134" y="202"/>
                </a:lnTo>
                <a:lnTo>
                  <a:pt x="134" y="206"/>
                </a:lnTo>
                <a:lnTo>
                  <a:pt x="128" y="214"/>
                </a:lnTo>
                <a:lnTo>
                  <a:pt x="124" y="214"/>
                </a:lnTo>
                <a:lnTo>
                  <a:pt x="122" y="218"/>
                </a:lnTo>
                <a:lnTo>
                  <a:pt x="122" y="222"/>
                </a:lnTo>
                <a:lnTo>
                  <a:pt x="116" y="232"/>
                </a:lnTo>
                <a:lnTo>
                  <a:pt x="110" y="238"/>
                </a:lnTo>
                <a:lnTo>
                  <a:pt x="106" y="240"/>
                </a:lnTo>
                <a:lnTo>
                  <a:pt x="96" y="240"/>
                </a:lnTo>
                <a:lnTo>
                  <a:pt x="90" y="240"/>
                </a:lnTo>
                <a:lnTo>
                  <a:pt x="86" y="246"/>
                </a:lnTo>
                <a:lnTo>
                  <a:pt x="76" y="258"/>
                </a:lnTo>
                <a:lnTo>
                  <a:pt x="64" y="270"/>
                </a:lnTo>
                <a:lnTo>
                  <a:pt x="56" y="282"/>
                </a:lnTo>
                <a:lnTo>
                  <a:pt x="54" y="286"/>
                </a:lnTo>
                <a:lnTo>
                  <a:pt x="52" y="296"/>
                </a:lnTo>
                <a:lnTo>
                  <a:pt x="44" y="306"/>
                </a:lnTo>
                <a:lnTo>
                  <a:pt x="30" y="314"/>
                </a:lnTo>
                <a:lnTo>
                  <a:pt x="24" y="320"/>
                </a:lnTo>
                <a:lnTo>
                  <a:pt x="18" y="326"/>
                </a:lnTo>
                <a:lnTo>
                  <a:pt x="8" y="338"/>
                </a:lnTo>
                <a:lnTo>
                  <a:pt x="2" y="340"/>
                </a:lnTo>
                <a:lnTo>
                  <a:pt x="0" y="344"/>
                </a:lnTo>
                <a:lnTo>
                  <a:pt x="18" y="354"/>
                </a:lnTo>
                <a:lnTo>
                  <a:pt x="54" y="378"/>
                </a:lnTo>
                <a:lnTo>
                  <a:pt x="74" y="390"/>
                </a:lnTo>
                <a:lnTo>
                  <a:pt x="78" y="390"/>
                </a:lnTo>
                <a:lnTo>
                  <a:pt x="104" y="398"/>
                </a:lnTo>
                <a:lnTo>
                  <a:pt x="142" y="412"/>
                </a:lnTo>
                <a:lnTo>
                  <a:pt x="182" y="428"/>
                </a:lnTo>
                <a:lnTo>
                  <a:pt x="200" y="434"/>
                </a:lnTo>
                <a:lnTo>
                  <a:pt x="212" y="438"/>
                </a:lnTo>
                <a:lnTo>
                  <a:pt x="220" y="444"/>
                </a:lnTo>
                <a:lnTo>
                  <a:pt x="242" y="444"/>
                </a:lnTo>
                <a:lnTo>
                  <a:pt x="254" y="444"/>
                </a:lnTo>
                <a:lnTo>
                  <a:pt x="264" y="448"/>
                </a:lnTo>
                <a:lnTo>
                  <a:pt x="270" y="452"/>
                </a:lnTo>
                <a:lnTo>
                  <a:pt x="272" y="452"/>
                </a:lnTo>
                <a:lnTo>
                  <a:pt x="280" y="458"/>
                </a:lnTo>
                <a:lnTo>
                  <a:pt x="280" y="464"/>
                </a:lnTo>
                <a:lnTo>
                  <a:pt x="286" y="468"/>
                </a:lnTo>
                <a:lnTo>
                  <a:pt x="298" y="466"/>
                </a:lnTo>
                <a:lnTo>
                  <a:pt x="304" y="466"/>
                </a:lnTo>
                <a:lnTo>
                  <a:pt x="318" y="474"/>
                </a:lnTo>
                <a:lnTo>
                  <a:pt x="334" y="450"/>
                </a:lnTo>
                <a:lnTo>
                  <a:pt x="346" y="452"/>
                </a:lnTo>
                <a:lnTo>
                  <a:pt x="356" y="456"/>
                </a:lnTo>
                <a:lnTo>
                  <a:pt x="368" y="458"/>
                </a:lnTo>
                <a:lnTo>
                  <a:pt x="372" y="462"/>
                </a:lnTo>
                <a:lnTo>
                  <a:pt x="376" y="468"/>
                </a:lnTo>
                <a:lnTo>
                  <a:pt x="382" y="472"/>
                </a:lnTo>
                <a:lnTo>
                  <a:pt x="386" y="476"/>
                </a:lnTo>
                <a:lnTo>
                  <a:pt x="388" y="480"/>
                </a:lnTo>
                <a:lnTo>
                  <a:pt x="392" y="484"/>
                </a:lnTo>
                <a:lnTo>
                  <a:pt x="400" y="488"/>
                </a:lnTo>
                <a:lnTo>
                  <a:pt x="406" y="494"/>
                </a:lnTo>
                <a:lnTo>
                  <a:pt x="416" y="502"/>
                </a:lnTo>
                <a:lnTo>
                  <a:pt x="418" y="508"/>
                </a:lnTo>
                <a:lnTo>
                  <a:pt x="422" y="502"/>
                </a:lnTo>
                <a:lnTo>
                  <a:pt x="426" y="494"/>
                </a:lnTo>
                <a:lnTo>
                  <a:pt x="428" y="494"/>
                </a:lnTo>
                <a:lnTo>
                  <a:pt x="430" y="492"/>
                </a:lnTo>
                <a:lnTo>
                  <a:pt x="434" y="490"/>
                </a:lnTo>
                <a:lnTo>
                  <a:pt x="438" y="488"/>
                </a:lnTo>
                <a:lnTo>
                  <a:pt x="438" y="486"/>
                </a:lnTo>
                <a:lnTo>
                  <a:pt x="440" y="486"/>
                </a:lnTo>
                <a:lnTo>
                  <a:pt x="442" y="486"/>
                </a:lnTo>
                <a:lnTo>
                  <a:pt x="444" y="486"/>
                </a:lnTo>
                <a:lnTo>
                  <a:pt x="446" y="486"/>
                </a:lnTo>
                <a:lnTo>
                  <a:pt x="446" y="484"/>
                </a:lnTo>
                <a:lnTo>
                  <a:pt x="452" y="484"/>
                </a:lnTo>
                <a:lnTo>
                  <a:pt x="454" y="482"/>
                </a:lnTo>
                <a:lnTo>
                  <a:pt x="456" y="480"/>
                </a:lnTo>
                <a:lnTo>
                  <a:pt x="460" y="480"/>
                </a:lnTo>
                <a:lnTo>
                  <a:pt x="462" y="474"/>
                </a:lnTo>
                <a:lnTo>
                  <a:pt x="464" y="472"/>
                </a:lnTo>
                <a:lnTo>
                  <a:pt x="470" y="468"/>
                </a:lnTo>
                <a:lnTo>
                  <a:pt x="472" y="466"/>
                </a:lnTo>
                <a:lnTo>
                  <a:pt x="474" y="462"/>
                </a:lnTo>
                <a:lnTo>
                  <a:pt x="476" y="456"/>
                </a:lnTo>
                <a:lnTo>
                  <a:pt x="478" y="452"/>
                </a:lnTo>
                <a:lnTo>
                  <a:pt x="478" y="450"/>
                </a:lnTo>
                <a:lnTo>
                  <a:pt x="478" y="448"/>
                </a:lnTo>
                <a:lnTo>
                  <a:pt x="480" y="444"/>
                </a:lnTo>
                <a:lnTo>
                  <a:pt x="482" y="438"/>
                </a:lnTo>
                <a:lnTo>
                  <a:pt x="488" y="436"/>
                </a:lnTo>
                <a:lnTo>
                  <a:pt x="494" y="430"/>
                </a:lnTo>
                <a:lnTo>
                  <a:pt x="496" y="430"/>
                </a:lnTo>
                <a:lnTo>
                  <a:pt x="498" y="428"/>
                </a:lnTo>
                <a:lnTo>
                  <a:pt x="504" y="420"/>
                </a:lnTo>
                <a:lnTo>
                  <a:pt x="506" y="418"/>
                </a:lnTo>
                <a:lnTo>
                  <a:pt x="508" y="416"/>
                </a:lnTo>
                <a:lnTo>
                  <a:pt x="508" y="414"/>
                </a:lnTo>
                <a:lnTo>
                  <a:pt x="506" y="412"/>
                </a:lnTo>
                <a:lnTo>
                  <a:pt x="504" y="412"/>
                </a:lnTo>
                <a:lnTo>
                  <a:pt x="500" y="410"/>
                </a:lnTo>
                <a:lnTo>
                  <a:pt x="498" y="408"/>
                </a:lnTo>
                <a:lnTo>
                  <a:pt x="496" y="408"/>
                </a:lnTo>
                <a:lnTo>
                  <a:pt x="492" y="402"/>
                </a:lnTo>
                <a:lnTo>
                  <a:pt x="490" y="402"/>
                </a:lnTo>
                <a:lnTo>
                  <a:pt x="490" y="400"/>
                </a:lnTo>
                <a:lnTo>
                  <a:pt x="488" y="400"/>
                </a:lnTo>
                <a:lnTo>
                  <a:pt x="488" y="398"/>
                </a:lnTo>
                <a:lnTo>
                  <a:pt x="486" y="396"/>
                </a:lnTo>
                <a:lnTo>
                  <a:pt x="488" y="392"/>
                </a:lnTo>
                <a:lnTo>
                  <a:pt x="488" y="390"/>
                </a:lnTo>
                <a:lnTo>
                  <a:pt x="486" y="386"/>
                </a:lnTo>
                <a:lnTo>
                  <a:pt x="482" y="386"/>
                </a:lnTo>
                <a:lnTo>
                  <a:pt x="482" y="384"/>
                </a:lnTo>
                <a:lnTo>
                  <a:pt x="480" y="384"/>
                </a:lnTo>
                <a:lnTo>
                  <a:pt x="478" y="382"/>
                </a:lnTo>
                <a:lnTo>
                  <a:pt x="478" y="380"/>
                </a:lnTo>
                <a:lnTo>
                  <a:pt x="478" y="378"/>
                </a:lnTo>
                <a:lnTo>
                  <a:pt x="480" y="376"/>
                </a:lnTo>
                <a:lnTo>
                  <a:pt x="486" y="368"/>
                </a:lnTo>
                <a:lnTo>
                  <a:pt x="492" y="360"/>
                </a:lnTo>
                <a:lnTo>
                  <a:pt x="494" y="358"/>
                </a:lnTo>
                <a:lnTo>
                  <a:pt x="498" y="350"/>
                </a:lnTo>
                <a:lnTo>
                  <a:pt x="500" y="346"/>
                </a:lnTo>
                <a:lnTo>
                  <a:pt x="504" y="344"/>
                </a:lnTo>
                <a:lnTo>
                  <a:pt x="504" y="340"/>
                </a:lnTo>
                <a:lnTo>
                  <a:pt x="506" y="338"/>
                </a:lnTo>
                <a:lnTo>
                  <a:pt x="506" y="332"/>
                </a:lnTo>
                <a:lnTo>
                  <a:pt x="506" y="330"/>
                </a:lnTo>
                <a:lnTo>
                  <a:pt x="506" y="328"/>
                </a:lnTo>
                <a:lnTo>
                  <a:pt x="504" y="324"/>
                </a:lnTo>
                <a:lnTo>
                  <a:pt x="498" y="322"/>
                </a:lnTo>
                <a:lnTo>
                  <a:pt x="496" y="320"/>
                </a:lnTo>
                <a:lnTo>
                  <a:pt x="494" y="318"/>
                </a:lnTo>
                <a:lnTo>
                  <a:pt x="492" y="318"/>
                </a:lnTo>
                <a:lnTo>
                  <a:pt x="492" y="314"/>
                </a:lnTo>
                <a:lnTo>
                  <a:pt x="492" y="312"/>
                </a:lnTo>
                <a:lnTo>
                  <a:pt x="494" y="308"/>
                </a:lnTo>
                <a:lnTo>
                  <a:pt x="496" y="306"/>
                </a:lnTo>
                <a:lnTo>
                  <a:pt x="498" y="304"/>
                </a:lnTo>
                <a:lnTo>
                  <a:pt x="498" y="302"/>
                </a:lnTo>
                <a:lnTo>
                  <a:pt x="500" y="300"/>
                </a:lnTo>
                <a:lnTo>
                  <a:pt x="504" y="296"/>
                </a:lnTo>
                <a:lnTo>
                  <a:pt x="504" y="294"/>
                </a:lnTo>
                <a:lnTo>
                  <a:pt x="506" y="290"/>
                </a:lnTo>
                <a:lnTo>
                  <a:pt x="506" y="288"/>
                </a:lnTo>
                <a:lnTo>
                  <a:pt x="508" y="288"/>
                </a:lnTo>
                <a:lnTo>
                  <a:pt x="510" y="286"/>
                </a:lnTo>
                <a:lnTo>
                  <a:pt x="512" y="286"/>
                </a:lnTo>
                <a:lnTo>
                  <a:pt x="512" y="284"/>
                </a:lnTo>
                <a:lnTo>
                  <a:pt x="514" y="282"/>
                </a:lnTo>
                <a:lnTo>
                  <a:pt x="516" y="278"/>
                </a:lnTo>
                <a:lnTo>
                  <a:pt x="516" y="276"/>
                </a:lnTo>
                <a:lnTo>
                  <a:pt x="520" y="274"/>
                </a:lnTo>
                <a:lnTo>
                  <a:pt x="520" y="272"/>
                </a:lnTo>
                <a:lnTo>
                  <a:pt x="524" y="268"/>
                </a:lnTo>
                <a:lnTo>
                  <a:pt x="526" y="266"/>
                </a:lnTo>
                <a:lnTo>
                  <a:pt x="528" y="260"/>
                </a:lnTo>
                <a:lnTo>
                  <a:pt x="532" y="256"/>
                </a:lnTo>
                <a:lnTo>
                  <a:pt x="534" y="252"/>
                </a:lnTo>
                <a:lnTo>
                  <a:pt x="538" y="252"/>
                </a:lnTo>
                <a:lnTo>
                  <a:pt x="538" y="248"/>
                </a:lnTo>
                <a:lnTo>
                  <a:pt x="540" y="246"/>
                </a:lnTo>
                <a:lnTo>
                  <a:pt x="542" y="242"/>
                </a:lnTo>
                <a:lnTo>
                  <a:pt x="544" y="238"/>
                </a:lnTo>
                <a:lnTo>
                  <a:pt x="546" y="236"/>
                </a:lnTo>
                <a:lnTo>
                  <a:pt x="546" y="234"/>
                </a:lnTo>
                <a:lnTo>
                  <a:pt x="546" y="232"/>
                </a:lnTo>
                <a:lnTo>
                  <a:pt x="548" y="230"/>
                </a:lnTo>
                <a:lnTo>
                  <a:pt x="548" y="228"/>
                </a:lnTo>
                <a:lnTo>
                  <a:pt x="548" y="224"/>
                </a:lnTo>
                <a:lnTo>
                  <a:pt x="550" y="222"/>
                </a:lnTo>
                <a:lnTo>
                  <a:pt x="550" y="220"/>
                </a:lnTo>
                <a:lnTo>
                  <a:pt x="550" y="218"/>
                </a:lnTo>
                <a:lnTo>
                  <a:pt x="550" y="216"/>
                </a:lnTo>
                <a:lnTo>
                  <a:pt x="556" y="214"/>
                </a:lnTo>
                <a:lnTo>
                  <a:pt x="558" y="212"/>
                </a:lnTo>
                <a:lnTo>
                  <a:pt x="558" y="210"/>
                </a:lnTo>
                <a:lnTo>
                  <a:pt x="556" y="206"/>
                </a:lnTo>
                <a:lnTo>
                  <a:pt x="552" y="204"/>
                </a:lnTo>
                <a:lnTo>
                  <a:pt x="550" y="204"/>
                </a:lnTo>
                <a:lnTo>
                  <a:pt x="546" y="202"/>
                </a:lnTo>
                <a:lnTo>
                  <a:pt x="542" y="202"/>
                </a:lnTo>
                <a:lnTo>
                  <a:pt x="538" y="202"/>
                </a:lnTo>
                <a:lnTo>
                  <a:pt x="534" y="200"/>
                </a:lnTo>
                <a:lnTo>
                  <a:pt x="534" y="198"/>
                </a:lnTo>
                <a:lnTo>
                  <a:pt x="534" y="196"/>
                </a:lnTo>
                <a:lnTo>
                  <a:pt x="540" y="192"/>
                </a:lnTo>
                <a:lnTo>
                  <a:pt x="542" y="184"/>
                </a:lnTo>
                <a:lnTo>
                  <a:pt x="544" y="184"/>
                </a:lnTo>
                <a:lnTo>
                  <a:pt x="544" y="182"/>
                </a:lnTo>
                <a:lnTo>
                  <a:pt x="546" y="178"/>
                </a:lnTo>
                <a:lnTo>
                  <a:pt x="548" y="176"/>
                </a:lnTo>
                <a:lnTo>
                  <a:pt x="550" y="170"/>
                </a:lnTo>
                <a:lnTo>
                  <a:pt x="550" y="168"/>
                </a:lnTo>
                <a:lnTo>
                  <a:pt x="550" y="164"/>
                </a:lnTo>
                <a:lnTo>
                  <a:pt x="550" y="162"/>
                </a:lnTo>
                <a:lnTo>
                  <a:pt x="548" y="160"/>
                </a:lnTo>
                <a:lnTo>
                  <a:pt x="546" y="158"/>
                </a:lnTo>
                <a:lnTo>
                  <a:pt x="546" y="156"/>
                </a:lnTo>
                <a:lnTo>
                  <a:pt x="544" y="152"/>
                </a:lnTo>
                <a:lnTo>
                  <a:pt x="542" y="150"/>
                </a:lnTo>
                <a:lnTo>
                  <a:pt x="540" y="148"/>
                </a:lnTo>
                <a:lnTo>
                  <a:pt x="538" y="144"/>
                </a:lnTo>
                <a:lnTo>
                  <a:pt x="540" y="140"/>
                </a:lnTo>
                <a:lnTo>
                  <a:pt x="540" y="134"/>
                </a:lnTo>
                <a:lnTo>
                  <a:pt x="542" y="132"/>
                </a:lnTo>
                <a:lnTo>
                  <a:pt x="544" y="130"/>
                </a:lnTo>
                <a:lnTo>
                  <a:pt x="546" y="128"/>
                </a:lnTo>
                <a:lnTo>
                  <a:pt x="546" y="126"/>
                </a:lnTo>
                <a:lnTo>
                  <a:pt x="546" y="124"/>
                </a:lnTo>
                <a:lnTo>
                  <a:pt x="546" y="122"/>
                </a:lnTo>
                <a:lnTo>
                  <a:pt x="546" y="120"/>
                </a:lnTo>
                <a:lnTo>
                  <a:pt x="544" y="116"/>
                </a:lnTo>
                <a:lnTo>
                  <a:pt x="544" y="114"/>
                </a:lnTo>
                <a:lnTo>
                  <a:pt x="544" y="112"/>
                </a:lnTo>
                <a:lnTo>
                  <a:pt x="544" y="110"/>
                </a:lnTo>
                <a:lnTo>
                  <a:pt x="544" y="108"/>
                </a:lnTo>
                <a:lnTo>
                  <a:pt x="546" y="108"/>
                </a:lnTo>
                <a:lnTo>
                  <a:pt x="546" y="106"/>
                </a:lnTo>
                <a:lnTo>
                  <a:pt x="546" y="104"/>
                </a:lnTo>
                <a:lnTo>
                  <a:pt x="548" y="102"/>
                </a:lnTo>
                <a:lnTo>
                  <a:pt x="548" y="98"/>
                </a:lnTo>
                <a:lnTo>
                  <a:pt x="548" y="96"/>
                </a:lnTo>
                <a:lnTo>
                  <a:pt x="548" y="94"/>
                </a:lnTo>
                <a:lnTo>
                  <a:pt x="548" y="92"/>
                </a:lnTo>
                <a:lnTo>
                  <a:pt x="548" y="90"/>
                </a:lnTo>
                <a:lnTo>
                  <a:pt x="548" y="88"/>
                </a:lnTo>
                <a:lnTo>
                  <a:pt x="546" y="86"/>
                </a:lnTo>
                <a:lnTo>
                  <a:pt x="546" y="84"/>
                </a:lnTo>
                <a:lnTo>
                  <a:pt x="546" y="80"/>
                </a:lnTo>
                <a:lnTo>
                  <a:pt x="548" y="78"/>
                </a:lnTo>
                <a:lnTo>
                  <a:pt x="542" y="74"/>
                </a:lnTo>
                <a:lnTo>
                  <a:pt x="510" y="6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 w="6350">
            <a:solidFill>
              <a:schemeClr val="tx2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457200">
              <a:defRPr/>
            </a:pPr>
            <a:endParaRPr lang="en-US" kern="0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73" name="Freeform 51">
            <a:extLst>
              <a:ext uri="{FF2B5EF4-FFF2-40B4-BE49-F238E27FC236}">
                <a16:creationId xmlns:a16="http://schemas.microsoft.com/office/drawing/2014/main" id="{BFF8D218-5C33-B00F-47C4-9C3C59F260C9}"/>
              </a:ext>
            </a:extLst>
          </p:cNvPr>
          <p:cNvSpPr>
            <a:spLocks/>
          </p:cNvSpPr>
          <p:nvPr/>
        </p:nvSpPr>
        <p:spPr bwMode="auto">
          <a:xfrm>
            <a:off x="4455160" y="3713480"/>
            <a:ext cx="828040" cy="1016000"/>
          </a:xfrm>
          <a:custGeom>
            <a:avLst/>
            <a:gdLst>
              <a:gd name="T0" fmla="*/ 2147483646 w 652"/>
              <a:gd name="T1" fmla="*/ 2147483646 h 800"/>
              <a:gd name="T2" fmla="*/ 2147483646 w 652"/>
              <a:gd name="T3" fmla="*/ 2147483646 h 800"/>
              <a:gd name="T4" fmla="*/ 2147483646 w 652"/>
              <a:gd name="T5" fmla="*/ 2147483646 h 800"/>
              <a:gd name="T6" fmla="*/ 2147483646 w 652"/>
              <a:gd name="T7" fmla="*/ 2147483646 h 800"/>
              <a:gd name="T8" fmla="*/ 2147483646 w 652"/>
              <a:gd name="T9" fmla="*/ 2147483646 h 800"/>
              <a:gd name="T10" fmla="*/ 2147483646 w 652"/>
              <a:gd name="T11" fmla="*/ 2147483646 h 800"/>
              <a:gd name="T12" fmla="*/ 2147483646 w 652"/>
              <a:gd name="T13" fmla="*/ 2147483646 h 800"/>
              <a:gd name="T14" fmla="*/ 2147483646 w 652"/>
              <a:gd name="T15" fmla="*/ 2147483646 h 800"/>
              <a:gd name="T16" fmla="*/ 2147483646 w 652"/>
              <a:gd name="T17" fmla="*/ 2147483646 h 800"/>
              <a:gd name="T18" fmla="*/ 2147483646 w 652"/>
              <a:gd name="T19" fmla="*/ 2147483646 h 800"/>
              <a:gd name="T20" fmla="*/ 2147483646 w 652"/>
              <a:gd name="T21" fmla="*/ 2147483646 h 800"/>
              <a:gd name="T22" fmla="*/ 2147483646 w 652"/>
              <a:gd name="T23" fmla="*/ 2147483646 h 800"/>
              <a:gd name="T24" fmla="*/ 2147483646 w 652"/>
              <a:gd name="T25" fmla="*/ 2147483646 h 800"/>
              <a:gd name="T26" fmla="*/ 2147483646 w 652"/>
              <a:gd name="T27" fmla="*/ 2147483646 h 800"/>
              <a:gd name="T28" fmla="*/ 2147483646 w 652"/>
              <a:gd name="T29" fmla="*/ 2147483646 h 800"/>
              <a:gd name="T30" fmla="*/ 2147483646 w 652"/>
              <a:gd name="T31" fmla="*/ 2147483646 h 800"/>
              <a:gd name="T32" fmla="*/ 2147483646 w 652"/>
              <a:gd name="T33" fmla="*/ 2147483646 h 800"/>
              <a:gd name="T34" fmla="*/ 2147483646 w 652"/>
              <a:gd name="T35" fmla="*/ 2147483646 h 800"/>
              <a:gd name="T36" fmla="*/ 2147483646 w 652"/>
              <a:gd name="T37" fmla="*/ 2147483646 h 800"/>
              <a:gd name="T38" fmla="*/ 2147483646 w 652"/>
              <a:gd name="T39" fmla="*/ 2147483646 h 800"/>
              <a:gd name="T40" fmla="*/ 2147483646 w 652"/>
              <a:gd name="T41" fmla="*/ 2147483646 h 800"/>
              <a:gd name="T42" fmla="*/ 2147483646 w 652"/>
              <a:gd name="T43" fmla="*/ 2147483646 h 800"/>
              <a:gd name="T44" fmla="*/ 2147483646 w 652"/>
              <a:gd name="T45" fmla="*/ 2147483646 h 800"/>
              <a:gd name="T46" fmla="*/ 2147483646 w 652"/>
              <a:gd name="T47" fmla="*/ 2147483646 h 800"/>
              <a:gd name="T48" fmla="*/ 2147483646 w 652"/>
              <a:gd name="T49" fmla="*/ 2147483646 h 800"/>
              <a:gd name="T50" fmla="*/ 2147483646 w 652"/>
              <a:gd name="T51" fmla="*/ 2147483646 h 800"/>
              <a:gd name="T52" fmla="*/ 2147483646 w 652"/>
              <a:gd name="T53" fmla="*/ 2147483646 h 800"/>
              <a:gd name="T54" fmla="*/ 2147483646 w 652"/>
              <a:gd name="T55" fmla="*/ 2147483646 h 800"/>
              <a:gd name="T56" fmla="*/ 2147483646 w 652"/>
              <a:gd name="T57" fmla="*/ 2147483646 h 800"/>
              <a:gd name="T58" fmla="*/ 2147483646 w 652"/>
              <a:gd name="T59" fmla="*/ 2147483646 h 800"/>
              <a:gd name="T60" fmla="*/ 2147483646 w 652"/>
              <a:gd name="T61" fmla="*/ 2147483646 h 800"/>
              <a:gd name="T62" fmla="*/ 2147483646 w 652"/>
              <a:gd name="T63" fmla="*/ 2147483646 h 800"/>
              <a:gd name="T64" fmla="*/ 2147483646 w 652"/>
              <a:gd name="T65" fmla="*/ 2147483646 h 800"/>
              <a:gd name="T66" fmla="*/ 2147483646 w 652"/>
              <a:gd name="T67" fmla="*/ 2147483646 h 800"/>
              <a:gd name="T68" fmla="*/ 2147483646 w 652"/>
              <a:gd name="T69" fmla="*/ 2147483646 h 800"/>
              <a:gd name="T70" fmla="*/ 2147483646 w 652"/>
              <a:gd name="T71" fmla="*/ 2147483646 h 800"/>
              <a:gd name="T72" fmla="*/ 2147483646 w 652"/>
              <a:gd name="T73" fmla="*/ 2147483646 h 800"/>
              <a:gd name="T74" fmla="*/ 2147483646 w 652"/>
              <a:gd name="T75" fmla="*/ 2147483646 h 800"/>
              <a:gd name="T76" fmla="*/ 2147483646 w 652"/>
              <a:gd name="T77" fmla="*/ 2147483646 h 800"/>
              <a:gd name="T78" fmla="*/ 2147483646 w 652"/>
              <a:gd name="T79" fmla="*/ 2147483646 h 800"/>
              <a:gd name="T80" fmla="*/ 2147483646 w 652"/>
              <a:gd name="T81" fmla="*/ 2147483646 h 800"/>
              <a:gd name="T82" fmla="*/ 2147483646 w 652"/>
              <a:gd name="T83" fmla="*/ 2147483646 h 800"/>
              <a:gd name="T84" fmla="*/ 2147483646 w 652"/>
              <a:gd name="T85" fmla="*/ 2147483646 h 800"/>
              <a:gd name="T86" fmla="*/ 2147483646 w 652"/>
              <a:gd name="T87" fmla="*/ 2147483646 h 800"/>
              <a:gd name="T88" fmla="*/ 2147483646 w 652"/>
              <a:gd name="T89" fmla="*/ 2147483646 h 800"/>
              <a:gd name="T90" fmla="*/ 2147483646 w 652"/>
              <a:gd name="T91" fmla="*/ 2147483646 h 800"/>
              <a:gd name="T92" fmla="*/ 2147483646 w 652"/>
              <a:gd name="T93" fmla="*/ 2147483646 h 800"/>
              <a:gd name="T94" fmla="*/ 2147483646 w 652"/>
              <a:gd name="T95" fmla="*/ 2147483646 h 800"/>
              <a:gd name="T96" fmla="*/ 2147483646 w 652"/>
              <a:gd name="T97" fmla="*/ 2147483646 h 800"/>
              <a:gd name="T98" fmla="*/ 2147483646 w 652"/>
              <a:gd name="T99" fmla="*/ 2147483646 h 800"/>
              <a:gd name="T100" fmla="*/ 2147483646 w 652"/>
              <a:gd name="T101" fmla="*/ 2147483646 h 800"/>
              <a:gd name="T102" fmla="*/ 2147483646 w 652"/>
              <a:gd name="T103" fmla="*/ 2147483646 h 800"/>
              <a:gd name="T104" fmla="*/ 2147483646 w 652"/>
              <a:gd name="T105" fmla="*/ 2147483646 h 800"/>
              <a:gd name="T106" fmla="*/ 2147483646 w 652"/>
              <a:gd name="T107" fmla="*/ 2147483646 h 800"/>
              <a:gd name="T108" fmla="*/ 2147483646 w 652"/>
              <a:gd name="T109" fmla="*/ 2147483646 h 800"/>
              <a:gd name="T110" fmla="*/ 2147483646 w 652"/>
              <a:gd name="T111" fmla="*/ 2147483646 h 800"/>
              <a:gd name="T112" fmla="*/ 2147483646 w 652"/>
              <a:gd name="T113" fmla="*/ 2147483646 h 800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w 652"/>
              <a:gd name="T172" fmla="*/ 0 h 800"/>
              <a:gd name="T173" fmla="*/ 652 w 652"/>
              <a:gd name="T174" fmla="*/ 800 h 800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T171" t="T172" r="T173" b="T174"/>
            <a:pathLst>
              <a:path w="652" h="800">
                <a:moveTo>
                  <a:pt x="644" y="150"/>
                </a:moveTo>
                <a:lnTo>
                  <a:pt x="648" y="148"/>
                </a:lnTo>
                <a:lnTo>
                  <a:pt x="652" y="140"/>
                </a:lnTo>
                <a:lnTo>
                  <a:pt x="648" y="136"/>
                </a:lnTo>
                <a:lnTo>
                  <a:pt x="644" y="128"/>
                </a:lnTo>
                <a:lnTo>
                  <a:pt x="644" y="124"/>
                </a:lnTo>
                <a:lnTo>
                  <a:pt x="642" y="122"/>
                </a:lnTo>
                <a:lnTo>
                  <a:pt x="638" y="118"/>
                </a:lnTo>
                <a:lnTo>
                  <a:pt x="640" y="112"/>
                </a:lnTo>
                <a:lnTo>
                  <a:pt x="642" y="110"/>
                </a:lnTo>
                <a:lnTo>
                  <a:pt x="646" y="104"/>
                </a:lnTo>
                <a:lnTo>
                  <a:pt x="648" y="96"/>
                </a:lnTo>
                <a:lnTo>
                  <a:pt x="648" y="92"/>
                </a:lnTo>
                <a:lnTo>
                  <a:pt x="644" y="90"/>
                </a:lnTo>
                <a:lnTo>
                  <a:pt x="642" y="92"/>
                </a:lnTo>
                <a:lnTo>
                  <a:pt x="640" y="92"/>
                </a:lnTo>
                <a:lnTo>
                  <a:pt x="638" y="90"/>
                </a:lnTo>
                <a:lnTo>
                  <a:pt x="638" y="84"/>
                </a:lnTo>
                <a:lnTo>
                  <a:pt x="642" y="78"/>
                </a:lnTo>
                <a:lnTo>
                  <a:pt x="646" y="72"/>
                </a:lnTo>
                <a:lnTo>
                  <a:pt x="644" y="68"/>
                </a:lnTo>
                <a:lnTo>
                  <a:pt x="640" y="64"/>
                </a:lnTo>
                <a:lnTo>
                  <a:pt x="638" y="64"/>
                </a:lnTo>
                <a:lnTo>
                  <a:pt x="634" y="68"/>
                </a:lnTo>
                <a:lnTo>
                  <a:pt x="634" y="70"/>
                </a:lnTo>
                <a:lnTo>
                  <a:pt x="630" y="72"/>
                </a:lnTo>
                <a:lnTo>
                  <a:pt x="626" y="68"/>
                </a:lnTo>
                <a:lnTo>
                  <a:pt x="622" y="58"/>
                </a:lnTo>
                <a:lnTo>
                  <a:pt x="614" y="56"/>
                </a:lnTo>
                <a:lnTo>
                  <a:pt x="612" y="56"/>
                </a:lnTo>
                <a:lnTo>
                  <a:pt x="608" y="62"/>
                </a:lnTo>
                <a:lnTo>
                  <a:pt x="600" y="68"/>
                </a:lnTo>
                <a:lnTo>
                  <a:pt x="600" y="74"/>
                </a:lnTo>
                <a:lnTo>
                  <a:pt x="598" y="78"/>
                </a:lnTo>
                <a:lnTo>
                  <a:pt x="600" y="86"/>
                </a:lnTo>
                <a:lnTo>
                  <a:pt x="600" y="88"/>
                </a:lnTo>
                <a:lnTo>
                  <a:pt x="598" y="88"/>
                </a:lnTo>
                <a:lnTo>
                  <a:pt x="590" y="86"/>
                </a:lnTo>
                <a:lnTo>
                  <a:pt x="588" y="86"/>
                </a:lnTo>
                <a:lnTo>
                  <a:pt x="582" y="84"/>
                </a:lnTo>
                <a:lnTo>
                  <a:pt x="580" y="80"/>
                </a:lnTo>
                <a:lnTo>
                  <a:pt x="580" y="78"/>
                </a:lnTo>
                <a:lnTo>
                  <a:pt x="580" y="72"/>
                </a:lnTo>
                <a:lnTo>
                  <a:pt x="576" y="64"/>
                </a:lnTo>
                <a:lnTo>
                  <a:pt x="574" y="64"/>
                </a:lnTo>
                <a:lnTo>
                  <a:pt x="570" y="62"/>
                </a:lnTo>
                <a:lnTo>
                  <a:pt x="564" y="64"/>
                </a:lnTo>
                <a:lnTo>
                  <a:pt x="558" y="70"/>
                </a:lnTo>
                <a:lnTo>
                  <a:pt x="554" y="72"/>
                </a:lnTo>
                <a:lnTo>
                  <a:pt x="546" y="70"/>
                </a:lnTo>
                <a:lnTo>
                  <a:pt x="542" y="64"/>
                </a:lnTo>
                <a:lnTo>
                  <a:pt x="542" y="60"/>
                </a:lnTo>
                <a:lnTo>
                  <a:pt x="546" y="54"/>
                </a:lnTo>
                <a:lnTo>
                  <a:pt x="548" y="48"/>
                </a:lnTo>
                <a:lnTo>
                  <a:pt x="548" y="40"/>
                </a:lnTo>
                <a:lnTo>
                  <a:pt x="548" y="38"/>
                </a:lnTo>
                <a:lnTo>
                  <a:pt x="554" y="36"/>
                </a:lnTo>
                <a:lnTo>
                  <a:pt x="554" y="34"/>
                </a:lnTo>
                <a:lnTo>
                  <a:pt x="552" y="32"/>
                </a:lnTo>
                <a:lnTo>
                  <a:pt x="546" y="30"/>
                </a:lnTo>
                <a:lnTo>
                  <a:pt x="538" y="24"/>
                </a:lnTo>
                <a:lnTo>
                  <a:pt x="536" y="18"/>
                </a:lnTo>
                <a:lnTo>
                  <a:pt x="530" y="10"/>
                </a:lnTo>
                <a:lnTo>
                  <a:pt x="530" y="6"/>
                </a:lnTo>
                <a:lnTo>
                  <a:pt x="528" y="6"/>
                </a:lnTo>
                <a:lnTo>
                  <a:pt x="524" y="6"/>
                </a:lnTo>
                <a:lnTo>
                  <a:pt x="520" y="6"/>
                </a:lnTo>
                <a:lnTo>
                  <a:pt x="518" y="4"/>
                </a:lnTo>
                <a:lnTo>
                  <a:pt x="512" y="0"/>
                </a:lnTo>
                <a:lnTo>
                  <a:pt x="510" y="2"/>
                </a:lnTo>
                <a:lnTo>
                  <a:pt x="502" y="18"/>
                </a:lnTo>
                <a:lnTo>
                  <a:pt x="500" y="22"/>
                </a:lnTo>
                <a:lnTo>
                  <a:pt x="496" y="26"/>
                </a:lnTo>
                <a:lnTo>
                  <a:pt x="500" y="30"/>
                </a:lnTo>
                <a:lnTo>
                  <a:pt x="496" y="32"/>
                </a:lnTo>
                <a:lnTo>
                  <a:pt x="494" y="34"/>
                </a:lnTo>
                <a:lnTo>
                  <a:pt x="494" y="36"/>
                </a:lnTo>
                <a:lnTo>
                  <a:pt x="494" y="40"/>
                </a:lnTo>
                <a:lnTo>
                  <a:pt x="490" y="52"/>
                </a:lnTo>
                <a:lnTo>
                  <a:pt x="488" y="60"/>
                </a:lnTo>
                <a:lnTo>
                  <a:pt x="484" y="70"/>
                </a:lnTo>
                <a:lnTo>
                  <a:pt x="478" y="80"/>
                </a:lnTo>
                <a:lnTo>
                  <a:pt x="476" y="88"/>
                </a:lnTo>
                <a:lnTo>
                  <a:pt x="474" y="94"/>
                </a:lnTo>
                <a:lnTo>
                  <a:pt x="468" y="104"/>
                </a:lnTo>
                <a:lnTo>
                  <a:pt x="456" y="132"/>
                </a:lnTo>
                <a:lnTo>
                  <a:pt x="456" y="136"/>
                </a:lnTo>
                <a:lnTo>
                  <a:pt x="454" y="142"/>
                </a:lnTo>
                <a:lnTo>
                  <a:pt x="454" y="148"/>
                </a:lnTo>
                <a:lnTo>
                  <a:pt x="454" y="154"/>
                </a:lnTo>
                <a:lnTo>
                  <a:pt x="452" y="158"/>
                </a:lnTo>
                <a:lnTo>
                  <a:pt x="442" y="172"/>
                </a:lnTo>
                <a:lnTo>
                  <a:pt x="442" y="178"/>
                </a:lnTo>
                <a:lnTo>
                  <a:pt x="444" y="184"/>
                </a:lnTo>
                <a:lnTo>
                  <a:pt x="442" y="196"/>
                </a:lnTo>
                <a:lnTo>
                  <a:pt x="442" y="202"/>
                </a:lnTo>
                <a:lnTo>
                  <a:pt x="442" y="212"/>
                </a:lnTo>
                <a:lnTo>
                  <a:pt x="440" y="214"/>
                </a:lnTo>
                <a:lnTo>
                  <a:pt x="430" y="222"/>
                </a:lnTo>
                <a:lnTo>
                  <a:pt x="300" y="320"/>
                </a:lnTo>
                <a:lnTo>
                  <a:pt x="294" y="322"/>
                </a:lnTo>
                <a:lnTo>
                  <a:pt x="214" y="306"/>
                </a:lnTo>
                <a:lnTo>
                  <a:pt x="102" y="402"/>
                </a:lnTo>
                <a:lnTo>
                  <a:pt x="82" y="420"/>
                </a:lnTo>
                <a:lnTo>
                  <a:pt x="30" y="464"/>
                </a:lnTo>
                <a:lnTo>
                  <a:pt x="10" y="452"/>
                </a:lnTo>
                <a:lnTo>
                  <a:pt x="8" y="478"/>
                </a:lnTo>
                <a:lnTo>
                  <a:pt x="2" y="586"/>
                </a:lnTo>
                <a:lnTo>
                  <a:pt x="0" y="716"/>
                </a:lnTo>
                <a:lnTo>
                  <a:pt x="16" y="728"/>
                </a:lnTo>
                <a:lnTo>
                  <a:pt x="62" y="770"/>
                </a:lnTo>
                <a:lnTo>
                  <a:pt x="78" y="782"/>
                </a:lnTo>
                <a:lnTo>
                  <a:pt x="86" y="788"/>
                </a:lnTo>
                <a:lnTo>
                  <a:pt x="88" y="790"/>
                </a:lnTo>
                <a:lnTo>
                  <a:pt x="114" y="794"/>
                </a:lnTo>
                <a:lnTo>
                  <a:pt x="122" y="796"/>
                </a:lnTo>
                <a:lnTo>
                  <a:pt x="126" y="792"/>
                </a:lnTo>
                <a:lnTo>
                  <a:pt x="128" y="796"/>
                </a:lnTo>
                <a:lnTo>
                  <a:pt x="134" y="798"/>
                </a:lnTo>
                <a:lnTo>
                  <a:pt x="138" y="800"/>
                </a:lnTo>
                <a:lnTo>
                  <a:pt x="144" y="794"/>
                </a:lnTo>
                <a:lnTo>
                  <a:pt x="154" y="796"/>
                </a:lnTo>
                <a:lnTo>
                  <a:pt x="156" y="796"/>
                </a:lnTo>
                <a:lnTo>
                  <a:pt x="162" y="798"/>
                </a:lnTo>
                <a:lnTo>
                  <a:pt x="170" y="800"/>
                </a:lnTo>
                <a:lnTo>
                  <a:pt x="172" y="800"/>
                </a:lnTo>
                <a:lnTo>
                  <a:pt x="184" y="798"/>
                </a:lnTo>
                <a:lnTo>
                  <a:pt x="200" y="792"/>
                </a:lnTo>
                <a:lnTo>
                  <a:pt x="210" y="788"/>
                </a:lnTo>
                <a:lnTo>
                  <a:pt x="228" y="778"/>
                </a:lnTo>
                <a:lnTo>
                  <a:pt x="232" y="778"/>
                </a:lnTo>
                <a:lnTo>
                  <a:pt x="234" y="778"/>
                </a:lnTo>
                <a:lnTo>
                  <a:pt x="340" y="770"/>
                </a:lnTo>
                <a:lnTo>
                  <a:pt x="356" y="770"/>
                </a:lnTo>
                <a:lnTo>
                  <a:pt x="356" y="766"/>
                </a:lnTo>
                <a:lnTo>
                  <a:pt x="356" y="764"/>
                </a:lnTo>
                <a:lnTo>
                  <a:pt x="360" y="760"/>
                </a:lnTo>
                <a:lnTo>
                  <a:pt x="360" y="758"/>
                </a:lnTo>
                <a:lnTo>
                  <a:pt x="362" y="756"/>
                </a:lnTo>
                <a:lnTo>
                  <a:pt x="362" y="754"/>
                </a:lnTo>
                <a:lnTo>
                  <a:pt x="364" y="748"/>
                </a:lnTo>
                <a:lnTo>
                  <a:pt x="366" y="746"/>
                </a:lnTo>
                <a:lnTo>
                  <a:pt x="366" y="744"/>
                </a:lnTo>
                <a:lnTo>
                  <a:pt x="370" y="740"/>
                </a:lnTo>
                <a:lnTo>
                  <a:pt x="372" y="738"/>
                </a:lnTo>
                <a:lnTo>
                  <a:pt x="378" y="734"/>
                </a:lnTo>
                <a:lnTo>
                  <a:pt x="378" y="730"/>
                </a:lnTo>
                <a:lnTo>
                  <a:pt x="382" y="726"/>
                </a:lnTo>
                <a:lnTo>
                  <a:pt x="384" y="724"/>
                </a:lnTo>
                <a:lnTo>
                  <a:pt x="384" y="722"/>
                </a:lnTo>
                <a:lnTo>
                  <a:pt x="386" y="720"/>
                </a:lnTo>
                <a:lnTo>
                  <a:pt x="384" y="718"/>
                </a:lnTo>
                <a:lnTo>
                  <a:pt x="382" y="718"/>
                </a:lnTo>
                <a:lnTo>
                  <a:pt x="380" y="716"/>
                </a:lnTo>
                <a:lnTo>
                  <a:pt x="378" y="716"/>
                </a:lnTo>
                <a:lnTo>
                  <a:pt x="378" y="712"/>
                </a:lnTo>
                <a:lnTo>
                  <a:pt x="374" y="712"/>
                </a:lnTo>
                <a:lnTo>
                  <a:pt x="374" y="710"/>
                </a:lnTo>
                <a:lnTo>
                  <a:pt x="372" y="708"/>
                </a:lnTo>
                <a:lnTo>
                  <a:pt x="372" y="704"/>
                </a:lnTo>
                <a:lnTo>
                  <a:pt x="372" y="702"/>
                </a:lnTo>
                <a:lnTo>
                  <a:pt x="372" y="700"/>
                </a:lnTo>
                <a:lnTo>
                  <a:pt x="372" y="694"/>
                </a:lnTo>
                <a:lnTo>
                  <a:pt x="372" y="692"/>
                </a:lnTo>
                <a:lnTo>
                  <a:pt x="372" y="690"/>
                </a:lnTo>
                <a:lnTo>
                  <a:pt x="374" y="690"/>
                </a:lnTo>
                <a:lnTo>
                  <a:pt x="378" y="688"/>
                </a:lnTo>
                <a:lnTo>
                  <a:pt x="382" y="686"/>
                </a:lnTo>
                <a:lnTo>
                  <a:pt x="382" y="684"/>
                </a:lnTo>
                <a:lnTo>
                  <a:pt x="384" y="682"/>
                </a:lnTo>
                <a:lnTo>
                  <a:pt x="384" y="680"/>
                </a:lnTo>
                <a:lnTo>
                  <a:pt x="386" y="674"/>
                </a:lnTo>
                <a:lnTo>
                  <a:pt x="388" y="672"/>
                </a:lnTo>
                <a:lnTo>
                  <a:pt x="388" y="670"/>
                </a:lnTo>
                <a:lnTo>
                  <a:pt x="390" y="670"/>
                </a:lnTo>
                <a:lnTo>
                  <a:pt x="390" y="668"/>
                </a:lnTo>
                <a:lnTo>
                  <a:pt x="392" y="668"/>
                </a:lnTo>
                <a:lnTo>
                  <a:pt x="392" y="666"/>
                </a:lnTo>
                <a:lnTo>
                  <a:pt x="392" y="664"/>
                </a:lnTo>
                <a:lnTo>
                  <a:pt x="392" y="662"/>
                </a:lnTo>
                <a:lnTo>
                  <a:pt x="392" y="658"/>
                </a:lnTo>
                <a:lnTo>
                  <a:pt x="392" y="656"/>
                </a:lnTo>
                <a:lnTo>
                  <a:pt x="396" y="656"/>
                </a:lnTo>
                <a:lnTo>
                  <a:pt x="396" y="654"/>
                </a:lnTo>
                <a:lnTo>
                  <a:pt x="396" y="652"/>
                </a:lnTo>
                <a:lnTo>
                  <a:pt x="396" y="650"/>
                </a:lnTo>
                <a:lnTo>
                  <a:pt x="392" y="648"/>
                </a:lnTo>
                <a:lnTo>
                  <a:pt x="392" y="646"/>
                </a:lnTo>
                <a:lnTo>
                  <a:pt x="392" y="644"/>
                </a:lnTo>
                <a:lnTo>
                  <a:pt x="392" y="640"/>
                </a:lnTo>
                <a:lnTo>
                  <a:pt x="392" y="638"/>
                </a:lnTo>
                <a:lnTo>
                  <a:pt x="390" y="636"/>
                </a:lnTo>
                <a:lnTo>
                  <a:pt x="392" y="634"/>
                </a:lnTo>
                <a:lnTo>
                  <a:pt x="392" y="632"/>
                </a:lnTo>
                <a:lnTo>
                  <a:pt x="400" y="628"/>
                </a:lnTo>
                <a:lnTo>
                  <a:pt x="404" y="628"/>
                </a:lnTo>
                <a:lnTo>
                  <a:pt x="406" y="626"/>
                </a:lnTo>
                <a:lnTo>
                  <a:pt x="408" y="622"/>
                </a:lnTo>
                <a:lnTo>
                  <a:pt x="412" y="620"/>
                </a:lnTo>
                <a:lnTo>
                  <a:pt x="412" y="618"/>
                </a:lnTo>
                <a:lnTo>
                  <a:pt x="414" y="616"/>
                </a:lnTo>
                <a:lnTo>
                  <a:pt x="414" y="614"/>
                </a:lnTo>
                <a:lnTo>
                  <a:pt x="416" y="612"/>
                </a:lnTo>
                <a:lnTo>
                  <a:pt x="418" y="610"/>
                </a:lnTo>
                <a:lnTo>
                  <a:pt x="420" y="608"/>
                </a:lnTo>
                <a:lnTo>
                  <a:pt x="424" y="608"/>
                </a:lnTo>
                <a:lnTo>
                  <a:pt x="424" y="604"/>
                </a:lnTo>
                <a:lnTo>
                  <a:pt x="426" y="604"/>
                </a:lnTo>
                <a:lnTo>
                  <a:pt x="430" y="602"/>
                </a:lnTo>
                <a:lnTo>
                  <a:pt x="432" y="600"/>
                </a:lnTo>
                <a:lnTo>
                  <a:pt x="436" y="594"/>
                </a:lnTo>
                <a:lnTo>
                  <a:pt x="438" y="590"/>
                </a:lnTo>
                <a:lnTo>
                  <a:pt x="440" y="586"/>
                </a:lnTo>
                <a:lnTo>
                  <a:pt x="440" y="584"/>
                </a:lnTo>
                <a:lnTo>
                  <a:pt x="442" y="582"/>
                </a:lnTo>
                <a:lnTo>
                  <a:pt x="444" y="580"/>
                </a:lnTo>
                <a:lnTo>
                  <a:pt x="448" y="578"/>
                </a:lnTo>
                <a:lnTo>
                  <a:pt x="450" y="578"/>
                </a:lnTo>
                <a:lnTo>
                  <a:pt x="450" y="576"/>
                </a:lnTo>
                <a:lnTo>
                  <a:pt x="452" y="574"/>
                </a:lnTo>
                <a:lnTo>
                  <a:pt x="454" y="572"/>
                </a:lnTo>
                <a:lnTo>
                  <a:pt x="456" y="568"/>
                </a:lnTo>
                <a:lnTo>
                  <a:pt x="458" y="568"/>
                </a:lnTo>
                <a:lnTo>
                  <a:pt x="460" y="566"/>
                </a:lnTo>
                <a:lnTo>
                  <a:pt x="464" y="566"/>
                </a:lnTo>
                <a:lnTo>
                  <a:pt x="466" y="566"/>
                </a:lnTo>
                <a:lnTo>
                  <a:pt x="468" y="564"/>
                </a:lnTo>
                <a:lnTo>
                  <a:pt x="468" y="562"/>
                </a:lnTo>
                <a:lnTo>
                  <a:pt x="470" y="562"/>
                </a:lnTo>
                <a:lnTo>
                  <a:pt x="470" y="560"/>
                </a:lnTo>
                <a:lnTo>
                  <a:pt x="472" y="560"/>
                </a:lnTo>
                <a:lnTo>
                  <a:pt x="476" y="560"/>
                </a:lnTo>
                <a:lnTo>
                  <a:pt x="476" y="558"/>
                </a:lnTo>
                <a:lnTo>
                  <a:pt x="478" y="558"/>
                </a:lnTo>
                <a:lnTo>
                  <a:pt x="482" y="558"/>
                </a:lnTo>
                <a:lnTo>
                  <a:pt x="484" y="556"/>
                </a:lnTo>
                <a:lnTo>
                  <a:pt x="484" y="554"/>
                </a:lnTo>
                <a:lnTo>
                  <a:pt x="486" y="548"/>
                </a:lnTo>
                <a:lnTo>
                  <a:pt x="486" y="546"/>
                </a:lnTo>
                <a:lnTo>
                  <a:pt x="490" y="546"/>
                </a:lnTo>
                <a:lnTo>
                  <a:pt x="492" y="546"/>
                </a:lnTo>
                <a:lnTo>
                  <a:pt x="494" y="544"/>
                </a:lnTo>
                <a:lnTo>
                  <a:pt x="500" y="542"/>
                </a:lnTo>
                <a:lnTo>
                  <a:pt x="504" y="540"/>
                </a:lnTo>
                <a:lnTo>
                  <a:pt x="506" y="538"/>
                </a:lnTo>
                <a:lnTo>
                  <a:pt x="506" y="532"/>
                </a:lnTo>
                <a:lnTo>
                  <a:pt x="506" y="528"/>
                </a:lnTo>
                <a:lnTo>
                  <a:pt x="504" y="522"/>
                </a:lnTo>
                <a:lnTo>
                  <a:pt x="502" y="518"/>
                </a:lnTo>
                <a:lnTo>
                  <a:pt x="500" y="512"/>
                </a:lnTo>
                <a:lnTo>
                  <a:pt x="500" y="510"/>
                </a:lnTo>
                <a:lnTo>
                  <a:pt x="496" y="508"/>
                </a:lnTo>
                <a:lnTo>
                  <a:pt x="494" y="506"/>
                </a:lnTo>
                <a:lnTo>
                  <a:pt x="492" y="504"/>
                </a:lnTo>
                <a:lnTo>
                  <a:pt x="490" y="500"/>
                </a:lnTo>
                <a:lnTo>
                  <a:pt x="488" y="496"/>
                </a:lnTo>
                <a:lnTo>
                  <a:pt x="488" y="494"/>
                </a:lnTo>
                <a:lnTo>
                  <a:pt x="488" y="492"/>
                </a:lnTo>
                <a:lnTo>
                  <a:pt x="488" y="490"/>
                </a:lnTo>
                <a:lnTo>
                  <a:pt x="490" y="488"/>
                </a:lnTo>
                <a:lnTo>
                  <a:pt x="490" y="486"/>
                </a:lnTo>
                <a:lnTo>
                  <a:pt x="492" y="486"/>
                </a:lnTo>
                <a:lnTo>
                  <a:pt x="494" y="482"/>
                </a:lnTo>
                <a:lnTo>
                  <a:pt x="496" y="478"/>
                </a:lnTo>
                <a:lnTo>
                  <a:pt x="500" y="476"/>
                </a:lnTo>
                <a:lnTo>
                  <a:pt x="500" y="474"/>
                </a:lnTo>
                <a:lnTo>
                  <a:pt x="502" y="472"/>
                </a:lnTo>
                <a:lnTo>
                  <a:pt x="506" y="470"/>
                </a:lnTo>
                <a:lnTo>
                  <a:pt x="510" y="466"/>
                </a:lnTo>
                <a:lnTo>
                  <a:pt x="516" y="464"/>
                </a:lnTo>
                <a:lnTo>
                  <a:pt x="518" y="458"/>
                </a:lnTo>
                <a:lnTo>
                  <a:pt x="522" y="452"/>
                </a:lnTo>
                <a:lnTo>
                  <a:pt x="522" y="450"/>
                </a:lnTo>
                <a:lnTo>
                  <a:pt x="522" y="448"/>
                </a:lnTo>
                <a:lnTo>
                  <a:pt x="524" y="448"/>
                </a:lnTo>
                <a:lnTo>
                  <a:pt x="524" y="442"/>
                </a:lnTo>
                <a:lnTo>
                  <a:pt x="526" y="440"/>
                </a:lnTo>
                <a:lnTo>
                  <a:pt x="528" y="438"/>
                </a:lnTo>
                <a:lnTo>
                  <a:pt x="530" y="438"/>
                </a:lnTo>
                <a:lnTo>
                  <a:pt x="534" y="436"/>
                </a:lnTo>
                <a:lnTo>
                  <a:pt x="536" y="436"/>
                </a:lnTo>
                <a:lnTo>
                  <a:pt x="538" y="438"/>
                </a:lnTo>
                <a:lnTo>
                  <a:pt x="540" y="438"/>
                </a:lnTo>
                <a:lnTo>
                  <a:pt x="542" y="438"/>
                </a:lnTo>
                <a:lnTo>
                  <a:pt x="544" y="438"/>
                </a:lnTo>
                <a:lnTo>
                  <a:pt x="548" y="438"/>
                </a:lnTo>
                <a:lnTo>
                  <a:pt x="552" y="438"/>
                </a:lnTo>
                <a:lnTo>
                  <a:pt x="554" y="436"/>
                </a:lnTo>
                <a:lnTo>
                  <a:pt x="556" y="434"/>
                </a:lnTo>
                <a:lnTo>
                  <a:pt x="558" y="432"/>
                </a:lnTo>
                <a:lnTo>
                  <a:pt x="558" y="428"/>
                </a:lnTo>
                <a:lnTo>
                  <a:pt x="558" y="424"/>
                </a:lnTo>
                <a:lnTo>
                  <a:pt x="556" y="422"/>
                </a:lnTo>
                <a:lnTo>
                  <a:pt x="556" y="420"/>
                </a:lnTo>
                <a:lnTo>
                  <a:pt x="554" y="418"/>
                </a:lnTo>
                <a:lnTo>
                  <a:pt x="556" y="416"/>
                </a:lnTo>
                <a:lnTo>
                  <a:pt x="556" y="414"/>
                </a:lnTo>
                <a:lnTo>
                  <a:pt x="556" y="412"/>
                </a:lnTo>
                <a:lnTo>
                  <a:pt x="558" y="402"/>
                </a:lnTo>
                <a:lnTo>
                  <a:pt x="560" y="398"/>
                </a:lnTo>
                <a:lnTo>
                  <a:pt x="562" y="394"/>
                </a:lnTo>
                <a:lnTo>
                  <a:pt x="564" y="392"/>
                </a:lnTo>
                <a:lnTo>
                  <a:pt x="564" y="388"/>
                </a:lnTo>
                <a:lnTo>
                  <a:pt x="564" y="386"/>
                </a:lnTo>
                <a:lnTo>
                  <a:pt x="568" y="384"/>
                </a:lnTo>
                <a:lnTo>
                  <a:pt x="570" y="382"/>
                </a:lnTo>
                <a:lnTo>
                  <a:pt x="570" y="380"/>
                </a:lnTo>
                <a:lnTo>
                  <a:pt x="572" y="378"/>
                </a:lnTo>
                <a:lnTo>
                  <a:pt x="574" y="376"/>
                </a:lnTo>
                <a:lnTo>
                  <a:pt x="576" y="370"/>
                </a:lnTo>
                <a:lnTo>
                  <a:pt x="576" y="368"/>
                </a:lnTo>
                <a:lnTo>
                  <a:pt x="578" y="368"/>
                </a:lnTo>
                <a:lnTo>
                  <a:pt x="580" y="364"/>
                </a:lnTo>
                <a:lnTo>
                  <a:pt x="582" y="362"/>
                </a:lnTo>
                <a:lnTo>
                  <a:pt x="586" y="360"/>
                </a:lnTo>
                <a:lnTo>
                  <a:pt x="586" y="358"/>
                </a:lnTo>
                <a:lnTo>
                  <a:pt x="588" y="356"/>
                </a:lnTo>
                <a:lnTo>
                  <a:pt x="588" y="352"/>
                </a:lnTo>
                <a:lnTo>
                  <a:pt x="590" y="350"/>
                </a:lnTo>
                <a:lnTo>
                  <a:pt x="590" y="348"/>
                </a:lnTo>
                <a:lnTo>
                  <a:pt x="590" y="346"/>
                </a:lnTo>
                <a:lnTo>
                  <a:pt x="590" y="344"/>
                </a:lnTo>
                <a:lnTo>
                  <a:pt x="590" y="342"/>
                </a:lnTo>
                <a:lnTo>
                  <a:pt x="590" y="340"/>
                </a:lnTo>
                <a:lnTo>
                  <a:pt x="590" y="334"/>
                </a:lnTo>
                <a:lnTo>
                  <a:pt x="590" y="332"/>
                </a:lnTo>
                <a:lnTo>
                  <a:pt x="592" y="330"/>
                </a:lnTo>
                <a:lnTo>
                  <a:pt x="592" y="326"/>
                </a:lnTo>
                <a:lnTo>
                  <a:pt x="592" y="322"/>
                </a:lnTo>
                <a:lnTo>
                  <a:pt x="592" y="316"/>
                </a:lnTo>
                <a:lnTo>
                  <a:pt x="590" y="314"/>
                </a:lnTo>
                <a:lnTo>
                  <a:pt x="588" y="310"/>
                </a:lnTo>
                <a:lnTo>
                  <a:pt x="586" y="308"/>
                </a:lnTo>
                <a:lnTo>
                  <a:pt x="582" y="306"/>
                </a:lnTo>
                <a:lnTo>
                  <a:pt x="582" y="304"/>
                </a:lnTo>
                <a:lnTo>
                  <a:pt x="586" y="302"/>
                </a:lnTo>
                <a:lnTo>
                  <a:pt x="586" y="296"/>
                </a:lnTo>
                <a:lnTo>
                  <a:pt x="586" y="294"/>
                </a:lnTo>
                <a:lnTo>
                  <a:pt x="586" y="292"/>
                </a:lnTo>
                <a:lnTo>
                  <a:pt x="586" y="288"/>
                </a:lnTo>
                <a:lnTo>
                  <a:pt x="586" y="286"/>
                </a:lnTo>
                <a:lnTo>
                  <a:pt x="586" y="284"/>
                </a:lnTo>
                <a:lnTo>
                  <a:pt x="586" y="280"/>
                </a:lnTo>
                <a:lnTo>
                  <a:pt x="588" y="278"/>
                </a:lnTo>
                <a:lnTo>
                  <a:pt x="590" y="276"/>
                </a:lnTo>
                <a:lnTo>
                  <a:pt x="592" y="274"/>
                </a:lnTo>
                <a:lnTo>
                  <a:pt x="592" y="272"/>
                </a:lnTo>
                <a:lnTo>
                  <a:pt x="594" y="270"/>
                </a:lnTo>
                <a:lnTo>
                  <a:pt x="596" y="268"/>
                </a:lnTo>
                <a:lnTo>
                  <a:pt x="596" y="266"/>
                </a:lnTo>
                <a:lnTo>
                  <a:pt x="596" y="262"/>
                </a:lnTo>
                <a:lnTo>
                  <a:pt x="598" y="260"/>
                </a:lnTo>
                <a:lnTo>
                  <a:pt x="600" y="260"/>
                </a:lnTo>
                <a:lnTo>
                  <a:pt x="604" y="260"/>
                </a:lnTo>
                <a:lnTo>
                  <a:pt x="606" y="260"/>
                </a:lnTo>
                <a:lnTo>
                  <a:pt x="608" y="260"/>
                </a:lnTo>
                <a:lnTo>
                  <a:pt x="610" y="260"/>
                </a:lnTo>
                <a:lnTo>
                  <a:pt x="612" y="258"/>
                </a:lnTo>
                <a:lnTo>
                  <a:pt x="612" y="256"/>
                </a:lnTo>
                <a:lnTo>
                  <a:pt x="614" y="254"/>
                </a:lnTo>
                <a:lnTo>
                  <a:pt x="612" y="252"/>
                </a:lnTo>
                <a:lnTo>
                  <a:pt x="610" y="248"/>
                </a:lnTo>
                <a:lnTo>
                  <a:pt x="610" y="244"/>
                </a:lnTo>
                <a:lnTo>
                  <a:pt x="608" y="242"/>
                </a:lnTo>
                <a:lnTo>
                  <a:pt x="608" y="240"/>
                </a:lnTo>
                <a:lnTo>
                  <a:pt x="606" y="238"/>
                </a:lnTo>
                <a:lnTo>
                  <a:pt x="608" y="236"/>
                </a:lnTo>
                <a:lnTo>
                  <a:pt x="610" y="234"/>
                </a:lnTo>
                <a:lnTo>
                  <a:pt x="610" y="232"/>
                </a:lnTo>
                <a:lnTo>
                  <a:pt x="608" y="230"/>
                </a:lnTo>
                <a:lnTo>
                  <a:pt x="608" y="226"/>
                </a:lnTo>
                <a:lnTo>
                  <a:pt x="608" y="222"/>
                </a:lnTo>
                <a:lnTo>
                  <a:pt x="608" y="220"/>
                </a:lnTo>
                <a:lnTo>
                  <a:pt x="608" y="218"/>
                </a:lnTo>
                <a:lnTo>
                  <a:pt x="608" y="216"/>
                </a:lnTo>
                <a:lnTo>
                  <a:pt x="608" y="214"/>
                </a:lnTo>
                <a:lnTo>
                  <a:pt x="610" y="212"/>
                </a:lnTo>
                <a:lnTo>
                  <a:pt x="610" y="208"/>
                </a:lnTo>
                <a:lnTo>
                  <a:pt x="610" y="206"/>
                </a:lnTo>
                <a:lnTo>
                  <a:pt x="612" y="206"/>
                </a:lnTo>
                <a:lnTo>
                  <a:pt x="612" y="204"/>
                </a:lnTo>
                <a:lnTo>
                  <a:pt x="614" y="204"/>
                </a:lnTo>
                <a:lnTo>
                  <a:pt x="614" y="202"/>
                </a:lnTo>
                <a:lnTo>
                  <a:pt x="614" y="200"/>
                </a:lnTo>
                <a:lnTo>
                  <a:pt x="614" y="198"/>
                </a:lnTo>
                <a:lnTo>
                  <a:pt x="614" y="196"/>
                </a:lnTo>
                <a:lnTo>
                  <a:pt x="614" y="194"/>
                </a:lnTo>
                <a:lnTo>
                  <a:pt x="614" y="190"/>
                </a:lnTo>
                <a:lnTo>
                  <a:pt x="616" y="188"/>
                </a:lnTo>
                <a:lnTo>
                  <a:pt x="620" y="184"/>
                </a:lnTo>
                <a:lnTo>
                  <a:pt x="622" y="182"/>
                </a:lnTo>
                <a:lnTo>
                  <a:pt x="622" y="180"/>
                </a:lnTo>
                <a:lnTo>
                  <a:pt x="622" y="178"/>
                </a:lnTo>
                <a:lnTo>
                  <a:pt x="624" y="172"/>
                </a:lnTo>
                <a:lnTo>
                  <a:pt x="626" y="170"/>
                </a:lnTo>
                <a:lnTo>
                  <a:pt x="628" y="168"/>
                </a:lnTo>
                <a:lnTo>
                  <a:pt x="630" y="168"/>
                </a:lnTo>
                <a:lnTo>
                  <a:pt x="634" y="152"/>
                </a:lnTo>
                <a:lnTo>
                  <a:pt x="644" y="150"/>
                </a:lnTo>
                <a:close/>
              </a:path>
            </a:pathLst>
          </a:custGeom>
          <a:solidFill>
            <a:srgbClr val="F1B728"/>
          </a:solidFill>
          <a:ln w="6350">
            <a:solidFill>
              <a:schemeClr val="tx1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457200"/>
            <a:endParaRPr lang="en-US" kern="0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74" name="Freeform 52">
            <a:extLst>
              <a:ext uri="{FF2B5EF4-FFF2-40B4-BE49-F238E27FC236}">
                <a16:creationId xmlns:a16="http://schemas.microsoft.com/office/drawing/2014/main" id="{9A5F526B-6B3B-A666-31A0-C01861ED78E5}"/>
              </a:ext>
            </a:extLst>
          </p:cNvPr>
          <p:cNvSpPr>
            <a:spLocks/>
          </p:cNvSpPr>
          <p:nvPr/>
        </p:nvSpPr>
        <p:spPr bwMode="auto">
          <a:xfrm>
            <a:off x="5651500" y="2392680"/>
            <a:ext cx="668020" cy="591820"/>
          </a:xfrm>
          <a:custGeom>
            <a:avLst/>
            <a:gdLst>
              <a:gd name="T0" fmla="*/ 2147483646 w 526"/>
              <a:gd name="T1" fmla="*/ 2147483646 h 466"/>
              <a:gd name="T2" fmla="*/ 2147483646 w 526"/>
              <a:gd name="T3" fmla="*/ 2147483646 h 466"/>
              <a:gd name="T4" fmla="*/ 2147483646 w 526"/>
              <a:gd name="T5" fmla="*/ 2147483646 h 466"/>
              <a:gd name="T6" fmla="*/ 2147483646 w 526"/>
              <a:gd name="T7" fmla="*/ 2147483646 h 466"/>
              <a:gd name="T8" fmla="*/ 2147483646 w 526"/>
              <a:gd name="T9" fmla="*/ 2147483646 h 466"/>
              <a:gd name="T10" fmla="*/ 2147483646 w 526"/>
              <a:gd name="T11" fmla="*/ 2147483646 h 466"/>
              <a:gd name="T12" fmla="*/ 2147483646 w 526"/>
              <a:gd name="T13" fmla="*/ 2147483646 h 466"/>
              <a:gd name="T14" fmla="*/ 2147483646 w 526"/>
              <a:gd name="T15" fmla="*/ 2147483646 h 466"/>
              <a:gd name="T16" fmla="*/ 2147483646 w 526"/>
              <a:gd name="T17" fmla="*/ 2147483646 h 466"/>
              <a:gd name="T18" fmla="*/ 2147483646 w 526"/>
              <a:gd name="T19" fmla="*/ 2147483646 h 466"/>
              <a:gd name="T20" fmla="*/ 2147483646 w 526"/>
              <a:gd name="T21" fmla="*/ 2147483646 h 466"/>
              <a:gd name="T22" fmla="*/ 2147483646 w 526"/>
              <a:gd name="T23" fmla="*/ 2147483646 h 466"/>
              <a:gd name="T24" fmla="*/ 2147483646 w 526"/>
              <a:gd name="T25" fmla="*/ 2147483646 h 466"/>
              <a:gd name="T26" fmla="*/ 2147483646 w 526"/>
              <a:gd name="T27" fmla="*/ 2147483646 h 466"/>
              <a:gd name="T28" fmla="*/ 2147483646 w 526"/>
              <a:gd name="T29" fmla="*/ 2147483646 h 466"/>
              <a:gd name="T30" fmla="*/ 2147483646 w 526"/>
              <a:gd name="T31" fmla="*/ 2147483646 h 466"/>
              <a:gd name="T32" fmla="*/ 2147483646 w 526"/>
              <a:gd name="T33" fmla="*/ 2147483646 h 466"/>
              <a:gd name="T34" fmla="*/ 2147483646 w 526"/>
              <a:gd name="T35" fmla="*/ 2147483646 h 466"/>
              <a:gd name="T36" fmla="*/ 2147483646 w 526"/>
              <a:gd name="T37" fmla="*/ 2147483646 h 466"/>
              <a:gd name="T38" fmla="*/ 2147483646 w 526"/>
              <a:gd name="T39" fmla="*/ 2147483646 h 466"/>
              <a:gd name="T40" fmla="*/ 2147483646 w 526"/>
              <a:gd name="T41" fmla="*/ 0 h 466"/>
              <a:gd name="T42" fmla="*/ 2147483646 w 526"/>
              <a:gd name="T43" fmla="*/ 2147483646 h 466"/>
              <a:gd name="T44" fmla="*/ 2147483646 w 526"/>
              <a:gd name="T45" fmla="*/ 2147483646 h 466"/>
              <a:gd name="T46" fmla="*/ 2147483646 w 526"/>
              <a:gd name="T47" fmla="*/ 2147483646 h 466"/>
              <a:gd name="T48" fmla="*/ 2147483646 w 526"/>
              <a:gd name="T49" fmla="*/ 2147483646 h 466"/>
              <a:gd name="T50" fmla="*/ 2147483646 w 526"/>
              <a:gd name="T51" fmla="*/ 2147483646 h 466"/>
              <a:gd name="T52" fmla="*/ 2147483646 w 526"/>
              <a:gd name="T53" fmla="*/ 2147483646 h 466"/>
              <a:gd name="T54" fmla="*/ 2147483646 w 526"/>
              <a:gd name="T55" fmla="*/ 2147483646 h 466"/>
              <a:gd name="T56" fmla="*/ 2147483646 w 526"/>
              <a:gd name="T57" fmla="*/ 2147483646 h 466"/>
              <a:gd name="T58" fmla="*/ 2147483646 w 526"/>
              <a:gd name="T59" fmla="*/ 2147483646 h 466"/>
              <a:gd name="T60" fmla="*/ 2147483646 w 526"/>
              <a:gd name="T61" fmla="*/ 2147483646 h 466"/>
              <a:gd name="T62" fmla="*/ 2147483646 w 526"/>
              <a:gd name="T63" fmla="*/ 2147483646 h 466"/>
              <a:gd name="T64" fmla="*/ 2147483646 w 526"/>
              <a:gd name="T65" fmla="*/ 2147483646 h 466"/>
              <a:gd name="T66" fmla="*/ 2147483646 w 526"/>
              <a:gd name="T67" fmla="*/ 2147483646 h 466"/>
              <a:gd name="T68" fmla="*/ 2147483646 w 526"/>
              <a:gd name="T69" fmla="*/ 2147483646 h 466"/>
              <a:gd name="T70" fmla="*/ 2147483646 w 526"/>
              <a:gd name="T71" fmla="*/ 2147483646 h 466"/>
              <a:gd name="T72" fmla="*/ 2147483646 w 526"/>
              <a:gd name="T73" fmla="*/ 2147483646 h 466"/>
              <a:gd name="T74" fmla="*/ 2147483646 w 526"/>
              <a:gd name="T75" fmla="*/ 2147483646 h 466"/>
              <a:gd name="T76" fmla="*/ 2147483646 w 526"/>
              <a:gd name="T77" fmla="*/ 2147483646 h 466"/>
              <a:gd name="T78" fmla="*/ 2147483646 w 526"/>
              <a:gd name="T79" fmla="*/ 2147483646 h 466"/>
              <a:gd name="T80" fmla="*/ 2147483646 w 526"/>
              <a:gd name="T81" fmla="*/ 2147483646 h 466"/>
              <a:gd name="T82" fmla="*/ 2147483646 w 526"/>
              <a:gd name="T83" fmla="*/ 2147483646 h 466"/>
              <a:gd name="T84" fmla="*/ 2147483646 w 526"/>
              <a:gd name="T85" fmla="*/ 2147483646 h 466"/>
              <a:gd name="T86" fmla="*/ 2147483646 w 526"/>
              <a:gd name="T87" fmla="*/ 2147483646 h 466"/>
              <a:gd name="T88" fmla="*/ 2147483646 w 526"/>
              <a:gd name="T89" fmla="*/ 2147483646 h 466"/>
              <a:gd name="T90" fmla="*/ 2147483646 w 526"/>
              <a:gd name="T91" fmla="*/ 2147483646 h 466"/>
              <a:gd name="T92" fmla="*/ 2147483646 w 526"/>
              <a:gd name="T93" fmla="*/ 2147483646 h 466"/>
              <a:gd name="T94" fmla="*/ 2147483646 w 526"/>
              <a:gd name="T95" fmla="*/ 2147483646 h 466"/>
              <a:gd name="T96" fmla="*/ 2147483646 w 526"/>
              <a:gd name="T97" fmla="*/ 2147483646 h 466"/>
              <a:gd name="T98" fmla="*/ 2147483646 w 526"/>
              <a:gd name="T99" fmla="*/ 2147483646 h 466"/>
              <a:gd name="T100" fmla="*/ 2147483646 w 526"/>
              <a:gd name="T101" fmla="*/ 2147483646 h 466"/>
              <a:gd name="T102" fmla="*/ 2147483646 w 526"/>
              <a:gd name="T103" fmla="*/ 2147483646 h 466"/>
              <a:gd name="T104" fmla="*/ 2147483646 w 526"/>
              <a:gd name="T105" fmla="*/ 2147483646 h 466"/>
              <a:gd name="T106" fmla="*/ 2147483646 w 526"/>
              <a:gd name="T107" fmla="*/ 2147483646 h 466"/>
              <a:gd name="T108" fmla="*/ 2147483646 w 526"/>
              <a:gd name="T109" fmla="*/ 2147483646 h 466"/>
              <a:gd name="T110" fmla="*/ 2147483646 w 526"/>
              <a:gd name="T111" fmla="*/ 2147483646 h 466"/>
              <a:gd name="T112" fmla="*/ 2147483646 w 526"/>
              <a:gd name="T113" fmla="*/ 2147483646 h 466"/>
              <a:gd name="T114" fmla="*/ 2147483646 w 526"/>
              <a:gd name="T115" fmla="*/ 2147483646 h 466"/>
              <a:gd name="T116" fmla="*/ 2147483646 w 526"/>
              <a:gd name="T117" fmla="*/ 2147483646 h 466"/>
              <a:gd name="T118" fmla="*/ 2147483646 w 526"/>
              <a:gd name="T119" fmla="*/ 2147483646 h 466"/>
              <a:gd name="T120" fmla="*/ 2147483646 w 526"/>
              <a:gd name="T121" fmla="*/ 2147483646 h 466"/>
              <a:gd name="T122" fmla="*/ 2147483646 w 526"/>
              <a:gd name="T123" fmla="*/ 2147483646 h 466"/>
              <a:gd name="T124" fmla="*/ 2147483646 w 526"/>
              <a:gd name="T125" fmla="*/ 2147483646 h 46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60000 65536"/>
              <a:gd name="T187" fmla="*/ 0 60000 65536"/>
              <a:gd name="T188" fmla="*/ 0 60000 65536"/>
              <a:gd name="T189" fmla="*/ 0 w 526"/>
              <a:gd name="T190" fmla="*/ 0 h 466"/>
              <a:gd name="T191" fmla="*/ 526 w 526"/>
              <a:gd name="T192" fmla="*/ 466 h 466"/>
            </a:gdLst>
            <a:ahLst/>
            <a:cxnLst>
              <a:cxn ang="T126">
                <a:pos x="T0" y="T1"/>
              </a:cxn>
              <a:cxn ang="T127">
                <a:pos x="T2" y="T3"/>
              </a:cxn>
              <a:cxn ang="T128">
                <a:pos x="T4" y="T5"/>
              </a:cxn>
              <a:cxn ang="T129">
                <a:pos x="T6" y="T7"/>
              </a:cxn>
              <a:cxn ang="T130">
                <a:pos x="T8" y="T9"/>
              </a:cxn>
              <a:cxn ang="T131">
                <a:pos x="T10" y="T11"/>
              </a:cxn>
              <a:cxn ang="T132">
                <a:pos x="T12" y="T13"/>
              </a:cxn>
              <a:cxn ang="T133">
                <a:pos x="T14" y="T15"/>
              </a:cxn>
              <a:cxn ang="T134">
                <a:pos x="T16" y="T17"/>
              </a:cxn>
              <a:cxn ang="T135">
                <a:pos x="T18" y="T19"/>
              </a:cxn>
              <a:cxn ang="T136">
                <a:pos x="T20" y="T21"/>
              </a:cxn>
              <a:cxn ang="T137">
                <a:pos x="T22" y="T23"/>
              </a:cxn>
              <a:cxn ang="T138">
                <a:pos x="T24" y="T25"/>
              </a:cxn>
              <a:cxn ang="T139">
                <a:pos x="T26" y="T27"/>
              </a:cxn>
              <a:cxn ang="T140">
                <a:pos x="T28" y="T29"/>
              </a:cxn>
              <a:cxn ang="T141">
                <a:pos x="T30" y="T31"/>
              </a:cxn>
              <a:cxn ang="T142">
                <a:pos x="T32" y="T33"/>
              </a:cxn>
              <a:cxn ang="T143">
                <a:pos x="T34" y="T35"/>
              </a:cxn>
              <a:cxn ang="T144">
                <a:pos x="T36" y="T37"/>
              </a:cxn>
              <a:cxn ang="T145">
                <a:pos x="T38" y="T39"/>
              </a:cxn>
              <a:cxn ang="T146">
                <a:pos x="T40" y="T41"/>
              </a:cxn>
              <a:cxn ang="T147">
                <a:pos x="T42" y="T43"/>
              </a:cxn>
              <a:cxn ang="T148">
                <a:pos x="T44" y="T45"/>
              </a:cxn>
              <a:cxn ang="T149">
                <a:pos x="T46" y="T47"/>
              </a:cxn>
              <a:cxn ang="T150">
                <a:pos x="T48" y="T49"/>
              </a:cxn>
              <a:cxn ang="T151">
                <a:pos x="T50" y="T51"/>
              </a:cxn>
              <a:cxn ang="T152">
                <a:pos x="T52" y="T53"/>
              </a:cxn>
              <a:cxn ang="T153">
                <a:pos x="T54" y="T55"/>
              </a:cxn>
              <a:cxn ang="T154">
                <a:pos x="T56" y="T57"/>
              </a:cxn>
              <a:cxn ang="T155">
                <a:pos x="T58" y="T59"/>
              </a:cxn>
              <a:cxn ang="T156">
                <a:pos x="T60" y="T61"/>
              </a:cxn>
              <a:cxn ang="T157">
                <a:pos x="T62" y="T63"/>
              </a:cxn>
              <a:cxn ang="T158">
                <a:pos x="T64" y="T65"/>
              </a:cxn>
              <a:cxn ang="T159">
                <a:pos x="T66" y="T67"/>
              </a:cxn>
              <a:cxn ang="T160">
                <a:pos x="T68" y="T69"/>
              </a:cxn>
              <a:cxn ang="T161">
                <a:pos x="T70" y="T71"/>
              </a:cxn>
              <a:cxn ang="T162">
                <a:pos x="T72" y="T73"/>
              </a:cxn>
              <a:cxn ang="T163">
                <a:pos x="T74" y="T75"/>
              </a:cxn>
              <a:cxn ang="T164">
                <a:pos x="T76" y="T77"/>
              </a:cxn>
              <a:cxn ang="T165">
                <a:pos x="T78" y="T79"/>
              </a:cxn>
              <a:cxn ang="T166">
                <a:pos x="T80" y="T81"/>
              </a:cxn>
              <a:cxn ang="T167">
                <a:pos x="T82" y="T83"/>
              </a:cxn>
              <a:cxn ang="T168">
                <a:pos x="T84" y="T85"/>
              </a:cxn>
              <a:cxn ang="T169">
                <a:pos x="T86" y="T87"/>
              </a:cxn>
              <a:cxn ang="T170">
                <a:pos x="T88" y="T89"/>
              </a:cxn>
              <a:cxn ang="T171">
                <a:pos x="T90" y="T91"/>
              </a:cxn>
              <a:cxn ang="T172">
                <a:pos x="T92" y="T93"/>
              </a:cxn>
              <a:cxn ang="T173">
                <a:pos x="T94" y="T95"/>
              </a:cxn>
              <a:cxn ang="T174">
                <a:pos x="T96" y="T97"/>
              </a:cxn>
              <a:cxn ang="T175">
                <a:pos x="T98" y="T99"/>
              </a:cxn>
              <a:cxn ang="T176">
                <a:pos x="T100" y="T101"/>
              </a:cxn>
              <a:cxn ang="T177">
                <a:pos x="T102" y="T103"/>
              </a:cxn>
              <a:cxn ang="T178">
                <a:pos x="T104" y="T105"/>
              </a:cxn>
              <a:cxn ang="T179">
                <a:pos x="T106" y="T107"/>
              </a:cxn>
              <a:cxn ang="T180">
                <a:pos x="T108" y="T109"/>
              </a:cxn>
              <a:cxn ang="T181">
                <a:pos x="T110" y="T111"/>
              </a:cxn>
              <a:cxn ang="T182">
                <a:pos x="T112" y="T113"/>
              </a:cxn>
              <a:cxn ang="T183">
                <a:pos x="T114" y="T115"/>
              </a:cxn>
              <a:cxn ang="T184">
                <a:pos x="T116" y="T117"/>
              </a:cxn>
              <a:cxn ang="T185">
                <a:pos x="T118" y="T119"/>
              </a:cxn>
              <a:cxn ang="T186">
                <a:pos x="T120" y="T121"/>
              </a:cxn>
              <a:cxn ang="T187">
                <a:pos x="T122" y="T123"/>
              </a:cxn>
              <a:cxn ang="T188">
                <a:pos x="T124" y="T125"/>
              </a:cxn>
            </a:cxnLst>
            <a:rect l="T189" t="T190" r="T191" b="T192"/>
            <a:pathLst>
              <a:path w="526" h="466">
                <a:moveTo>
                  <a:pt x="32" y="378"/>
                </a:moveTo>
                <a:lnTo>
                  <a:pt x="82" y="382"/>
                </a:lnTo>
                <a:lnTo>
                  <a:pt x="106" y="386"/>
                </a:lnTo>
                <a:lnTo>
                  <a:pt x="122" y="386"/>
                </a:lnTo>
                <a:lnTo>
                  <a:pt x="136" y="396"/>
                </a:lnTo>
                <a:lnTo>
                  <a:pt x="156" y="408"/>
                </a:lnTo>
                <a:lnTo>
                  <a:pt x="238" y="458"/>
                </a:lnTo>
                <a:lnTo>
                  <a:pt x="252" y="466"/>
                </a:lnTo>
                <a:lnTo>
                  <a:pt x="254" y="462"/>
                </a:lnTo>
                <a:lnTo>
                  <a:pt x="260" y="460"/>
                </a:lnTo>
                <a:lnTo>
                  <a:pt x="270" y="448"/>
                </a:lnTo>
                <a:lnTo>
                  <a:pt x="276" y="442"/>
                </a:lnTo>
                <a:lnTo>
                  <a:pt x="282" y="436"/>
                </a:lnTo>
                <a:lnTo>
                  <a:pt x="296" y="428"/>
                </a:lnTo>
                <a:lnTo>
                  <a:pt x="304" y="418"/>
                </a:lnTo>
                <a:lnTo>
                  <a:pt x="306" y="408"/>
                </a:lnTo>
                <a:lnTo>
                  <a:pt x="308" y="404"/>
                </a:lnTo>
                <a:lnTo>
                  <a:pt x="316" y="392"/>
                </a:lnTo>
                <a:lnTo>
                  <a:pt x="328" y="380"/>
                </a:lnTo>
                <a:lnTo>
                  <a:pt x="338" y="368"/>
                </a:lnTo>
                <a:lnTo>
                  <a:pt x="342" y="362"/>
                </a:lnTo>
                <a:lnTo>
                  <a:pt x="348" y="362"/>
                </a:lnTo>
                <a:lnTo>
                  <a:pt x="358" y="362"/>
                </a:lnTo>
                <a:lnTo>
                  <a:pt x="362" y="360"/>
                </a:lnTo>
                <a:lnTo>
                  <a:pt x="368" y="354"/>
                </a:lnTo>
                <a:lnTo>
                  <a:pt x="374" y="344"/>
                </a:lnTo>
                <a:lnTo>
                  <a:pt x="374" y="340"/>
                </a:lnTo>
                <a:lnTo>
                  <a:pt x="376" y="336"/>
                </a:lnTo>
                <a:lnTo>
                  <a:pt x="380" y="336"/>
                </a:lnTo>
                <a:lnTo>
                  <a:pt x="386" y="328"/>
                </a:lnTo>
                <a:lnTo>
                  <a:pt x="386" y="324"/>
                </a:lnTo>
                <a:lnTo>
                  <a:pt x="394" y="318"/>
                </a:lnTo>
                <a:lnTo>
                  <a:pt x="398" y="308"/>
                </a:lnTo>
                <a:lnTo>
                  <a:pt x="410" y="288"/>
                </a:lnTo>
                <a:lnTo>
                  <a:pt x="416" y="266"/>
                </a:lnTo>
                <a:lnTo>
                  <a:pt x="418" y="264"/>
                </a:lnTo>
                <a:lnTo>
                  <a:pt x="418" y="256"/>
                </a:lnTo>
                <a:lnTo>
                  <a:pt x="422" y="248"/>
                </a:lnTo>
                <a:lnTo>
                  <a:pt x="428" y="238"/>
                </a:lnTo>
                <a:lnTo>
                  <a:pt x="432" y="230"/>
                </a:lnTo>
                <a:lnTo>
                  <a:pt x="434" y="228"/>
                </a:lnTo>
                <a:lnTo>
                  <a:pt x="438" y="228"/>
                </a:lnTo>
                <a:lnTo>
                  <a:pt x="444" y="232"/>
                </a:lnTo>
                <a:lnTo>
                  <a:pt x="446" y="230"/>
                </a:lnTo>
                <a:lnTo>
                  <a:pt x="450" y="226"/>
                </a:lnTo>
                <a:lnTo>
                  <a:pt x="454" y="220"/>
                </a:lnTo>
                <a:lnTo>
                  <a:pt x="454" y="218"/>
                </a:lnTo>
                <a:lnTo>
                  <a:pt x="460" y="218"/>
                </a:lnTo>
                <a:lnTo>
                  <a:pt x="462" y="216"/>
                </a:lnTo>
                <a:lnTo>
                  <a:pt x="462" y="214"/>
                </a:lnTo>
                <a:lnTo>
                  <a:pt x="462" y="210"/>
                </a:lnTo>
                <a:lnTo>
                  <a:pt x="466" y="208"/>
                </a:lnTo>
                <a:lnTo>
                  <a:pt x="468" y="210"/>
                </a:lnTo>
                <a:lnTo>
                  <a:pt x="470" y="208"/>
                </a:lnTo>
                <a:lnTo>
                  <a:pt x="474" y="200"/>
                </a:lnTo>
                <a:lnTo>
                  <a:pt x="484" y="182"/>
                </a:lnTo>
                <a:lnTo>
                  <a:pt x="488" y="174"/>
                </a:lnTo>
                <a:lnTo>
                  <a:pt x="496" y="170"/>
                </a:lnTo>
                <a:lnTo>
                  <a:pt x="500" y="164"/>
                </a:lnTo>
                <a:lnTo>
                  <a:pt x="504" y="162"/>
                </a:lnTo>
                <a:lnTo>
                  <a:pt x="526" y="124"/>
                </a:lnTo>
                <a:lnTo>
                  <a:pt x="524" y="122"/>
                </a:lnTo>
                <a:lnTo>
                  <a:pt x="522" y="122"/>
                </a:lnTo>
                <a:lnTo>
                  <a:pt x="520" y="122"/>
                </a:lnTo>
                <a:lnTo>
                  <a:pt x="520" y="120"/>
                </a:lnTo>
                <a:lnTo>
                  <a:pt x="518" y="120"/>
                </a:lnTo>
                <a:lnTo>
                  <a:pt x="516" y="120"/>
                </a:lnTo>
                <a:lnTo>
                  <a:pt x="508" y="118"/>
                </a:lnTo>
                <a:lnTo>
                  <a:pt x="508" y="116"/>
                </a:lnTo>
                <a:lnTo>
                  <a:pt x="506" y="116"/>
                </a:lnTo>
                <a:lnTo>
                  <a:pt x="504" y="116"/>
                </a:lnTo>
                <a:lnTo>
                  <a:pt x="504" y="112"/>
                </a:lnTo>
                <a:lnTo>
                  <a:pt x="502" y="112"/>
                </a:lnTo>
                <a:lnTo>
                  <a:pt x="502" y="110"/>
                </a:lnTo>
                <a:lnTo>
                  <a:pt x="500" y="108"/>
                </a:lnTo>
                <a:lnTo>
                  <a:pt x="498" y="108"/>
                </a:lnTo>
                <a:lnTo>
                  <a:pt x="496" y="106"/>
                </a:lnTo>
                <a:lnTo>
                  <a:pt x="490" y="104"/>
                </a:lnTo>
                <a:lnTo>
                  <a:pt x="488" y="104"/>
                </a:lnTo>
                <a:lnTo>
                  <a:pt x="486" y="102"/>
                </a:lnTo>
                <a:lnTo>
                  <a:pt x="484" y="102"/>
                </a:lnTo>
                <a:lnTo>
                  <a:pt x="482" y="100"/>
                </a:lnTo>
                <a:lnTo>
                  <a:pt x="480" y="98"/>
                </a:lnTo>
                <a:lnTo>
                  <a:pt x="478" y="98"/>
                </a:lnTo>
                <a:lnTo>
                  <a:pt x="474" y="94"/>
                </a:lnTo>
                <a:lnTo>
                  <a:pt x="470" y="92"/>
                </a:lnTo>
                <a:lnTo>
                  <a:pt x="468" y="88"/>
                </a:lnTo>
                <a:lnTo>
                  <a:pt x="464" y="82"/>
                </a:lnTo>
                <a:lnTo>
                  <a:pt x="464" y="80"/>
                </a:lnTo>
                <a:lnTo>
                  <a:pt x="462" y="74"/>
                </a:lnTo>
                <a:lnTo>
                  <a:pt x="462" y="72"/>
                </a:lnTo>
                <a:lnTo>
                  <a:pt x="462" y="70"/>
                </a:lnTo>
                <a:lnTo>
                  <a:pt x="460" y="70"/>
                </a:lnTo>
                <a:lnTo>
                  <a:pt x="456" y="70"/>
                </a:lnTo>
                <a:lnTo>
                  <a:pt x="454" y="72"/>
                </a:lnTo>
                <a:lnTo>
                  <a:pt x="454" y="74"/>
                </a:lnTo>
                <a:lnTo>
                  <a:pt x="454" y="76"/>
                </a:lnTo>
                <a:lnTo>
                  <a:pt x="452" y="76"/>
                </a:lnTo>
                <a:lnTo>
                  <a:pt x="448" y="76"/>
                </a:lnTo>
                <a:lnTo>
                  <a:pt x="448" y="74"/>
                </a:lnTo>
                <a:lnTo>
                  <a:pt x="446" y="74"/>
                </a:lnTo>
                <a:lnTo>
                  <a:pt x="446" y="76"/>
                </a:lnTo>
                <a:lnTo>
                  <a:pt x="444" y="76"/>
                </a:lnTo>
                <a:lnTo>
                  <a:pt x="442" y="74"/>
                </a:lnTo>
                <a:lnTo>
                  <a:pt x="438" y="72"/>
                </a:lnTo>
                <a:lnTo>
                  <a:pt x="436" y="72"/>
                </a:lnTo>
                <a:lnTo>
                  <a:pt x="436" y="70"/>
                </a:lnTo>
                <a:lnTo>
                  <a:pt x="434" y="68"/>
                </a:lnTo>
                <a:lnTo>
                  <a:pt x="434" y="66"/>
                </a:lnTo>
                <a:lnTo>
                  <a:pt x="434" y="64"/>
                </a:lnTo>
                <a:lnTo>
                  <a:pt x="432" y="62"/>
                </a:lnTo>
                <a:lnTo>
                  <a:pt x="432" y="58"/>
                </a:lnTo>
                <a:lnTo>
                  <a:pt x="430" y="58"/>
                </a:lnTo>
                <a:lnTo>
                  <a:pt x="430" y="56"/>
                </a:lnTo>
                <a:lnTo>
                  <a:pt x="428" y="56"/>
                </a:lnTo>
                <a:lnTo>
                  <a:pt x="428" y="54"/>
                </a:lnTo>
                <a:lnTo>
                  <a:pt x="428" y="52"/>
                </a:lnTo>
                <a:lnTo>
                  <a:pt x="430" y="50"/>
                </a:lnTo>
                <a:lnTo>
                  <a:pt x="430" y="48"/>
                </a:lnTo>
                <a:lnTo>
                  <a:pt x="432" y="48"/>
                </a:lnTo>
                <a:lnTo>
                  <a:pt x="432" y="46"/>
                </a:lnTo>
                <a:lnTo>
                  <a:pt x="434" y="46"/>
                </a:lnTo>
                <a:lnTo>
                  <a:pt x="436" y="44"/>
                </a:lnTo>
                <a:lnTo>
                  <a:pt x="442" y="44"/>
                </a:lnTo>
                <a:lnTo>
                  <a:pt x="444" y="44"/>
                </a:lnTo>
                <a:lnTo>
                  <a:pt x="446" y="46"/>
                </a:lnTo>
                <a:lnTo>
                  <a:pt x="448" y="46"/>
                </a:lnTo>
                <a:lnTo>
                  <a:pt x="450" y="46"/>
                </a:lnTo>
                <a:lnTo>
                  <a:pt x="452" y="46"/>
                </a:lnTo>
                <a:lnTo>
                  <a:pt x="456" y="44"/>
                </a:lnTo>
                <a:lnTo>
                  <a:pt x="460" y="44"/>
                </a:lnTo>
                <a:lnTo>
                  <a:pt x="462" y="40"/>
                </a:lnTo>
                <a:lnTo>
                  <a:pt x="462" y="38"/>
                </a:lnTo>
                <a:lnTo>
                  <a:pt x="464" y="36"/>
                </a:lnTo>
                <a:lnTo>
                  <a:pt x="462" y="32"/>
                </a:lnTo>
                <a:lnTo>
                  <a:pt x="462" y="30"/>
                </a:lnTo>
                <a:lnTo>
                  <a:pt x="456" y="28"/>
                </a:lnTo>
                <a:lnTo>
                  <a:pt x="454" y="26"/>
                </a:lnTo>
                <a:lnTo>
                  <a:pt x="452" y="26"/>
                </a:lnTo>
                <a:lnTo>
                  <a:pt x="450" y="26"/>
                </a:lnTo>
                <a:lnTo>
                  <a:pt x="448" y="26"/>
                </a:lnTo>
                <a:lnTo>
                  <a:pt x="446" y="26"/>
                </a:lnTo>
                <a:lnTo>
                  <a:pt x="444" y="28"/>
                </a:lnTo>
                <a:lnTo>
                  <a:pt x="442" y="30"/>
                </a:lnTo>
                <a:lnTo>
                  <a:pt x="438" y="30"/>
                </a:lnTo>
                <a:lnTo>
                  <a:pt x="436" y="32"/>
                </a:lnTo>
                <a:lnTo>
                  <a:pt x="432" y="32"/>
                </a:lnTo>
                <a:lnTo>
                  <a:pt x="430" y="30"/>
                </a:lnTo>
                <a:lnTo>
                  <a:pt x="428" y="30"/>
                </a:lnTo>
                <a:lnTo>
                  <a:pt x="426" y="30"/>
                </a:lnTo>
                <a:lnTo>
                  <a:pt x="426" y="28"/>
                </a:lnTo>
                <a:lnTo>
                  <a:pt x="422" y="26"/>
                </a:lnTo>
                <a:lnTo>
                  <a:pt x="422" y="22"/>
                </a:lnTo>
                <a:lnTo>
                  <a:pt x="422" y="20"/>
                </a:lnTo>
                <a:lnTo>
                  <a:pt x="426" y="20"/>
                </a:lnTo>
                <a:lnTo>
                  <a:pt x="426" y="18"/>
                </a:lnTo>
                <a:lnTo>
                  <a:pt x="426" y="16"/>
                </a:lnTo>
                <a:lnTo>
                  <a:pt x="426" y="14"/>
                </a:lnTo>
                <a:lnTo>
                  <a:pt x="428" y="14"/>
                </a:lnTo>
                <a:lnTo>
                  <a:pt x="428" y="12"/>
                </a:lnTo>
                <a:lnTo>
                  <a:pt x="430" y="10"/>
                </a:lnTo>
                <a:lnTo>
                  <a:pt x="432" y="8"/>
                </a:lnTo>
                <a:lnTo>
                  <a:pt x="432" y="4"/>
                </a:lnTo>
                <a:lnTo>
                  <a:pt x="434" y="4"/>
                </a:lnTo>
                <a:lnTo>
                  <a:pt x="434" y="2"/>
                </a:lnTo>
                <a:lnTo>
                  <a:pt x="434" y="0"/>
                </a:lnTo>
                <a:lnTo>
                  <a:pt x="432" y="0"/>
                </a:lnTo>
                <a:lnTo>
                  <a:pt x="430" y="0"/>
                </a:lnTo>
                <a:lnTo>
                  <a:pt x="430" y="2"/>
                </a:lnTo>
                <a:lnTo>
                  <a:pt x="428" y="2"/>
                </a:lnTo>
                <a:lnTo>
                  <a:pt x="426" y="4"/>
                </a:lnTo>
                <a:lnTo>
                  <a:pt x="422" y="8"/>
                </a:lnTo>
                <a:lnTo>
                  <a:pt x="422" y="10"/>
                </a:lnTo>
                <a:lnTo>
                  <a:pt x="420" y="12"/>
                </a:lnTo>
                <a:lnTo>
                  <a:pt x="418" y="12"/>
                </a:lnTo>
                <a:lnTo>
                  <a:pt x="416" y="12"/>
                </a:lnTo>
                <a:lnTo>
                  <a:pt x="414" y="12"/>
                </a:lnTo>
                <a:lnTo>
                  <a:pt x="412" y="12"/>
                </a:lnTo>
                <a:lnTo>
                  <a:pt x="410" y="14"/>
                </a:lnTo>
                <a:lnTo>
                  <a:pt x="410" y="16"/>
                </a:lnTo>
                <a:lnTo>
                  <a:pt x="408" y="18"/>
                </a:lnTo>
                <a:lnTo>
                  <a:pt x="404" y="18"/>
                </a:lnTo>
                <a:lnTo>
                  <a:pt x="404" y="22"/>
                </a:lnTo>
                <a:lnTo>
                  <a:pt x="404" y="26"/>
                </a:lnTo>
                <a:lnTo>
                  <a:pt x="404" y="34"/>
                </a:lnTo>
                <a:lnTo>
                  <a:pt x="408" y="38"/>
                </a:lnTo>
                <a:lnTo>
                  <a:pt x="408" y="40"/>
                </a:lnTo>
                <a:lnTo>
                  <a:pt x="408" y="44"/>
                </a:lnTo>
                <a:lnTo>
                  <a:pt x="408" y="46"/>
                </a:lnTo>
                <a:lnTo>
                  <a:pt x="408" y="48"/>
                </a:lnTo>
                <a:lnTo>
                  <a:pt x="404" y="48"/>
                </a:lnTo>
                <a:lnTo>
                  <a:pt x="400" y="48"/>
                </a:lnTo>
                <a:lnTo>
                  <a:pt x="398" y="48"/>
                </a:lnTo>
                <a:lnTo>
                  <a:pt x="396" y="48"/>
                </a:lnTo>
                <a:lnTo>
                  <a:pt x="396" y="50"/>
                </a:lnTo>
                <a:lnTo>
                  <a:pt x="396" y="52"/>
                </a:lnTo>
                <a:lnTo>
                  <a:pt x="394" y="52"/>
                </a:lnTo>
                <a:lnTo>
                  <a:pt x="394" y="54"/>
                </a:lnTo>
                <a:lnTo>
                  <a:pt x="394" y="56"/>
                </a:lnTo>
                <a:lnTo>
                  <a:pt x="394" y="58"/>
                </a:lnTo>
                <a:lnTo>
                  <a:pt x="392" y="58"/>
                </a:lnTo>
                <a:lnTo>
                  <a:pt x="392" y="62"/>
                </a:lnTo>
                <a:lnTo>
                  <a:pt x="390" y="62"/>
                </a:lnTo>
                <a:lnTo>
                  <a:pt x="390" y="64"/>
                </a:lnTo>
                <a:lnTo>
                  <a:pt x="386" y="66"/>
                </a:lnTo>
                <a:lnTo>
                  <a:pt x="384" y="68"/>
                </a:lnTo>
                <a:lnTo>
                  <a:pt x="382" y="70"/>
                </a:lnTo>
                <a:lnTo>
                  <a:pt x="382" y="72"/>
                </a:lnTo>
                <a:lnTo>
                  <a:pt x="382" y="74"/>
                </a:lnTo>
                <a:lnTo>
                  <a:pt x="382" y="76"/>
                </a:lnTo>
                <a:lnTo>
                  <a:pt x="382" y="80"/>
                </a:lnTo>
                <a:lnTo>
                  <a:pt x="384" y="82"/>
                </a:lnTo>
                <a:lnTo>
                  <a:pt x="386" y="84"/>
                </a:lnTo>
                <a:lnTo>
                  <a:pt x="390" y="84"/>
                </a:lnTo>
                <a:lnTo>
                  <a:pt x="392" y="86"/>
                </a:lnTo>
                <a:lnTo>
                  <a:pt x="394" y="90"/>
                </a:lnTo>
                <a:lnTo>
                  <a:pt x="394" y="92"/>
                </a:lnTo>
                <a:lnTo>
                  <a:pt x="394" y="94"/>
                </a:lnTo>
                <a:lnTo>
                  <a:pt x="394" y="98"/>
                </a:lnTo>
                <a:lnTo>
                  <a:pt x="392" y="100"/>
                </a:lnTo>
                <a:lnTo>
                  <a:pt x="386" y="100"/>
                </a:lnTo>
                <a:lnTo>
                  <a:pt x="384" y="100"/>
                </a:lnTo>
                <a:lnTo>
                  <a:pt x="382" y="100"/>
                </a:lnTo>
                <a:lnTo>
                  <a:pt x="380" y="98"/>
                </a:lnTo>
                <a:lnTo>
                  <a:pt x="378" y="94"/>
                </a:lnTo>
                <a:lnTo>
                  <a:pt x="376" y="94"/>
                </a:lnTo>
                <a:lnTo>
                  <a:pt x="374" y="94"/>
                </a:lnTo>
                <a:lnTo>
                  <a:pt x="370" y="94"/>
                </a:lnTo>
                <a:lnTo>
                  <a:pt x="368" y="94"/>
                </a:lnTo>
                <a:lnTo>
                  <a:pt x="366" y="98"/>
                </a:lnTo>
                <a:lnTo>
                  <a:pt x="364" y="100"/>
                </a:lnTo>
                <a:lnTo>
                  <a:pt x="364" y="104"/>
                </a:lnTo>
                <a:lnTo>
                  <a:pt x="362" y="108"/>
                </a:lnTo>
                <a:lnTo>
                  <a:pt x="360" y="112"/>
                </a:lnTo>
                <a:lnTo>
                  <a:pt x="358" y="118"/>
                </a:lnTo>
                <a:lnTo>
                  <a:pt x="358" y="120"/>
                </a:lnTo>
                <a:lnTo>
                  <a:pt x="356" y="122"/>
                </a:lnTo>
                <a:lnTo>
                  <a:pt x="352" y="122"/>
                </a:lnTo>
                <a:lnTo>
                  <a:pt x="350" y="124"/>
                </a:lnTo>
                <a:lnTo>
                  <a:pt x="348" y="126"/>
                </a:lnTo>
                <a:lnTo>
                  <a:pt x="346" y="126"/>
                </a:lnTo>
                <a:lnTo>
                  <a:pt x="346" y="128"/>
                </a:lnTo>
                <a:lnTo>
                  <a:pt x="346" y="130"/>
                </a:lnTo>
                <a:lnTo>
                  <a:pt x="346" y="134"/>
                </a:lnTo>
                <a:lnTo>
                  <a:pt x="346" y="136"/>
                </a:lnTo>
                <a:lnTo>
                  <a:pt x="344" y="142"/>
                </a:lnTo>
                <a:lnTo>
                  <a:pt x="342" y="144"/>
                </a:lnTo>
                <a:lnTo>
                  <a:pt x="340" y="144"/>
                </a:lnTo>
                <a:lnTo>
                  <a:pt x="334" y="144"/>
                </a:lnTo>
                <a:lnTo>
                  <a:pt x="332" y="144"/>
                </a:lnTo>
                <a:lnTo>
                  <a:pt x="332" y="142"/>
                </a:lnTo>
                <a:lnTo>
                  <a:pt x="330" y="142"/>
                </a:lnTo>
                <a:lnTo>
                  <a:pt x="328" y="142"/>
                </a:lnTo>
                <a:lnTo>
                  <a:pt x="328" y="144"/>
                </a:lnTo>
                <a:lnTo>
                  <a:pt x="326" y="144"/>
                </a:lnTo>
                <a:lnTo>
                  <a:pt x="326" y="146"/>
                </a:lnTo>
                <a:lnTo>
                  <a:pt x="328" y="146"/>
                </a:lnTo>
                <a:lnTo>
                  <a:pt x="328" y="148"/>
                </a:lnTo>
                <a:lnTo>
                  <a:pt x="328" y="152"/>
                </a:lnTo>
                <a:lnTo>
                  <a:pt x="328" y="154"/>
                </a:lnTo>
                <a:lnTo>
                  <a:pt x="326" y="154"/>
                </a:lnTo>
                <a:lnTo>
                  <a:pt x="324" y="156"/>
                </a:lnTo>
                <a:lnTo>
                  <a:pt x="318" y="156"/>
                </a:lnTo>
                <a:lnTo>
                  <a:pt x="316" y="158"/>
                </a:lnTo>
                <a:lnTo>
                  <a:pt x="318" y="160"/>
                </a:lnTo>
                <a:lnTo>
                  <a:pt x="318" y="162"/>
                </a:lnTo>
                <a:lnTo>
                  <a:pt x="316" y="166"/>
                </a:lnTo>
                <a:lnTo>
                  <a:pt x="316" y="172"/>
                </a:lnTo>
                <a:lnTo>
                  <a:pt x="314" y="174"/>
                </a:lnTo>
                <a:lnTo>
                  <a:pt x="312" y="176"/>
                </a:lnTo>
                <a:lnTo>
                  <a:pt x="312" y="178"/>
                </a:lnTo>
                <a:lnTo>
                  <a:pt x="310" y="180"/>
                </a:lnTo>
                <a:lnTo>
                  <a:pt x="308" y="180"/>
                </a:lnTo>
                <a:lnTo>
                  <a:pt x="308" y="182"/>
                </a:lnTo>
                <a:lnTo>
                  <a:pt x="308" y="184"/>
                </a:lnTo>
                <a:lnTo>
                  <a:pt x="306" y="188"/>
                </a:lnTo>
                <a:lnTo>
                  <a:pt x="304" y="188"/>
                </a:lnTo>
                <a:lnTo>
                  <a:pt x="304" y="184"/>
                </a:lnTo>
                <a:lnTo>
                  <a:pt x="300" y="184"/>
                </a:lnTo>
                <a:lnTo>
                  <a:pt x="298" y="184"/>
                </a:lnTo>
                <a:lnTo>
                  <a:pt x="296" y="182"/>
                </a:lnTo>
                <a:lnTo>
                  <a:pt x="294" y="184"/>
                </a:lnTo>
                <a:lnTo>
                  <a:pt x="292" y="188"/>
                </a:lnTo>
                <a:lnTo>
                  <a:pt x="290" y="190"/>
                </a:lnTo>
                <a:lnTo>
                  <a:pt x="288" y="192"/>
                </a:lnTo>
                <a:lnTo>
                  <a:pt x="288" y="194"/>
                </a:lnTo>
                <a:lnTo>
                  <a:pt x="288" y="196"/>
                </a:lnTo>
                <a:lnTo>
                  <a:pt x="288" y="198"/>
                </a:lnTo>
                <a:lnTo>
                  <a:pt x="288" y="200"/>
                </a:lnTo>
                <a:lnTo>
                  <a:pt x="288" y="202"/>
                </a:lnTo>
                <a:lnTo>
                  <a:pt x="288" y="206"/>
                </a:lnTo>
                <a:lnTo>
                  <a:pt x="286" y="208"/>
                </a:lnTo>
                <a:lnTo>
                  <a:pt x="280" y="210"/>
                </a:lnTo>
                <a:lnTo>
                  <a:pt x="280" y="212"/>
                </a:lnTo>
                <a:lnTo>
                  <a:pt x="278" y="212"/>
                </a:lnTo>
                <a:lnTo>
                  <a:pt x="276" y="214"/>
                </a:lnTo>
                <a:lnTo>
                  <a:pt x="274" y="214"/>
                </a:lnTo>
                <a:lnTo>
                  <a:pt x="272" y="214"/>
                </a:lnTo>
                <a:lnTo>
                  <a:pt x="272" y="216"/>
                </a:lnTo>
                <a:lnTo>
                  <a:pt x="272" y="218"/>
                </a:lnTo>
                <a:lnTo>
                  <a:pt x="274" y="218"/>
                </a:lnTo>
                <a:lnTo>
                  <a:pt x="274" y="220"/>
                </a:lnTo>
                <a:lnTo>
                  <a:pt x="276" y="224"/>
                </a:lnTo>
                <a:lnTo>
                  <a:pt x="274" y="226"/>
                </a:lnTo>
                <a:lnTo>
                  <a:pt x="272" y="228"/>
                </a:lnTo>
                <a:lnTo>
                  <a:pt x="272" y="230"/>
                </a:lnTo>
                <a:lnTo>
                  <a:pt x="272" y="232"/>
                </a:lnTo>
                <a:lnTo>
                  <a:pt x="274" y="234"/>
                </a:lnTo>
                <a:lnTo>
                  <a:pt x="274" y="236"/>
                </a:lnTo>
                <a:lnTo>
                  <a:pt x="274" y="238"/>
                </a:lnTo>
                <a:lnTo>
                  <a:pt x="272" y="242"/>
                </a:lnTo>
                <a:lnTo>
                  <a:pt x="270" y="242"/>
                </a:lnTo>
                <a:lnTo>
                  <a:pt x="264" y="242"/>
                </a:lnTo>
                <a:lnTo>
                  <a:pt x="262" y="238"/>
                </a:lnTo>
                <a:lnTo>
                  <a:pt x="256" y="236"/>
                </a:lnTo>
                <a:lnTo>
                  <a:pt x="256" y="234"/>
                </a:lnTo>
                <a:lnTo>
                  <a:pt x="254" y="234"/>
                </a:lnTo>
                <a:lnTo>
                  <a:pt x="248" y="232"/>
                </a:lnTo>
                <a:lnTo>
                  <a:pt x="242" y="228"/>
                </a:lnTo>
                <a:lnTo>
                  <a:pt x="238" y="224"/>
                </a:lnTo>
                <a:lnTo>
                  <a:pt x="236" y="224"/>
                </a:lnTo>
                <a:lnTo>
                  <a:pt x="236" y="220"/>
                </a:lnTo>
                <a:lnTo>
                  <a:pt x="234" y="220"/>
                </a:lnTo>
                <a:lnTo>
                  <a:pt x="230" y="218"/>
                </a:lnTo>
                <a:lnTo>
                  <a:pt x="226" y="216"/>
                </a:lnTo>
                <a:lnTo>
                  <a:pt x="224" y="214"/>
                </a:lnTo>
                <a:lnTo>
                  <a:pt x="222" y="212"/>
                </a:lnTo>
                <a:lnTo>
                  <a:pt x="218" y="212"/>
                </a:lnTo>
                <a:lnTo>
                  <a:pt x="214" y="212"/>
                </a:lnTo>
                <a:lnTo>
                  <a:pt x="212" y="212"/>
                </a:lnTo>
                <a:lnTo>
                  <a:pt x="210" y="212"/>
                </a:lnTo>
                <a:lnTo>
                  <a:pt x="208" y="212"/>
                </a:lnTo>
                <a:lnTo>
                  <a:pt x="206" y="210"/>
                </a:lnTo>
                <a:lnTo>
                  <a:pt x="204" y="206"/>
                </a:lnTo>
                <a:lnTo>
                  <a:pt x="202" y="202"/>
                </a:lnTo>
                <a:lnTo>
                  <a:pt x="202" y="200"/>
                </a:lnTo>
                <a:lnTo>
                  <a:pt x="202" y="198"/>
                </a:lnTo>
                <a:lnTo>
                  <a:pt x="200" y="198"/>
                </a:lnTo>
                <a:lnTo>
                  <a:pt x="200" y="196"/>
                </a:lnTo>
                <a:lnTo>
                  <a:pt x="196" y="196"/>
                </a:lnTo>
                <a:lnTo>
                  <a:pt x="194" y="196"/>
                </a:lnTo>
                <a:lnTo>
                  <a:pt x="192" y="196"/>
                </a:lnTo>
                <a:lnTo>
                  <a:pt x="190" y="196"/>
                </a:lnTo>
                <a:lnTo>
                  <a:pt x="190" y="198"/>
                </a:lnTo>
                <a:lnTo>
                  <a:pt x="188" y="198"/>
                </a:lnTo>
                <a:lnTo>
                  <a:pt x="188" y="200"/>
                </a:lnTo>
                <a:lnTo>
                  <a:pt x="188" y="202"/>
                </a:lnTo>
                <a:lnTo>
                  <a:pt x="186" y="206"/>
                </a:lnTo>
                <a:lnTo>
                  <a:pt x="184" y="206"/>
                </a:lnTo>
                <a:lnTo>
                  <a:pt x="182" y="206"/>
                </a:lnTo>
                <a:lnTo>
                  <a:pt x="182" y="202"/>
                </a:lnTo>
                <a:lnTo>
                  <a:pt x="178" y="200"/>
                </a:lnTo>
                <a:lnTo>
                  <a:pt x="178" y="198"/>
                </a:lnTo>
                <a:lnTo>
                  <a:pt x="176" y="196"/>
                </a:lnTo>
                <a:lnTo>
                  <a:pt x="174" y="198"/>
                </a:lnTo>
                <a:lnTo>
                  <a:pt x="174" y="200"/>
                </a:lnTo>
                <a:lnTo>
                  <a:pt x="170" y="202"/>
                </a:lnTo>
                <a:lnTo>
                  <a:pt x="168" y="202"/>
                </a:lnTo>
                <a:lnTo>
                  <a:pt x="166" y="202"/>
                </a:lnTo>
                <a:lnTo>
                  <a:pt x="164" y="206"/>
                </a:lnTo>
                <a:lnTo>
                  <a:pt x="160" y="206"/>
                </a:lnTo>
                <a:lnTo>
                  <a:pt x="158" y="206"/>
                </a:lnTo>
                <a:lnTo>
                  <a:pt x="156" y="206"/>
                </a:lnTo>
                <a:lnTo>
                  <a:pt x="152" y="202"/>
                </a:lnTo>
                <a:lnTo>
                  <a:pt x="150" y="202"/>
                </a:lnTo>
                <a:lnTo>
                  <a:pt x="150" y="200"/>
                </a:lnTo>
                <a:lnTo>
                  <a:pt x="148" y="200"/>
                </a:lnTo>
                <a:lnTo>
                  <a:pt x="144" y="202"/>
                </a:lnTo>
                <a:lnTo>
                  <a:pt x="148" y="206"/>
                </a:lnTo>
                <a:lnTo>
                  <a:pt x="148" y="208"/>
                </a:lnTo>
                <a:lnTo>
                  <a:pt x="150" y="208"/>
                </a:lnTo>
                <a:lnTo>
                  <a:pt x="152" y="210"/>
                </a:lnTo>
                <a:lnTo>
                  <a:pt x="154" y="212"/>
                </a:lnTo>
                <a:lnTo>
                  <a:pt x="152" y="212"/>
                </a:lnTo>
                <a:lnTo>
                  <a:pt x="152" y="214"/>
                </a:lnTo>
                <a:lnTo>
                  <a:pt x="152" y="216"/>
                </a:lnTo>
                <a:lnTo>
                  <a:pt x="150" y="216"/>
                </a:lnTo>
                <a:lnTo>
                  <a:pt x="148" y="216"/>
                </a:lnTo>
                <a:lnTo>
                  <a:pt x="144" y="216"/>
                </a:lnTo>
                <a:lnTo>
                  <a:pt x="142" y="216"/>
                </a:lnTo>
                <a:lnTo>
                  <a:pt x="142" y="218"/>
                </a:lnTo>
                <a:lnTo>
                  <a:pt x="142" y="220"/>
                </a:lnTo>
                <a:lnTo>
                  <a:pt x="144" y="220"/>
                </a:lnTo>
                <a:lnTo>
                  <a:pt x="144" y="224"/>
                </a:lnTo>
                <a:lnTo>
                  <a:pt x="144" y="226"/>
                </a:lnTo>
                <a:lnTo>
                  <a:pt x="144" y="228"/>
                </a:lnTo>
                <a:lnTo>
                  <a:pt x="144" y="232"/>
                </a:lnTo>
                <a:lnTo>
                  <a:pt x="142" y="232"/>
                </a:lnTo>
                <a:lnTo>
                  <a:pt x="140" y="234"/>
                </a:lnTo>
                <a:lnTo>
                  <a:pt x="138" y="236"/>
                </a:lnTo>
                <a:lnTo>
                  <a:pt x="136" y="238"/>
                </a:lnTo>
                <a:lnTo>
                  <a:pt x="136" y="242"/>
                </a:lnTo>
                <a:lnTo>
                  <a:pt x="138" y="244"/>
                </a:lnTo>
                <a:lnTo>
                  <a:pt x="138" y="246"/>
                </a:lnTo>
                <a:lnTo>
                  <a:pt x="140" y="246"/>
                </a:lnTo>
                <a:lnTo>
                  <a:pt x="140" y="250"/>
                </a:lnTo>
                <a:lnTo>
                  <a:pt x="140" y="252"/>
                </a:lnTo>
                <a:lnTo>
                  <a:pt x="138" y="252"/>
                </a:lnTo>
                <a:lnTo>
                  <a:pt x="136" y="252"/>
                </a:lnTo>
                <a:lnTo>
                  <a:pt x="134" y="250"/>
                </a:lnTo>
                <a:lnTo>
                  <a:pt x="132" y="250"/>
                </a:lnTo>
                <a:lnTo>
                  <a:pt x="130" y="252"/>
                </a:lnTo>
                <a:lnTo>
                  <a:pt x="126" y="252"/>
                </a:lnTo>
                <a:lnTo>
                  <a:pt x="124" y="254"/>
                </a:lnTo>
                <a:lnTo>
                  <a:pt x="124" y="256"/>
                </a:lnTo>
                <a:lnTo>
                  <a:pt x="124" y="260"/>
                </a:lnTo>
                <a:lnTo>
                  <a:pt x="124" y="264"/>
                </a:lnTo>
                <a:lnTo>
                  <a:pt x="124" y="266"/>
                </a:lnTo>
                <a:lnTo>
                  <a:pt x="122" y="266"/>
                </a:lnTo>
                <a:lnTo>
                  <a:pt x="122" y="268"/>
                </a:lnTo>
                <a:lnTo>
                  <a:pt x="120" y="268"/>
                </a:lnTo>
                <a:lnTo>
                  <a:pt x="118" y="268"/>
                </a:lnTo>
                <a:lnTo>
                  <a:pt x="116" y="268"/>
                </a:lnTo>
                <a:lnTo>
                  <a:pt x="116" y="270"/>
                </a:lnTo>
                <a:lnTo>
                  <a:pt x="116" y="272"/>
                </a:lnTo>
                <a:lnTo>
                  <a:pt x="116" y="274"/>
                </a:lnTo>
                <a:lnTo>
                  <a:pt x="114" y="278"/>
                </a:lnTo>
                <a:lnTo>
                  <a:pt x="114" y="280"/>
                </a:lnTo>
                <a:lnTo>
                  <a:pt x="112" y="282"/>
                </a:lnTo>
                <a:lnTo>
                  <a:pt x="108" y="284"/>
                </a:lnTo>
                <a:lnTo>
                  <a:pt x="108" y="282"/>
                </a:lnTo>
                <a:lnTo>
                  <a:pt x="106" y="280"/>
                </a:lnTo>
                <a:lnTo>
                  <a:pt x="106" y="274"/>
                </a:lnTo>
                <a:lnTo>
                  <a:pt x="106" y="272"/>
                </a:lnTo>
                <a:lnTo>
                  <a:pt x="106" y="270"/>
                </a:lnTo>
                <a:lnTo>
                  <a:pt x="104" y="268"/>
                </a:lnTo>
                <a:lnTo>
                  <a:pt x="104" y="266"/>
                </a:lnTo>
                <a:lnTo>
                  <a:pt x="102" y="268"/>
                </a:lnTo>
                <a:lnTo>
                  <a:pt x="100" y="268"/>
                </a:lnTo>
                <a:lnTo>
                  <a:pt x="100" y="270"/>
                </a:lnTo>
                <a:lnTo>
                  <a:pt x="98" y="272"/>
                </a:lnTo>
                <a:lnTo>
                  <a:pt x="98" y="274"/>
                </a:lnTo>
                <a:lnTo>
                  <a:pt x="98" y="278"/>
                </a:lnTo>
                <a:lnTo>
                  <a:pt x="96" y="280"/>
                </a:lnTo>
                <a:lnTo>
                  <a:pt x="92" y="282"/>
                </a:lnTo>
                <a:lnTo>
                  <a:pt x="92" y="286"/>
                </a:lnTo>
                <a:lnTo>
                  <a:pt x="92" y="288"/>
                </a:lnTo>
                <a:lnTo>
                  <a:pt x="92" y="290"/>
                </a:lnTo>
                <a:lnTo>
                  <a:pt x="92" y="292"/>
                </a:lnTo>
                <a:lnTo>
                  <a:pt x="96" y="296"/>
                </a:lnTo>
                <a:lnTo>
                  <a:pt x="98" y="298"/>
                </a:lnTo>
                <a:lnTo>
                  <a:pt x="98" y="300"/>
                </a:lnTo>
                <a:lnTo>
                  <a:pt x="96" y="302"/>
                </a:lnTo>
                <a:lnTo>
                  <a:pt x="92" y="302"/>
                </a:lnTo>
                <a:lnTo>
                  <a:pt x="90" y="302"/>
                </a:lnTo>
                <a:lnTo>
                  <a:pt x="90" y="300"/>
                </a:lnTo>
                <a:lnTo>
                  <a:pt x="90" y="298"/>
                </a:lnTo>
                <a:lnTo>
                  <a:pt x="88" y="296"/>
                </a:lnTo>
                <a:lnTo>
                  <a:pt x="86" y="292"/>
                </a:lnTo>
                <a:lnTo>
                  <a:pt x="86" y="290"/>
                </a:lnTo>
                <a:lnTo>
                  <a:pt x="84" y="290"/>
                </a:lnTo>
                <a:lnTo>
                  <a:pt x="82" y="292"/>
                </a:lnTo>
                <a:lnTo>
                  <a:pt x="80" y="292"/>
                </a:lnTo>
                <a:lnTo>
                  <a:pt x="80" y="296"/>
                </a:lnTo>
                <a:lnTo>
                  <a:pt x="82" y="298"/>
                </a:lnTo>
                <a:lnTo>
                  <a:pt x="82" y="300"/>
                </a:lnTo>
                <a:lnTo>
                  <a:pt x="80" y="302"/>
                </a:lnTo>
                <a:lnTo>
                  <a:pt x="78" y="302"/>
                </a:lnTo>
                <a:lnTo>
                  <a:pt x="74" y="302"/>
                </a:lnTo>
                <a:lnTo>
                  <a:pt x="72" y="302"/>
                </a:lnTo>
                <a:lnTo>
                  <a:pt x="70" y="300"/>
                </a:lnTo>
                <a:lnTo>
                  <a:pt x="68" y="300"/>
                </a:lnTo>
                <a:lnTo>
                  <a:pt x="66" y="300"/>
                </a:lnTo>
                <a:lnTo>
                  <a:pt x="66" y="302"/>
                </a:lnTo>
                <a:lnTo>
                  <a:pt x="64" y="304"/>
                </a:lnTo>
                <a:lnTo>
                  <a:pt x="64" y="306"/>
                </a:lnTo>
                <a:lnTo>
                  <a:pt x="62" y="314"/>
                </a:lnTo>
                <a:lnTo>
                  <a:pt x="56" y="316"/>
                </a:lnTo>
                <a:lnTo>
                  <a:pt x="56" y="318"/>
                </a:lnTo>
                <a:lnTo>
                  <a:pt x="56" y="320"/>
                </a:lnTo>
                <a:lnTo>
                  <a:pt x="54" y="322"/>
                </a:lnTo>
                <a:lnTo>
                  <a:pt x="52" y="326"/>
                </a:lnTo>
                <a:lnTo>
                  <a:pt x="52" y="328"/>
                </a:lnTo>
                <a:lnTo>
                  <a:pt x="50" y="328"/>
                </a:lnTo>
                <a:lnTo>
                  <a:pt x="46" y="328"/>
                </a:lnTo>
                <a:lnTo>
                  <a:pt x="44" y="332"/>
                </a:lnTo>
                <a:lnTo>
                  <a:pt x="38" y="332"/>
                </a:lnTo>
                <a:lnTo>
                  <a:pt x="36" y="334"/>
                </a:lnTo>
                <a:lnTo>
                  <a:pt x="34" y="334"/>
                </a:lnTo>
                <a:lnTo>
                  <a:pt x="32" y="336"/>
                </a:lnTo>
                <a:lnTo>
                  <a:pt x="30" y="336"/>
                </a:lnTo>
                <a:lnTo>
                  <a:pt x="28" y="338"/>
                </a:lnTo>
                <a:lnTo>
                  <a:pt x="26" y="338"/>
                </a:lnTo>
                <a:lnTo>
                  <a:pt x="22" y="338"/>
                </a:lnTo>
                <a:lnTo>
                  <a:pt x="20" y="340"/>
                </a:lnTo>
                <a:lnTo>
                  <a:pt x="18" y="340"/>
                </a:lnTo>
                <a:lnTo>
                  <a:pt x="16" y="340"/>
                </a:lnTo>
                <a:lnTo>
                  <a:pt x="16" y="342"/>
                </a:lnTo>
                <a:lnTo>
                  <a:pt x="18" y="344"/>
                </a:lnTo>
                <a:lnTo>
                  <a:pt x="18" y="346"/>
                </a:lnTo>
                <a:lnTo>
                  <a:pt x="18" y="350"/>
                </a:lnTo>
                <a:lnTo>
                  <a:pt x="16" y="352"/>
                </a:lnTo>
                <a:lnTo>
                  <a:pt x="16" y="354"/>
                </a:lnTo>
                <a:lnTo>
                  <a:pt x="16" y="356"/>
                </a:lnTo>
                <a:lnTo>
                  <a:pt x="18" y="356"/>
                </a:lnTo>
                <a:lnTo>
                  <a:pt x="16" y="360"/>
                </a:lnTo>
                <a:lnTo>
                  <a:pt x="14" y="360"/>
                </a:lnTo>
                <a:lnTo>
                  <a:pt x="14" y="362"/>
                </a:lnTo>
                <a:lnTo>
                  <a:pt x="12" y="362"/>
                </a:lnTo>
                <a:lnTo>
                  <a:pt x="10" y="362"/>
                </a:lnTo>
                <a:lnTo>
                  <a:pt x="8" y="362"/>
                </a:lnTo>
                <a:lnTo>
                  <a:pt x="4" y="364"/>
                </a:lnTo>
                <a:lnTo>
                  <a:pt x="4" y="368"/>
                </a:lnTo>
                <a:lnTo>
                  <a:pt x="2" y="370"/>
                </a:lnTo>
                <a:lnTo>
                  <a:pt x="0" y="370"/>
                </a:lnTo>
                <a:lnTo>
                  <a:pt x="18" y="374"/>
                </a:lnTo>
                <a:lnTo>
                  <a:pt x="32" y="378"/>
                </a:lnTo>
                <a:close/>
              </a:path>
            </a:pathLst>
          </a:custGeom>
          <a:solidFill>
            <a:srgbClr val="666766"/>
          </a:solidFill>
          <a:ln w="6350">
            <a:solidFill>
              <a:schemeClr val="tx1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457200">
              <a:defRPr/>
            </a:pPr>
            <a:endParaRPr lang="en-US" kern="0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75" name="Freeform 53">
            <a:extLst>
              <a:ext uri="{FF2B5EF4-FFF2-40B4-BE49-F238E27FC236}">
                <a16:creationId xmlns:a16="http://schemas.microsoft.com/office/drawing/2014/main" id="{08E2D4B6-2A71-AA76-19D7-21DDF6D8C270}"/>
              </a:ext>
            </a:extLst>
          </p:cNvPr>
          <p:cNvSpPr>
            <a:spLocks/>
          </p:cNvSpPr>
          <p:nvPr/>
        </p:nvSpPr>
        <p:spPr bwMode="auto">
          <a:xfrm>
            <a:off x="5420360" y="2862580"/>
            <a:ext cx="551180" cy="741680"/>
          </a:xfrm>
          <a:custGeom>
            <a:avLst/>
            <a:gdLst>
              <a:gd name="T0" fmla="*/ 60483750 w 434"/>
              <a:gd name="T1" fmla="*/ 423386250 h 584"/>
              <a:gd name="T2" fmla="*/ 110886875 w 434"/>
              <a:gd name="T3" fmla="*/ 393144375 h 584"/>
              <a:gd name="T4" fmla="*/ 156249688 w 434"/>
              <a:gd name="T5" fmla="*/ 403225000 h 584"/>
              <a:gd name="T6" fmla="*/ 186491563 w 434"/>
              <a:gd name="T7" fmla="*/ 393144375 h 584"/>
              <a:gd name="T8" fmla="*/ 226814063 w 434"/>
              <a:gd name="T9" fmla="*/ 357862188 h 584"/>
              <a:gd name="T10" fmla="*/ 272176875 w 434"/>
              <a:gd name="T11" fmla="*/ 372983125 h 584"/>
              <a:gd name="T12" fmla="*/ 327620313 w 434"/>
              <a:gd name="T13" fmla="*/ 332660625 h 584"/>
              <a:gd name="T14" fmla="*/ 413305625 w 434"/>
              <a:gd name="T15" fmla="*/ 367942813 h 584"/>
              <a:gd name="T16" fmla="*/ 398184688 w 434"/>
              <a:gd name="T17" fmla="*/ 413305625 h 584"/>
              <a:gd name="T18" fmla="*/ 383063750 w 434"/>
              <a:gd name="T19" fmla="*/ 468749063 h 584"/>
              <a:gd name="T20" fmla="*/ 347781563 w 434"/>
              <a:gd name="T21" fmla="*/ 524192500 h 584"/>
              <a:gd name="T22" fmla="*/ 337700938 w 434"/>
              <a:gd name="T23" fmla="*/ 569555313 h 584"/>
              <a:gd name="T24" fmla="*/ 312499375 w 434"/>
              <a:gd name="T25" fmla="*/ 640119688 h 584"/>
              <a:gd name="T26" fmla="*/ 297378438 w 434"/>
              <a:gd name="T27" fmla="*/ 695563125 h 584"/>
              <a:gd name="T28" fmla="*/ 383063750 w 434"/>
              <a:gd name="T29" fmla="*/ 725805000 h 584"/>
              <a:gd name="T30" fmla="*/ 413305625 w 434"/>
              <a:gd name="T31" fmla="*/ 740925938 h 584"/>
              <a:gd name="T32" fmla="*/ 403225000 w 434"/>
              <a:gd name="T33" fmla="*/ 796369375 h 584"/>
              <a:gd name="T34" fmla="*/ 383063750 w 434"/>
              <a:gd name="T35" fmla="*/ 846772500 h 584"/>
              <a:gd name="T36" fmla="*/ 367942813 w 434"/>
              <a:gd name="T37" fmla="*/ 912296563 h 584"/>
              <a:gd name="T38" fmla="*/ 347781563 w 434"/>
              <a:gd name="T39" fmla="*/ 997981875 h 584"/>
              <a:gd name="T40" fmla="*/ 312499375 w 434"/>
              <a:gd name="T41" fmla="*/ 1063505938 h 584"/>
              <a:gd name="T42" fmla="*/ 524192500 w 434"/>
              <a:gd name="T43" fmla="*/ 1255037813 h 584"/>
              <a:gd name="T44" fmla="*/ 730845313 w 434"/>
              <a:gd name="T45" fmla="*/ 1421368125 h 584"/>
              <a:gd name="T46" fmla="*/ 836691875 w 434"/>
              <a:gd name="T47" fmla="*/ 1386085938 h 584"/>
              <a:gd name="T48" fmla="*/ 892135313 w 434"/>
              <a:gd name="T49" fmla="*/ 1270158750 h 584"/>
              <a:gd name="T50" fmla="*/ 952619063 w 434"/>
              <a:gd name="T51" fmla="*/ 1164312188 h 584"/>
              <a:gd name="T52" fmla="*/ 892135313 w 434"/>
              <a:gd name="T53" fmla="*/ 892135313 h 584"/>
              <a:gd name="T54" fmla="*/ 897175625 w 434"/>
              <a:gd name="T55" fmla="*/ 771167813 h 584"/>
              <a:gd name="T56" fmla="*/ 927417500 w 434"/>
              <a:gd name="T57" fmla="*/ 705643750 h 584"/>
              <a:gd name="T58" fmla="*/ 942538438 w 434"/>
              <a:gd name="T59" fmla="*/ 635079375 h 584"/>
              <a:gd name="T60" fmla="*/ 987901250 w 434"/>
              <a:gd name="T61" fmla="*/ 514111875 h 584"/>
              <a:gd name="T62" fmla="*/ 1038304375 w 434"/>
              <a:gd name="T63" fmla="*/ 393144375 h 584"/>
              <a:gd name="T64" fmla="*/ 1073586563 w 434"/>
              <a:gd name="T65" fmla="*/ 302418750 h 584"/>
              <a:gd name="T66" fmla="*/ 851812813 w 434"/>
              <a:gd name="T67" fmla="*/ 95765938 h 584"/>
              <a:gd name="T68" fmla="*/ 539313438 w 434"/>
              <a:gd name="T69" fmla="*/ 20161250 h 584"/>
              <a:gd name="T70" fmla="*/ 448587813 w 434"/>
              <a:gd name="T71" fmla="*/ 15120938 h 584"/>
              <a:gd name="T72" fmla="*/ 438507188 w 434"/>
              <a:gd name="T73" fmla="*/ 45362813 h 584"/>
              <a:gd name="T74" fmla="*/ 423386250 w 434"/>
              <a:gd name="T75" fmla="*/ 70564375 h 584"/>
              <a:gd name="T76" fmla="*/ 398184688 w 434"/>
              <a:gd name="T77" fmla="*/ 85685313 h 584"/>
              <a:gd name="T78" fmla="*/ 372983125 w 434"/>
              <a:gd name="T79" fmla="*/ 65524063 h 584"/>
              <a:gd name="T80" fmla="*/ 332660625 w 434"/>
              <a:gd name="T81" fmla="*/ 75604688 h 584"/>
              <a:gd name="T82" fmla="*/ 307459063 w 434"/>
              <a:gd name="T83" fmla="*/ 110886875 h 584"/>
              <a:gd name="T84" fmla="*/ 292338125 w 434"/>
              <a:gd name="T85" fmla="*/ 136088438 h 584"/>
              <a:gd name="T86" fmla="*/ 272176875 w 434"/>
              <a:gd name="T87" fmla="*/ 151209375 h 584"/>
              <a:gd name="T88" fmla="*/ 241935000 w 434"/>
              <a:gd name="T89" fmla="*/ 161290000 h 584"/>
              <a:gd name="T90" fmla="*/ 216733438 w 434"/>
              <a:gd name="T91" fmla="*/ 186491563 h 584"/>
              <a:gd name="T92" fmla="*/ 186491563 w 434"/>
              <a:gd name="T93" fmla="*/ 226814063 h 584"/>
              <a:gd name="T94" fmla="*/ 156249688 w 434"/>
              <a:gd name="T95" fmla="*/ 257055938 h 584"/>
              <a:gd name="T96" fmla="*/ 136088438 w 434"/>
              <a:gd name="T97" fmla="*/ 287297813 h 584"/>
              <a:gd name="T98" fmla="*/ 115927188 w 434"/>
              <a:gd name="T99" fmla="*/ 312499375 h 584"/>
              <a:gd name="T100" fmla="*/ 95765938 w 434"/>
              <a:gd name="T101" fmla="*/ 327620313 h 584"/>
              <a:gd name="T102" fmla="*/ 50403125 w 434"/>
              <a:gd name="T103" fmla="*/ 337700938 h 584"/>
              <a:gd name="T104" fmla="*/ 25201563 w 434"/>
              <a:gd name="T105" fmla="*/ 367942813 h 584"/>
              <a:gd name="T106" fmla="*/ 0 w 434"/>
              <a:gd name="T107" fmla="*/ 357862188 h 584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w 434"/>
              <a:gd name="T163" fmla="*/ 0 h 584"/>
              <a:gd name="T164" fmla="*/ 434 w 434"/>
              <a:gd name="T165" fmla="*/ 584 h 584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T162" t="T163" r="T164" b="T165"/>
            <a:pathLst>
              <a:path w="434" h="584">
                <a:moveTo>
                  <a:pt x="4" y="160"/>
                </a:moveTo>
                <a:lnTo>
                  <a:pt x="10" y="168"/>
                </a:lnTo>
                <a:lnTo>
                  <a:pt x="14" y="170"/>
                </a:lnTo>
                <a:lnTo>
                  <a:pt x="18" y="170"/>
                </a:lnTo>
                <a:lnTo>
                  <a:pt x="24" y="168"/>
                </a:lnTo>
                <a:lnTo>
                  <a:pt x="28" y="164"/>
                </a:lnTo>
                <a:lnTo>
                  <a:pt x="34" y="166"/>
                </a:lnTo>
                <a:lnTo>
                  <a:pt x="38" y="162"/>
                </a:lnTo>
                <a:lnTo>
                  <a:pt x="40" y="156"/>
                </a:lnTo>
                <a:lnTo>
                  <a:pt x="44" y="156"/>
                </a:lnTo>
                <a:lnTo>
                  <a:pt x="52" y="156"/>
                </a:lnTo>
                <a:lnTo>
                  <a:pt x="54" y="154"/>
                </a:lnTo>
                <a:lnTo>
                  <a:pt x="56" y="154"/>
                </a:lnTo>
                <a:lnTo>
                  <a:pt x="58" y="156"/>
                </a:lnTo>
                <a:lnTo>
                  <a:pt x="62" y="160"/>
                </a:lnTo>
                <a:lnTo>
                  <a:pt x="64" y="162"/>
                </a:lnTo>
                <a:lnTo>
                  <a:pt x="66" y="162"/>
                </a:lnTo>
                <a:lnTo>
                  <a:pt x="70" y="162"/>
                </a:lnTo>
                <a:lnTo>
                  <a:pt x="72" y="160"/>
                </a:lnTo>
                <a:lnTo>
                  <a:pt x="74" y="156"/>
                </a:lnTo>
                <a:lnTo>
                  <a:pt x="76" y="160"/>
                </a:lnTo>
                <a:lnTo>
                  <a:pt x="82" y="156"/>
                </a:lnTo>
                <a:lnTo>
                  <a:pt x="86" y="152"/>
                </a:lnTo>
                <a:lnTo>
                  <a:pt x="86" y="148"/>
                </a:lnTo>
                <a:lnTo>
                  <a:pt x="90" y="142"/>
                </a:lnTo>
                <a:lnTo>
                  <a:pt x="96" y="142"/>
                </a:lnTo>
                <a:lnTo>
                  <a:pt x="98" y="138"/>
                </a:lnTo>
                <a:lnTo>
                  <a:pt x="104" y="144"/>
                </a:lnTo>
                <a:lnTo>
                  <a:pt x="106" y="148"/>
                </a:lnTo>
                <a:lnTo>
                  <a:pt x="108" y="148"/>
                </a:lnTo>
                <a:lnTo>
                  <a:pt x="110" y="138"/>
                </a:lnTo>
                <a:lnTo>
                  <a:pt x="110" y="136"/>
                </a:lnTo>
                <a:lnTo>
                  <a:pt x="116" y="136"/>
                </a:lnTo>
                <a:lnTo>
                  <a:pt x="124" y="132"/>
                </a:lnTo>
                <a:lnTo>
                  <a:pt x="130" y="132"/>
                </a:lnTo>
                <a:lnTo>
                  <a:pt x="138" y="130"/>
                </a:lnTo>
                <a:lnTo>
                  <a:pt x="140" y="132"/>
                </a:lnTo>
                <a:lnTo>
                  <a:pt x="146" y="132"/>
                </a:lnTo>
                <a:lnTo>
                  <a:pt x="156" y="138"/>
                </a:lnTo>
                <a:lnTo>
                  <a:pt x="164" y="146"/>
                </a:lnTo>
                <a:lnTo>
                  <a:pt x="168" y="154"/>
                </a:lnTo>
                <a:lnTo>
                  <a:pt x="168" y="156"/>
                </a:lnTo>
                <a:lnTo>
                  <a:pt x="168" y="160"/>
                </a:lnTo>
                <a:lnTo>
                  <a:pt x="164" y="162"/>
                </a:lnTo>
                <a:lnTo>
                  <a:pt x="158" y="164"/>
                </a:lnTo>
                <a:lnTo>
                  <a:pt x="156" y="168"/>
                </a:lnTo>
                <a:lnTo>
                  <a:pt x="150" y="172"/>
                </a:lnTo>
                <a:lnTo>
                  <a:pt x="150" y="180"/>
                </a:lnTo>
                <a:lnTo>
                  <a:pt x="152" y="184"/>
                </a:lnTo>
                <a:lnTo>
                  <a:pt x="152" y="186"/>
                </a:lnTo>
                <a:lnTo>
                  <a:pt x="144" y="186"/>
                </a:lnTo>
                <a:lnTo>
                  <a:pt x="142" y="190"/>
                </a:lnTo>
                <a:lnTo>
                  <a:pt x="138" y="198"/>
                </a:lnTo>
                <a:lnTo>
                  <a:pt x="138" y="202"/>
                </a:lnTo>
                <a:lnTo>
                  <a:pt x="138" y="208"/>
                </a:lnTo>
                <a:lnTo>
                  <a:pt x="138" y="214"/>
                </a:lnTo>
                <a:lnTo>
                  <a:pt x="140" y="216"/>
                </a:lnTo>
                <a:lnTo>
                  <a:pt x="140" y="218"/>
                </a:lnTo>
                <a:lnTo>
                  <a:pt x="140" y="222"/>
                </a:lnTo>
                <a:lnTo>
                  <a:pt x="134" y="226"/>
                </a:lnTo>
                <a:lnTo>
                  <a:pt x="132" y="232"/>
                </a:lnTo>
                <a:lnTo>
                  <a:pt x="132" y="234"/>
                </a:lnTo>
                <a:lnTo>
                  <a:pt x="130" y="240"/>
                </a:lnTo>
                <a:lnTo>
                  <a:pt x="128" y="244"/>
                </a:lnTo>
                <a:lnTo>
                  <a:pt x="124" y="254"/>
                </a:lnTo>
                <a:lnTo>
                  <a:pt x="122" y="262"/>
                </a:lnTo>
                <a:lnTo>
                  <a:pt x="118" y="268"/>
                </a:lnTo>
                <a:lnTo>
                  <a:pt x="116" y="272"/>
                </a:lnTo>
                <a:lnTo>
                  <a:pt x="116" y="274"/>
                </a:lnTo>
                <a:lnTo>
                  <a:pt x="118" y="276"/>
                </a:lnTo>
                <a:lnTo>
                  <a:pt x="130" y="278"/>
                </a:lnTo>
                <a:lnTo>
                  <a:pt x="138" y="280"/>
                </a:lnTo>
                <a:lnTo>
                  <a:pt x="146" y="286"/>
                </a:lnTo>
                <a:lnTo>
                  <a:pt x="148" y="288"/>
                </a:lnTo>
                <a:lnTo>
                  <a:pt x="152" y="288"/>
                </a:lnTo>
                <a:lnTo>
                  <a:pt x="156" y="288"/>
                </a:lnTo>
                <a:lnTo>
                  <a:pt x="158" y="288"/>
                </a:lnTo>
                <a:lnTo>
                  <a:pt x="162" y="288"/>
                </a:lnTo>
                <a:lnTo>
                  <a:pt x="164" y="292"/>
                </a:lnTo>
                <a:lnTo>
                  <a:pt x="164" y="294"/>
                </a:lnTo>
                <a:lnTo>
                  <a:pt x="162" y="298"/>
                </a:lnTo>
                <a:lnTo>
                  <a:pt x="162" y="300"/>
                </a:lnTo>
                <a:lnTo>
                  <a:pt x="160" y="308"/>
                </a:lnTo>
                <a:lnTo>
                  <a:pt x="160" y="312"/>
                </a:lnTo>
                <a:lnTo>
                  <a:pt x="160" y="316"/>
                </a:lnTo>
                <a:lnTo>
                  <a:pt x="158" y="324"/>
                </a:lnTo>
                <a:lnTo>
                  <a:pt x="152" y="326"/>
                </a:lnTo>
                <a:lnTo>
                  <a:pt x="148" y="332"/>
                </a:lnTo>
                <a:lnTo>
                  <a:pt x="150" y="332"/>
                </a:lnTo>
                <a:lnTo>
                  <a:pt x="152" y="336"/>
                </a:lnTo>
                <a:lnTo>
                  <a:pt x="156" y="340"/>
                </a:lnTo>
                <a:lnTo>
                  <a:pt x="152" y="350"/>
                </a:lnTo>
                <a:lnTo>
                  <a:pt x="152" y="352"/>
                </a:lnTo>
                <a:lnTo>
                  <a:pt x="150" y="354"/>
                </a:lnTo>
                <a:lnTo>
                  <a:pt x="146" y="362"/>
                </a:lnTo>
                <a:lnTo>
                  <a:pt x="146" y="370"/>
                </a:lnTo>
                <a:lnTo>
                  <a:pt x="142" y="376"/>
                </a:lnTo>
                <a:lnTo>
                  <a:pt x="142" y="382"/>
                </a:lnTo>
                <a:lnTo>
                  <a:pt x="142" y="386"/>
                </a:lnTo>
                <a:lnTo>
                  <a:pt x="138" y="396"/>
                </a:lnTo>
                <a:lnTo>
                  <a:pt x="130" y="404"/>
                </a:lnTo>
                <a:lnTo>
                  <a:pt x="128" y="408"/>
                </a:lnTo>
                <a:lnTo>
                  <a:pt x="124" y="414"/>
                </a:lnTo>
                <a:lnTo>
                  <a:pt x="126" y="418"/>
                </a:lnTo>
                <a:lnTo>
                  <a:pt x="124" y="422"/>
                </a:lnTo>
                <a:lnTo>
                  <a:pt x="142" y="440"/>
                </a:lnTo>
                <a:lnTo>
                  <a:pt x="146" y="444"/>
                </a:lnTo>
                <a:lnTo>
                  <a:pt x="150" y="452"/>
                </a:lnTo>
                <a:lnTo>
                  <a:pt x="158" y="458"/>
                </a:lnTo>
                <a:lnTo>
                  <a:pt x="208" y="498"/>
                </a:lnTo>
                <a:lnTo>
                  <a:pt x="226" y="512"/>
                </a:lnTo>
                <a:lnTo>
                  <a:pt x="228" y="512"/>
                </a:lnTo>
                <a:lnTo>
                  <a:pt x="230" y="514"/>
                </a:lnTo>
                <a:lnTo>
                  <a:pt x="254" y="532"/>
                </a:lnTo>
                <a:lnTo>
                  <a:pt x="290" y="564"/>
                </a:lnTo>
                <a:lnTo>
                  <a:pt x="314" y="584"/>
                </a:lnTo>
                <a:lnTo>
                  <a:pt x="320" y="572"/>
                </a:lnTo>
                <a:lnTo>
                  <a:pt x="324" y="564"/>
                </a:lnTo>
                <a:lnTo>
                  <a:pt x="326" y="558"/>
                </a:lnTo>
                <a:lnTo>
                  <a:pt x="332" y="550"/>
                </a:lnTo>
                <a:lnTo>
                  <a:pt x="340" y="542"/>
                </a:lnTo>
                <a:lnTo>
                  <a:pt x="348" y="530"/>
                </a:lnTo>
                <a:lnTo>
                  <a:pt x="356" y="516"/>
                </a:lnTo>
                <a:lnTo>
                  <a:pt x="356" y="510"/>
                </a:lnTo>
                <a:lnTo>
                  <a:pt x="354" y="504"/>
                </a:lnTo>
                <a:lnTo>
                  <a:pt x="354" y="496"/>
                </a:lnTo>
                <a:lnTo>
                  <a:pt x="354" y="492"/>
                </a:lnTo>
                <a:lnTo>
                  <a:pt x="360" y="488"/>
                </a:lnTo>
                <a:lnTo>
                  <a:pt x="368" y="480"/>
                </a:lnTo>
                <a:lnTo>
                  <a:pt x="378" y="462"/>
                </a:lnTo>
                <a:lnTo>
                  <a:pt x="386" y="454"/>
                </a:lnTo>
                <a:lnTo>
                  <a:pt x="384" y="442"/>
                </a:lnTo>
                <a:lnTo>
                  <a:pt x="352" y="370"/>
                </a:lnTo>
                <a:lnTo>
                  <a:pt x="354" y="364"/>
                </a:lnTo>
                <a:lnTo>
                  <a:pt x="354" y="354"/>
                </a:lnTo>
                <a:lnTo>
                  <a:pt x="356" y="342"/>
                </a:lnTo>
                <a:lnTo>
                  <a:pt x="350" y="326"/>
                </a:lnTo>
                <a:lnTo>
                  <a:pt x="348" y="322"/>
                </a:lnTo>
                <a:lnTo>
                  <a:pt x="352" y="314"/>
                </a:lnTo>
                <a:lnTo>
                  <a:pt x="356" y="306"/>
                </a:lnTo>
                <a:lnTo>
                  <a:pt x="358" y="294"/>
                </a:lnTo>
                <a:lnTo>
                  <a:pt x="356" y="290"/>
                </a:lnTo>
                <a:lnTo>
                  <a:pt x="356" y="288"/>
                </a:lnTo>
                <a:lnTo>
                  <a:pt x="364" y="286"/>
                </a:lnTo>
                <a:lnTo>
                  <a:pt x="368" y="280"/>
                </a:lnTo>
                <a:lnTo>
                  <a:pt x="368" y="270"/>
                </a:lnTo>
                <a:lnTo>
                  <a:pt x="370" y="268"/>
                </a:lnTo>
                <a:lnTo>
                  <a:pt x="376" y="262"/>
                </a:lnTo>
                <a:lnTo>
                  <a:pt x="378" y="258"/>
                </a:lnTo>
                <a:lnTo>
                  <a:pt x="374" y="252"/>
                </a:lnTo>
                <a:lnTo>
                  <a:pt x="382" y="244"/>
                </a:lnTo>
                <a:lnTo>
                  <a:pt x="390" y="236"/>
                </a:lnTo>
                <a:lnTo>
                  <a:pt x="390" y="220"/>
                </a:lnTo>
                <a:lnTo>
                  <a:pt x="396" y="210"/>
                </a:lnTo>
                <a:lnTo>
                  <a:pt x="392" y="204"/>
                </a:lnTo>
                <a:lnTo>
                  <a:pt x="390" y="200"/>
                </a:lnTo>
                <a:lnTo>
                  <a:pt x="392" y="198"/>
                </a:lnTo>
                <a:lnTo>
                  <a:pt x="400" y="190"/>
                </a:lnTo>
                <a:lnTo>
                  <a:pt x="406" y="168"/>
                </a:lnTo>
                <a:lnTo>
                  <a:pt x="412" y="156"/>
                </a:lnTo>
                <a:lnTo>
                  <a:pt x="418" y="150"/>
                </a:lnTo>
                <a:lnTo>
                  <a:pt x="422" y="146"/>
                </a:lnTo>
                <a:lnTo>
                  <a:pt x="420" y="138"/>
                </a:lnTo>
                <a:lnTo>
                  <a:pt x="424" y="130"/>
                </a:lnTo>
                <a:lnTo>
                  <a:pt x="426" y="120"/>
                </a:lnTo>
                <a:lnTo>
                  <a:pt x="430" y="112"/>
                </a:lnTo>
                <a:lnTo>
                  <a:pt x="434" y="100"/>
                </a:lnTo>
                <a:lnTo>
                  <a:pt x="434" y="96"/>
                </a:lnTo>
                <a:lnTo>
                  <a:pt x="420" y="88"/>
                </a:lnTo>
                <a:lnTo>
                  <a:pt x="338" y="38"/>
                </a:lnTo>
                <a:lnTo>
                  <a:pt x="318" y="26"/>
                </a:lnTo>
                <a:lnTo>
                  <a:pt x="304" y="16"/>
                </a:lnTo>
                <a:lnTo>
                  <a:pt x="288" y="16"/>
                </a:lnTo>
                <a:lnTo>
                  <a:pt x="264" y="12"/>
                </a:lnTo>
                <a:lnTo>
                  <a:pt x="214" y="8"/>
                </a:lnTo>
                <a:lnTo>
                  <a:pt x="200" y="4"/>
                </a:lnTo>
                <a:lnTo>
                  <a:pt x="182" y="0"/>
                </a:lnTo>
                <a:lnTo>
                  <a:pt x="180" y="2"/>
                </a:lnTo>
                <a:lnTo>
                  <a:pt x="178" y="2"/>
                </a:lnTo>
                <a:lnTo>
                  <a:pt x="178" y="6"/>
                </a:lnTo>
                <a:lnTo>
                  <a:pt x="176" y="8"/>
                </a:lnTo>
                <a:lnTo>
                  <a:pt x="176" y="10"/>
                </a:lnTo>
                <a:lnTo>
                  <a:pt x="174" y="12"/>
                </a:lnTo>
                <a:lnTo>
                  <a:pt x="174" y="16"/>
                </a:lnTo>
                <a:lnTo>
                  <a:pt x="174" y="18"/>
                </a:lnTo>
                <a:lnTo>
                  <a:pt x="174" y="20"/>
                </a:lnTo>
                <a:lnTo>
                  <a:pt x="174" y="22"/>
                </a:lnTo>
                <a:lnTo>
                  <a:pt x="170" y="24"/>
                </a:lnTo>
                <a:lnTo>
                  <a:pt x="168" y="26"/>
                </a:lnTo>
                <a:lnTo>
                  <a:pt x="168" y="28"/>
                </a:lnTo>
                <a:lnTo>
                  <a:pt x="166" y="30"/>
                </a:lnTo>
                <a:lnTo>
                  <a:pt x="166" y="34"/>
                </a:lnTo>
                <a:lnTo>
                  <a:pt x="164" y="34"/>
                </a:lnTo>
                <a:lnTo>
                  <a:pt x="160" y="34"/>
                </a:lnTo>
                <a:lnTo>
                  <a:pt x="158" y="34"/>
                </a:lnTo>
                <a:lnTo>
                  <a:pt x="156" y="30"/>
                </a:lnTo>
                <a:lnTo>
                  <a:pt x="152" y="28"/>
                </a:lnTo>
                <a:lnTo>
                  <a:pt x="150" y="28"/>
                </a:lnTo>
                <a:lnTo>
                  <a:pt x="150" y="26"/>
                </a:lnTo>
                <a:lnTo>
                  <a:pt x="148" y="26"/>
                </a:lnTo>
                <a:lnTo>
                  <a:pt x="146" y="26"/>
                </a:lnTo>
                <a:lnTo>
                  <a:pt x="144" y="28"/>
                </a:lnTo>
                <a:lnTo>
                  <a:pt x="142" y="30"/>
                </a:lnTo>
                <a:lnTo>
                  <a:pt x="140" y="30"/>
                </a:lnTo>
                <a:lnTo>
                  <a:pt x="132" y="30"/>
                </a:lnTo>
                <a:lnTo>
                  <a:pt x="126" y="38"/>
                </a:lnTo>
                <a:lnTo>
                  <a:pt x="124" y="38"/>
                </a:lnTo>
                <a:lnTo>
                  <a:pt x="122" y="40"/>
                </a:lnTo>
                <a:lnTo>
                  <a:pt x="122" y="42"/>
                </a:lnTo>
                <a:lnTo>
                  <a:pt x="122" y="44"/>
                </a:lnTo>
                <a:lnTo>
                  <a:pt x="122" y="46"/>
                </a:lnTo>
                <a:lnTo>
                  <a:pt x="122" y="48"/>
                </a:lnTo>
                <a:lnTo>
                  <a:pt x="118" y="52"/>
                </a:lnTo>
                <a:lnTo>
                  <a:pt x="116" y="52"/>
                </a:lnTo>
                <a:lnTo>
                  <a:pt x="116" y="54"/>
                </a:lnTo>
                <a:lnTo>
                  <a:pt x="114" y="56"/>
                </a:lnTo>
                <a:lnTo>
                  <a:pt x="112" y="58"/>
                </a:lnTo>
                <a:lnTo>
                  <a:pt x="110" y="58"/>
                </a:lnTo>
                <a:lnTo>
                  <a:pt x="110" y="60"/>
                </a:lnTo>
                <a:lnTo>
                  <a:pt x="108" y="60"/>
                </a:lnTo>
                <a:lnTo>
                  <a:pt x="106" y="62"/>
                </a:lnTo>
                <a:lnTo>
                  <a:pt x="104" y="62"/>
                </a:lnTo>
                <a:lnTo>
                  <a:pt x="100" y="62"/>
                </a:lnTo>
                <a:lnTo>
                  <a:pt x="98" y="64"/>
                </a:lnTo>
                <a:lnTo>
                  <a:pt x="96" y="64"/>
                </a:lnTo>
                <a:lnTo>
                  <a:pt x="94" y="64"/>
                </a:lnTo>
                <a:lnTo>
                  <a:pt x="92" y="66"/>
                </a:lnTo>
                <a:lnTo>
                  <a:pt x="92" y="70"/>
                </a:lnTo>
                <a:lnTo>
                  <a:pt x="90" y="72"/>
                </a:lnTo>
                <a:lnTo>
                  <a:pt x="86" y="74"/>
                </a:lnTo>
                <a:lnTo>
                  <a:pt x="86" y="76"/>
                </a:lnTo>
                <a:lnTo>
                  <a:pt x="82" y="78"/>
                </a:lnTo>
                <a:lnTo>
                  <a:pt x="80" y="80"/>
                </a:lnTo>
                <a:lnTo>
                  <a:pt x="76" y="84"/>
                </a:lnTo>
                <a:lnTo>
                  <a:pt x="74" y="90"/>
                </a:lnTo>
                <a:lnTo>
                  <a:pt x="70" y="96"/>
                </a:lnTo>
                <a:lnTo>
                  <a:pt x="66" y="98"/>
                </a:lnTo>
                <a:lnTo>
                  <a:pt x="64" y="98"/>
                </a:lnTo>
                <a:lnTo>
                  <a:pt x="62" y="100"/>
                </a:lnTo>
                <a:lnTo>
                  <a:pt x="62" y="102"/>
                </a:lnTo>
                <a:lnTo>
                  <a:pt x="60" y="106"/>
                </a:lnTo>
                <a:lnTo>
                  <a:pt x="58" y="108"/>
                </a:lnTo>
                <a:lnTo>
                  <a:pt x="56" y="108"/>
                </a:lnTo>
                <a:lnTo>
                  <a:pt x="54" y="112"/>
                </a:lnTo>
                <a:lnTo>
                  <a:pt x="54" y="114"/>
                </a:lnTo>
                <a:lnTo>
                  <a:pt x="54" y="116"/>
                </a:lnTo>
                <a:lnTo>
                  <a:pt x="54" y="118"/>
                </a:lnTo>
                <a:lnTo>
                  <a:pt x="52" y="120"/>
                </a:lnTo>
                <a:lnTo>
                  <a:pt x="48" y="120"/>
                </a:lnTo>
                <a:lnTo>
                  <a:pt x="46" y="124"/>
                </a:lnTo>
                <a:lnTo>
                  <a:pt x="44" y="126"/>
                </a:lnTo>
                <a:lnTo>
                  <a:pt x="42" y="128"/>
                </a:lnTo>
                <a:lnTo>
                  <a:pt x="40" y="128"/>
                </a:lnTo>
                <a:lnTo>
                  <a:pt x="38" y="128"/>
                </a:lnTo>
                <a:lnTo>
                  <a:pt x="38" y="130"/>
                </a:lnTo>
                <a:lnTo>
                  <a:pt x="34" y="132"/>
                </a:lnTo>
                <a:lnTo>
                  <a:pt x="30" y="134"/>
                </a:lnTo>
                <a:lnTo>
                  <a:pt x="28" y="134"/>
                </a:lnTo>
                <a:lnTo>
                  <a:pt x="24" y="134"/>
                </a:lnTo>
                <a:lnTo>
                  <a:pt x="20" y="134"/>
                </a:lnTo>
                <a:lnTo>
                  <a:pt x="18" y="136"/>
                </a:lnTo>
                <a:lnTo>
                  <a:pt x="14" y="142"/>
                </a:lnTo>
                <a:lnTo>
                  <a:pt x="14" y="144"/>
                </a:lnTo>
                <a:lnTo>
                  <a:pt x="12" y="146"/>
                </a:lnTo>
                <a:lnTo>
                  <a:pt x="10" y="146"/>
                </a:lnTo>
                <a:lnTo>
                  <a:pt x="10" y="144"/>
                </a:lnTo>
                <a:lnTo>
                  <a:pt x="8" y="144"/>
                </a:lnTo>
                <a:lnTo>
                  <a:pt x="6" y="144"/>
                </a:lnTo>
                <a:lnTo>
                  <a:pt x="4" y="144"/>
                </a:lnTo>
                <a:lnTo>
                  <a:pt x="0" y="142"/>
                </a:lnTo>
                <a:lnTo>
                  <a:pt x="0" y="154"/>
                </a:lnTo>
                <a:lnTo>
                  <a:pt x="4" y="160"/>
                </a:lnTo>
                <a:close/>
              </a:path>
            </a:pathLst>
          </a:custGeom>
          <a:solidFill>
            <a:srgbClr val="F1B728"/>
          </a:solidFill>
          <a:ln w="6350">
            <a:solidFill>
              <a:schemeClr val="tx1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457200"/>
            <a:endParaRPr lang="en-US" kern="0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76" name="Freeform 54">
            <a:extLst>
              <a:ext uri="{FF2B5EF4-FFF2-40B4-BE49-F238E27FC236}">
                <a16:creationId xmlns:a16="http://schemas.microsoft.com/office/drawing/2014/main" id="{D070FE74-0476-B2F1-0EF9-D41C3AE36782}"/>
              </a:ext>
            </a:extLst>
          </p:cNvPr>
          <p:cNvSpPr>
            <a:spLocks/>
          </p:cNvSpPr>
          <p:nvPr/>
        </p:nvSpPr>
        <p:spPr bwMode="auto">
          <a:xfrm>
            <a:off x="4960620" y="2301240"/>
            <a:ext cx="462280" cy="756920"/>
          </a:xfrm>
          <a:custGeom>
            <a:avLst/>
            <a:gdLst>
              <a:gd name="T0" fmla="*/ 2147483646 w 364"/>
              <a:gd name="T1" fmla="*/ 2147483646 h 596"/>
              <a:gd name="T2" fmla="*/ 0 w 364"/>
              <a:gd name="T3" fmla="*/ 2147483646 h 596"/>
              <a:gd name="T4" fmla="*/ 2147483646 w 364"/>
              <a:gd name="T5" fmla="*/ 2147483646 h 596"/>
              <a:gd name="T6" fmla="*/ 2147483646 w 364"/>
              <a:gd name="T7" fmla="*/ 2147483646 h 596"/>
              <a:gd name="T8" fmla="*/ 2147483646 w 364"/>
              <a:gd name="T9" fmla="*/ 2147483646 h 596"/>
              <a:gd name="T10" fmla="*/ 2147483646 w 364"/>
              <a:gd name="T11" fmla="*/ 2147483646 h 596"/>
              <a:gd name="T12" fmla="*/ 2147483646 w 364"/>
              <a:gd name="T13" fmla="*/ 2147483646 h 596"/>
              <a:gd name="T14" fmla="*/ 2147483646 w 364"/>
              <a:gd name="T15" fmla="*/ 2147483646 h 596"/>
              <a:gd name="T16" fmla="*/ 2147483646 w 364"/>
              <a:gd name="T17" fmla="*/ 2147483646 h 596"/>
              <a:gd name="T18" fmla="*/ 2147483646 w 364"/>
              <a:gd name="T19" fmla="*/ 2147483646 h 596"/>
              <a:gd name="T20" fmla="*/ 2147483646 w 364"/>
              <a:gd name="T21" fmla="*/ 2147483646 h 596"/>
              <a:gd name="T22" fmla="*/ 2147483646 w 364"/>
              <a:gd name="T23" fmla="*/ 2147483646 h 596"/>
              <a:gd name="T24" fmla="*/ 2147483646 w 364"/>
              <a:gd name="T25" fmla="*/ 2147483646 h 596"/>
              <a:gd name="T26" fmla="*/ 2147483646 w 364"/>
              <a:gd name="T27" fmla="*/ 2147483646 h 596"/>
              <a:gd name="T28" fmla="*/ 2147483646 w 364"/>
              <a:gd name="T29" fmla="*/ 2147483646 h 596"/>
              <a:gd name="T30" fmla="*/ 2147483646 w 364"/>
              <a:gd name="T31" fmla="*/ 2147483646 h 596"/>
              <a:gd name="T32" fmla="*/ 2147483646 w 364"/>
              <a:gd name="T33" fmla="*/ 2147483646 h 596"/>
              <a:gd name="T34" fmla="*/ 2147483646 w 364"/>
              <a:gd name="T35" fmla="*/ 2147483646 h 596"/>
              <a:gd name="T36" fmla="*/ 2147483646 w 364"/>
              <a:gd name="T37" fmla="*/ 2147483646 h 596"/>
              <a:gd name="T38" fmla="*/ 2147483646 w 364"/>
              <a:gd name="T39" fmla="*/ 2147483646 h 596"/>
              <a:gd name="T40" fmla="*/ 2147483646 w 364"/>
              <a:gd name="T41" fmla="*/ 2147483646 h 596"/>
              <a:gd name="T42" fmla="*/ 2147483646 w 364"/>
              <a:gd name="T43" fmla="*/ 2147483646 h 596"/>
              <a:gd name="T44" fmla="*/ 2147483646 w 364"/>
              <a:gd name="T45" fmla="*/ 2147483646 h 596"/>
              <a:gd name="T46" fmla="*/ 2147483646 w 364"/>
              <a:gd name="T47" fmla="*/ 2147483646 h 596"/>
              <a:gd name="T48" fmla="*/ 2147483646 w 364"/>
              <a:gd name="T49" fmla="*/ 2147483646 h 596"/>
              <a:gd name="T50" fmla="*/ 2147483646 w 364"/>
              <a:gd name="T51" fmla="*/ 2147483646 h 596"/>
              <a:gd name="T52" fmla="*/ 2147483646 w 364"/>
              <a:gd name="T53" fmla="*/ 2147483646 h 596"/>
              <a:gd name="T54" fmla="*/ 2147483646 w 364"/>
              <a:gd name="T55" fmla="*/ 2147483646 h 596"/>
              <a:gd name="T56" fmla="*/ 2147483646 w 364"/>
              <a:gd name="T57" fmla="*/ 2147483646 h 596"/>
              <a:gd name="T58" fmla="*/ 2147483646 w 364"/>
              <a:gd name="T59" fmla="*/ 2147483646 h 596"/>
              <a:gd name="T60" fmla="*/ 2147483646 w 364"/>
              <a:gd name="T61" fmla="*/ 0 h 596"/>
              <a:gd name="T62" fmla="*/ 2147483646 w 364"/>
              <a:gd name="T63" fmla="*/ 0 h 596"/>
              <a:gd name="T64" fmla="*/ 2147483646 w 364"/>
              <a:gd name="T65" fmla="*/ 0 h 596"/>
              <a:gd name="T66" fmla="*/ 2147483646 w 364"/>
              <a:gd name="T67" fmla="*/ 2147483646 h 596"/>
              <a:gd name="T68" fmla="*/ 2147483646 w 364"/>
              <a:gd name="T69" fmla="*/ 2147483646 h 59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w 364"/>
              <a:gd name="T106" fmla="*/ 0 h 596"/>
              <a:gd name="T107" fmla="*/ 364 w 364"/>
              <a:gd name="T108" fmla="*/ 596 h 596"/>
            </a:gdLst>
            <a:ahLst/>
            <a:cxnLst>
              <a:cxn ang="T70">
                <a:pos x="T0" y="T1"/>
              </a:cxn>
              <a:cxn ang="T71">
                <a:pos x="T2" y="T3"/>
              </a:cxn>
              <a:cxn ang="T72">
                <a:pos x="T4" y="T5"/>
              </a:cxn>
              <a:cxn ang="T73">
                <a:pos x="T6" y="T7"/>
              </a:cxn>
              <a:cxn ang="T74">
                <a:pos x="T8" y="T9"/>
              </a:cxn>
              <a:cxn ang="T75">
                <a:pos x="T10" y="T11"/>
              </a:cxn>
              <a:cxn ang="T76">
                <a:pos x="T12" y="T13"/>
              </a:cxn>
              <a:cxn ang="T77">
                <a:pos x="T14" y="T15"/>
              </a:cxn>
              <a:cxn ang="T78">
                <a:pos x="T16" y="T17"/>
              </a:cxn>
              <a:cxn ang="T79">
                <a:pos x="T18" y="T19"/>
              </a:cxn>
              <a:cxn ang="T80">
                <a:pos x="T20" y="T21"/>
              </a:cxn>
              <a:cxn ang="T81">
                <a:pos x="T22" y="T23"/>
              </a:cxn>
              <a:cxn ang="T82">
                <a:pos x="T24" y="T25"/>
              </a:cxn>
              <a:cxn ang="T83">
                <a:pos x="T26" y="T27"/>
              </a:cxn>
              <a:cxn ang="T84">
                <a:pos x="T28" y="T29"/>
              </a:cxn>
              <a:cxn ang="T85">
                <a:pos x="T30" y="T31"/>
              </a:cxn>
              <a:cxn ang="T86">
                <a:pos x="T32" y="T33"/>
              </a:cxn>
              <a:cxn ang="T87">
                <a:pos x="T34" y="T35"/>
              </a:cxn>
              <a:cxn ang="T88">
                <a:pos x="T36" y="T37"/>
              </a:cxn>
              <a:cxn ang="T89">
                <a:pos x="T38" y="T39"/>
              </a:cxn>
              <a:cxn ang="T90">
                <a:pos x="T40" y="T41"/>
              </a:cxn>
              <a:cxn ang="T91">
                <a:pos x="T42" y="T43"/>
              </a:cxn>
              <a:cxn ang="T92">
                <a:pos x="T44" y="T45"/>
              </a:cxn>
              <a:cxn ang="T93">
                <a:pos x="T46" y="T47"/>
              </a:cxn>
              <a:cxn ang="T94">
                <a:pos x="T48" y="T49"/>
              </a:cxn>
              <a:cxn ang="T95">
                <a:pos x="T50" y="T51"/>
              </a:cxn>
              <a:cxn ang="T96">
                <a:pos x="T52" y="T53"/>
              </a:cxn>
              <a:cxn ang="T97">
                <a:pos x="T54" y="T55"/>
              </a:cxn>
              <a:cxn ang="T98">
                <a:pos x="T56" y="T57"/>
              </a:cxn>
              <a:cxn ang="T99">
                <a:pos x="T58" y="T59"/>
              </a:cxn>
              <a:cxn ang="T100">
                <a:pos x="T60" y="T61"/>
              </a:cxn>
              <a:cxn ang="T101">
                <a:pos x="T62" y="T63"/>
              </a:cxn>
              <a:cxn ang="T102">
                <a:pos x="T64" y="T65"/>
              </a:cxn>
              <a:cxn ang="T103">
                <a:pos x="T66" y="T67"/>
              </a:cxn>
              <a:cxn ang="T104">
                <a:pos x="T68" y="T69"/>
              </a:cxn>
            </a:cxnLst>
            <a:rect l="T105" t="T106" r="T107" b="T108"/>
            <a:pathLst>
              <a:path w="364" h="596">
                <a:moveTo>
                  <a:pt x="98" y="72"/>
                </a:moveTo>
                <a:lnTo>
                  <a:pt x="94" y="112"/>
                </a:lnTo>
                <a:lnTo>
                  <a:pt x="72" y="154"/>
                </a:lnTo>
                <a:lnTo>
                  <a:pt x="0" y="274"/>
                </a:lnTo>
                <a:lnTo>
                  <a:pt x="4" y="326"/>
                </a:lnTo>
                <a:lnTo>
                  <a:pt x="4" y="482"/>
                </a:lnTo>
                <a:lnTo>
                  <a:pt x="10" y="482"/>
                </a:lnTo>
                <a:lnTo>
                  <a:pt x="18" y="484"/>
                </a:lnTo>
                <a:lnTo>
                  <a:pt x="26" y="486"/>
                </a:lnTo>
                <a:lnTo>
                  <a:pt x="32" y="494"/>
                </a:lnTo>
                <a:lnTo>
                  <a:pt x="34" y="496"/>
                </a:lnTo>
                <a:lnTo>
                  <a:pt x="36" y="502"/>
                </a:lnTo>
                <a:lnTo>
                  <a:pt x="40" y="504"/>
                </a:lnTo>
                <a:lnTo>
                  <a:pt x="40" y="512"/>
                </a:lnTo>
                <a:lnTo>
                  <a:pt x="44" y="514"/>
                </a:lnTo>
                <a:lnTo>
                  <a:pt x="44" y="522"/>
                </a:lnTo>
                <a:lnTo>
                  <a:pt x="46" y="524"/>
                </a:lnTo>
                <a:lnTo>
                  <a:pt x="44" y="538"/>
                </a:lnTo>
                <a:lnTo>
                  <a:pt x="52" y="544"/>
                </a:lnTo>
                <a:lnTo>
                  <a:pt x="54" y="542"/>
                </a:lnTo>
                <a:lnTo>
                  <a:pt x="60" y="548"/>
                </a:lnTo>
                <a:lnTo>
                  <a:pt x="70" y="548"/>
                </a:lnTo>
                <a:lnTo>
                  <a:pt x="78" y="550"/>
                </a:lnTo>
                <a:lnTo>
                  <a:pt x="84" y="558"/>
                </a:lnTo>
                <a:lnTo>
                  <a:pt x="190" y="512"/>
                </a:lnTo>
                <a:lnTo>
                  <a:pt x="242" y="532"/>
                </a:lnTo>
                <a:lnTo>
                  <a:pt x="344" y="572"/>
                </a:lnTo>
                <a:lnTo>
                  <a:pt x="362" y="596"/>
                </a:lnTo>
                <a:lnTo>
                  <a:pt x="362" y="584"/>
                </a:lnTo>
                <a:lnTo>
                  <a:pt x="358" y="556"/>
                </a:lnTo>
                <a:lnTo>
                  <a:pt x="358" y="550"/>
                </a:lnTo>
                <a:lnTo>
                  <a:pt x="358" y="548"/>
                </a:lnTo>
                <a:lnTo>
                  <a:pt x="358" y="522"/>
                </a:lnTo>
                <a:lnTo>
                  <a:pt x="358" y="518"/>
                </a:lnTo>
                <a:lnTo>
                  <a:pt x="358" y="504"/>
                </a:lnTo>
                <a:lnTo>
                  <a:pt x="358" y="502"/>
                </a:lnTo>
                <a:lnTo>
                  <a:pt x="358" y="498"/>
                </a:lnTo>
                <a:lnTo>
                  <a:pt x="358" y="496"/>
                </a:lnTo>
                <a:lnTo>
                  <a:pt x="358" y="462"/>
                </a:lnTo>
                <a:lnTo>
                  <a:pt x="358" y="460"/>
                </a:lnTo>
                <a:lnTo>
                  <a:pt x="358" y="458"/>
                </a:lnTo>
                <a:lnTo>
                  <a:pt x="358" y="428"/>
                </a:lnTo>
                <a:lnTo>
                  <a:pt x="358" y="424"/>
                </a:lnTo>
                <a:lnTo>
                  <a:pt x="358" y="422"/>
                </a:lnTo>
                <a:lnTo>
                  <a:pt x="358" y="346"/>
                </a:lnTo>
                <a:lnTo>
                  <a:pt x="358" y="342"/>
                </a:lnTo>
                <a:lnTo>
                  <a:pt x="362" y="340"/>
                </a:lnTo>
                <a:lnTo>
                  <a:pt x="362" y="338"/>
                </a:lnTo>
                <a:lnTo>
                  <a:pt x="362" y="298"/>
                </a:lnTo>
                <a:lnTo>
                  <a:pt x="362" y="282"/>
                </a:lnTo>
                <a:lnTo>
                  <a:pt x="362" y="270"/>
                </a:lnTo>
                <a:lnTo>
                  <a:pt x="362" y="264"/>
                </a:lnTo>
                <a:lnTo>
                  <a:pt x="362" y="214"/>
                </a:lnTo>
                <a:lnTo>
                  <a:pt x="364" y="214"/>
                </a:lnTo>
                <a:lnTo>
                  <a:pt x="364" y="206"/>
                </a:lnTo>
                <a:lnTo>
                  <a:pt x="364" y="194"/>
                </a:lnTo>
                <a:lnTo>
                  <a:pt x="364" y="98"/>
                </a:lnTo>
                <a:lnTo>
                  <a:pt x="364" y="90"/>
                </a:lnTo>
                <a:lnTo>
                  <a:pt x="364" y="84"/>
                </a:lnTo>
                <a:lnTo>
                  <a:pt x="364" y="82"/>
                </a:lnTo>
                <a:lnTo>
                  <a:pt x="362" y="0"/>
                </a:lnTo>
                <a:lnTo>
                  <a:pt x="354" y="0"/>
                </a:lnTo>
                <a:lnTo>
                  <a:pt x="352" y="0"/>
                </a:lnTo>
                <a:lnTo>
                  <a:pt x="316" y="0"/>
                </a:lnTo>
                <a:lnTo>
                  <a:pt x="208" y="0"/>
                </a:lnTo>
                <a:lnTo>
                  <a:pt x="206" y="0"/>
                </a:lnTo>
                <a:lnTo>
                  <a:pt x="154" y="0"/>
                </a:lnTo>
                <a:lnTo>
                  <a:pt x="118" y="2"/>
                </a:lnTo>
                <a:lnTo>
                  <a:pt x="118" y="30"/>
                </a:lnTo>
                <a:lnTo>
                  <a:pt x="98" y="72"/>
                </a:lnTo>
                <a:close/>
              </a:path>
            </a:pathLst>
          </a:custGeom>
          <a:solidFill>
            <a:srgbClr val="F1B728"/>
          </a:solidFill>
          <a:ln w="6350">
            <a:solidFill>
              <a:schemeClr val="tx1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457200">
              <a:defRPr/>
            </a:pPr>
            <a:endParaRPr lang="en-US" kern="0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77" name="Freeform 55">
            <a:extLst>
              <a:ext uri="{FF2B5EF4-FFF2-40B4-BE49-F238E27FC236}">
                <a16:creationId xmlns:a16="http://schemas.microsoft.com/office/drawing/2014/main" id="{2BD8BB1F-76CA-50C6-2D14-9DF589A71895}"/>
              </a:ext>
            </a:extLst>
          </p:cNvPr>
          <p:cNvSpPr>
            <a:spLocks/>
          </p:cNvSpPr>
          <p:nvPr/>
        </p:nvSpPr>
        <p:spPr bwMode="auto">
          <a:xfrm>
            <a:off x="4546600" y="3175000"/>
            <a:ext cx="1033780" cy="1049020"/>
          </a:xfrm>
          <a:custGeom>
            <a:avLst/>
            <a:gdLst>
              <a:gd name="T0" fmla="*/ 2147483646 w 814"/>
              <a:gd name="T1" fmla="*/ 2147483646 h 826"/>
              <a:gd name="T2" fmla="*/ 2147483646 w 814"/>
              <a:gd name="T3" fmla="*/ 2147483646 h 826"/>
              <a:gd name="T4" fmla="*/ 2147483646 w 814"/>
              <a:gd name="T5" fmla="*/ 2147483646 h 826"/>
              <a:gd name="T6" fmla="*/ 2147483646 w 814"/>
              <a:gd name="T7" fmla="*/ 2147483646 h 826"/>
              <a:gd name="T8" fmla="*/ 2147483646 w 814"/>
              <a:gd name="T9" fmla="*/ 2147483646 h 826"/>
              <a:gd name="T10" fmla="*/ 2147483646 w 814"/>
              <a:gd name="T11" fmla="*/ 2147483646 h 826"/>
              <a:gd name="T12" fmla="*/ 2147483646 w 814"/>
              <a:gd name="T13" fmla="*/ 2147483646 h 826"/>
              <a:gd name="T14" fmla="*/ 2147483646 w 814"/>
              <a:gd name="T15" fmla="*/ 2147483646 h 826"/>
              <a:gd name="T16" fmla="*/ 2147483646 w 814"/>
              <a:gd name="T17" fmla="*/ 0 h 826"/>
              <a:gd name="T18" fmla="*/ 2147483646 w 814"/>
              <a:gd name="T19" fmla="*/ 2147483646 h 826"/>
              <a:gd name="T20" fmla="*/ 2147483646 w 814"/>
              <a:gd name="T21" fmla="*/ 2147483646 h 826"/>
              <a:gd name="T22" fmla="*/ 2147483646 w 814"/>
              <a:gd name="T23" fmla="*/ 2147483646 h 826"/>
              <a:gd name="T24" fmla="*/ 2147483646 w 814"/>
              <a:gd name="T25" fmla="*/ 2147483646 h 826"/>
              <a:gd name="T26" fmla="*/ 2147483646 w 814"/>
              <a:gd name="T27" fmla="*/ 2147483646 h 826"/>
              <a:gd name="T28" fmla="*/ 2147483646 w 814"/>
              <a:gd name="T29" fmla="*/ 2147483646 h 826"/>
              <a:gd name="T30" fmla="*/ 2147483646 w 814"/>
              <a:gd name="T31" fmla="*/ 2147483646 h 826"/>
              <a:gd name="T32" fmla="*/ 2147483646 w 814"/>
              <a:gd name="T33" fmla="*/ 2147483646 h 826"/>
              <a:gd name="T34" fmla="*/ 2147483646 w 814"/>
              <a:gd name="T35" fmla="*/ 2147483646 h 826"/>
              <a:gd name="T36" fmla="*/ 2147483646 w 814"/>
              <a:gd name="T37" fmla="*/ 2147483646 h 826"/>
              <a:gd name="T38" fmla="*/ 2147483646 w 814"/>
              <a:gd name="T39" fmla="*/ 2147483646 h 826"/>
              <a:gd name="T40" fmla="*/ 2147483646 w 814"/>
              <a:gd name="T41" fmla="*/ 2147483646 h 826"/>
              <a:gd name="T42" fmla="*/ 2147483646 w 814"/>
              <a:gd name="T43" fmla="*/ 2147483646 h 826"/>
              <a:gd name="T44" fmla="*/ 2147483646 w 814"/>
              <a:gd name="T45" fmla="*/ 2147483646 h 826"/>
              <a:gd name="T46" fmla="*/ 2147483646 w 814"/>
              <a:gd name="T47" fmla="*/ 2147483646 h 826"/>
              <a:gd name="T48" fmla="*/ 2147483646 w 814"/>
              <a:gd name="T49" fmla="*/ 2147483646 h 826"/>
              <a:gd name="T50" fmla="*/ 2147483646 w 814"/>
              <a:gd name="T51" fmla="*/ 2147483646 h 826"/>
              <a:gd name="T52" fmla="*/ 2147483646 w 814"/>
              <a:gd name="T53" fmla="*/ 2147483646 h 826"/>
              <a:gd name="T54" fmla="*/ 2147483646 w 814"/>
              <a:gd name="T55" fmla="*/ 2147483646 h 826"/>
              <a:gd name="T56" fmla="*/ 2147483646 w 814"/>
              <a:gd name="T57" fmla="*/ 2147483646 h 826"/>
              <a:gd name="T58" fmla="*/ 2147483646 w 814"/>
              <a:gd name="T59" fmla="*/ 2147483646 h 826"/>
              <a:gd name="T60" fmla="*/ 2147483646 w 814"/>
              <a:gd name="T61" fmla="*/ 2147483646 h 826"/>
              <a:gd name="T62" fmla="*/ 2147483646 w 814"/>
              <a:gd name="T63" fmla="*/ 2147483646 h 826"/>
              <a:gd name="T64" fmla="*/ 2147483646 w 814"/>
              <a:gd name="T65" fmla="*/ 2147483646 h 826"/>
              <a:gd name="T66" fmla="*/ 2147483646 w 814"/>
              <a:gd name="T67" fmla="*/ 2147483646 h 826"/>
              <a:gd name="T68" fmla="*/ 2147483646 w 814"/>
              <a:gd name="T69" fmla="*/ 2147483646 h 826"/>
              <a:gd name="T70" fmla="*/ 2147483646 w 814"/>
              <a:gd name="T71" fmla="*/ 2147483646 h 826"/>
              <a:gd name="T72" fmla="*/ 2147483646 w 814"/>
              <a:gd name="T73" fmla="*/ 2147483646 h 826"/>
              <a:gd name="T74" fmla="*/ 2147483646 w 814"/>
              <a:gd name="T75" fmla="*/ 2147483646 h 826"/>
              <a:gd name="T76" fmla="*/ 2147483646 w 814"/>
              <a:gd name="T77" fmla="*/ 2147483646 h 826"/>
              <a:gd name="T78" fmla="*/ 2147483646 w 814"/>
              <a:gd name="T79" fmla="*/ 2147483646 h 826"/>
              <a:gd name="T80" fmla="*/ 2147483646 w 814"/>
              <a:gd name="T81" fmla="*/ 2147483646 h 826"/>
              <a:gd name="T82" fmla="*/ 2147483646 w 814"/>
              <a:gd name="T83" fmla="*/ 2147483646 h 826"/>
              <a:gd name="T84" fmla="*/ 2147483646 w 814"/>
              <a:gd name="T85" fmla="*/ 2147483646 h 826"/>
              <a:gd name="T86" fmla="*/ 2147483646 w 814"/>
              <a:gd name="T87" fmla="*/ 2147483646 h 826"/>
              <a:gd name="T88" fmla="*/ 2147483646 w 814"/>
              <a:gd name="T89" fmla="*/ 2147483646 h 826"/>
              <a:gd name="T90" fmla="*/ 2147483646 w 814"/>
              <a:gd name="T91" fmla="*/ 2147483646 h 826"/>
              <a:gd name="T92" fmla="*/ 2147483646 w 814"/>
              <a:gd name="T93" fmla="*/ 2147483646 h 826"/>
              <a:gd name="T94" fmla="*/ 2147483646 w 814"/>
              <a:gd name="T95" fmla="*/ 2147483646 h 826"/>
              <a:gd name="T96" fmla="*/ 2147483646 w 814"/>
              <a:gd name="T97" fmla="*/ 2147483646 h 826"/>
              <a:gd name="T98" fmla="*/ 2147483646 w 814"/>
              <a:gd name="T99" fmla="*/ 2147483646 h 826"/>
              <a:gd name="T100" fmla="*/ 2147483646 w 814"/>
              <a:gd name="T101" fmla="*/ 2147483646 h 826"/>
              <a:gd name="T102" fmla="*/ 2147483646 w 814"/>
              <a:gd name="T103" fmla="*/ 2147483646 h 826"/>
              <a:gd name="T104" fmla="*/ 2147483646 w 814"/>
              <a:gd name="T105" fmla="*/ 2147483646 h 82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w 814"/>
              <a:gd name="T160" fmla="*/ 0 h 826"/>
              <a:gd name="T161" fmla="*/ 814 w 814"/>
              <a:gd name="T162" fmla="*/ 826 h 826"/>
            </a:gdLst>
            <a:ahLst/>
            <a:cxnLst>
              <a:cxn ang="T106">
                <a:pos x="T0" y="T1"/>
              </a:cxn>
              <a:cxn ang="T107">
                <a:pos x="T2" y="T3"/>
              </a:cxn>
              <a:cxn ang="T108">
                <a:pos x="T4" y="T5"/>
              </a:cxn>
              <a:cxn ang="T109">
                <a:pos x="T6" y="T7"/>
              </a:cxn>
              <a:cxn ang="T110">
                <a:pos x="T8" y="T9"/>
              </a:cxn>
              <a:cxn ang="T111">
                <a:pos x="T10" y="T11"/>
              </a:cxn>
              <a:cxn ang="T112">
                <a:pos x="T12" y="T13"/>
              </a:cxn>
              <a:cxn ang="T113">
                <a:pos x="T14" y="T15"/>
              </a:cxn>
              <a:cxn ang="T114">
                <a:pos x="T16" y="T17"/>
              </a:cxn>
              <a:cxn ang="T115">
                <a:pos x="T18" y="T19"/>
              </a:cxn>
              <a:cxn ang="T116">
                <a:pos x="T20" y="T21"/>
              </a:cxn>
              <a:cxn ang="T117">
                <a:pos x="T22" y="T23"/>
              </a:cxn>
              <a:cxn ang="T118">
                <a:pos x="T24" y="T25"/>
              </a:cxn>
              <a:cxn ang="T119">
                <a:pos x="T26" y="T27"/>
              </a:cxn>
              <a:cxn ang="T120">
                <a:pos x="T28" y="T29"/>
              </a:cxn>
              <a:cxn ang="T121">
                <a:pos x="T30" y="T31"/>
              </a:cxn>
              <a:cxn ang="T122">
                <a:pos x="T32" y="T33"/>
              </a:cxn>
              <a:cxn ang="T123">
                <a:pos x="T34" y="T35"/>
              </a:cxn>
              <a:cxn ang="T124">
                <a:pos x="T36" y="T37"/>
              </a:cxn>
              <a:cxn ang="T125">
                <a:pos x="T38" y="T39"/>
              </a:cxn>
              <a:cxn ang="T126">
                <a:pos x="T40" y="T41"/>
              </a:cxn>
              <a:cxn ang="T127">
                <a:pos x="T42" y="T43"/>
              </a:cxn>
              <a:cxn ang="T128">
                <a:pos x="T44" y="T45"/>
              </a:cxn>
              <a:cxn ang="T129">
                <a:pos x="T46" y="T47"/>
              </a:cxn>
              <a:cxn ang="T130">
                <a:pos x="T48" y="T49"/>
              </a:cxn>
              <a:cxn ang="T131">
                <a:pos x="T50" y="T51"/>
              </a:cxn>
              <a:cxn ang="T132">
                <a:pos x="T52" y="T53"/>
              </a:cxn>
              <a:cxn ang="T133">
                <a:pos x="T54" y="T55"/>
              </a:cxn>
              <a:cxn ang="T134">
                <a:pos x="T56" y="T57"/>
              </a:cxn>
              <a:cxn ang="T135">
                <a:pos x="T58" y="T59"/>
              </a:cxn>
              <a:cxn ang="T136">
                <a:pos x="T60" y="T61"/>
              </a:cxn>
              <a:cxn ang="T137">
                <a:pos x="T62" y="T63"/>
              </a:cxn>
              <a:cxn ang="T138">
                <a:pos x="T64" y="T65"/>
              </a:cxn>
              <a:cxn ang="T139">
                <a:pos x="T66" y="T67"/>
              </a:cxn>
              <a:cxn ang="T140">
                <a:pos x="T68" y="T69"/>
              </a:cxn>
              <a:cxn ang="T141">
                <a:pos x="T70" y="T71"/>
              </a:cxn>
              <a:cxn ang="T142">
                <a:pos x="T72" y="T73"/>
              </a:cxn>
              <a:cxn ang="T143">
                <a:pos x="T74" y="T75"/>
              </a:cxn>
              <a:cxn ang="T144">
                <a:pos x="T76" y="T77"/>
              </a:cxn>
              <a:cxn ang="T145">
                <a:pos x="T78" y="T79"/>
              </a:cxn>
              <a:cxn ang="T146">
                <a:pos x="T80" y="T81"/>
              </a:cxn>
              <a:cxn ang="T147">
                <a:pos x="T82" y="T83"/>
              </a:cxn>
              <a:cxn ang="T148">
                <a:pos x="T84" y="T85"/>
              </a:cxn>
              <a:cxn ang="T149">
                <a:pos x="T86" y="T87"/>
              </a:cxn>
              <a:cxn ang="T150">
                <a:pos x="T88" y="T89"/>
              </a:cxn>
              <a:cxn ang="T151">
                <a:pos x="T90" y="T91"/>
              </a:cxn>
              <a:cxn ang="T152">
                <a:pos x="T92" y="T93"/>
              </a:cxn>
              <a:cxn ang="T153">
                <a:pos x="T94" y="T95"/>
              </a:cxn>
              <a:cxn ang="T154">
                <a:pos x="T96" y="T97"/>
              </a:cxn>
              <a:cxn ang="T155">
                <a:pos x="T98" y="T99"/>
              </a:cxn>
              <a:cxn ang="T156">
                <a:pos x="T100" y="T101"/>
              </a:cxn>
              <a:cxn ang="T157">
                <a:pos x="T102" y="T103"/>
              </a:cxn>
              <a:cxn ang="T158">
                <a:pos x="T104" y="T105"/>
              </a:cxn>
            </a:cxnLst>
            <a:rect l="T159" t="T160" r="T161" b="T162"/>
            <a:pathLst>
              <a:path w="814" h="826">
                <a:moveTo>
                  <a:pt x="812" y="168"/>
                </a:moveTo>
                <a:lnTo>
                  <a:pt x="806" y="172"/>
                </a:lnTo>
                <a:lnTo>
                  <a:pt x="802" y="176"/>
                </a:lnTo>
                <a:lnTo>
                  <a:pt x="786" y="176"/>
                </a:lnTo>
                <a:lnTo>
                  <a:pt x="778" y="170"/>
                </a:lnTo>
                <a:lnTo>
                  <a:pt x="770" y="160"/>
                </a:lnTo>
                <a:lnTo>
                  <a:pt x="760" y="160"/>
                </a:lnTo>
                <a:lnTo>
                  <a:pt x="748" y="158"/>
                </a:lnTo>
                <a:lnTo>
                  <a:pt x="742" y="158"/>
                </a:lnTo>
                <a:lnTo>
                  <a:pt x="736" y="156"/>
                </a:lnTo>
                <a:lnTo>
                  <a:pt x="732" y="156"/>
                </a:lnTo>
                <a:lnTo>
                  <a:pt x="726" y="158"/>
                </a:lnTo>
                <a:lnTo>
                  <a:pt x="718" y="156"/>
                </a:lnTo>
                <a:lnTo>
                  <a:pt x="712" y="154"/>
                </a:lnTo>
                <a:lnTo>
                  <a:pt x="706" y="154"/>
                </a:lnTo>
                <a:lnTo>
                  <a:pt x="698" y="154"/>
                </a:lnTo>
                <a:lnTo>
                  <a:pt x="692" y="156"/>
                </a:lnTo>
                <a:lnTo>
                  <a:pt x="684" y="156"/>
                </a:lnTo>
                <a:lnTo>
                  <a:pt x="678" y="160"/>
                </a:lnTo>
                <a:lnTo>
                  <a:pt x="588" y="136"/>
                </a:lnTo>
                <a:lnTo>
                  <a:pt x="518" y="116"/>
                </a:lnTo>
                <a:lnTo>
                  <a:pt x="448" y="96"/>
                </a:lnTo>
                <a:lnTo>
                  <a:pt x="430" y="90"/>
                </a:lnTo>
                <a:lnTo>
                  <a:pt x="436" y="84"/>
                </a:lnTo>
                <a:lnTo>
                  <a:pt x="438" y="76"/>
                </a:lnTo>
                <a:lnTo>
                  <a:pt x="436" y="68"/>
                </a:lnTo>
                <a:lnTo>
                  <a:pt x="438" y="66"/>
                </a:lnTo>
                <a:lnTo>
                  <a:pt x="436" y="58"/>
                </a:lnTo>
                <a:lnTo>
                  <a:pt x="438" y="48"/>
                </a:lnTo>
                <a:lnTo>
                  <a:pt x="440" y="46"/>
                </a:lnTo>
                <a:lnTo>
                  <a:pt x="436" y="42"/>
                </a:lnTo>
                <a:lnTo>
                  <a:pt x="434" y="40"/>
                </a:lnTo>
                <a:lnTo>
                  <a:pt x="432" y="36"/>
                </a:lnTo>
                <a:lnTo>
                  <a:pt x="432" y="30"/>
                </a:lnTo>
                <a:lnTo>
                  <a:pt x="428" y="28"/>
                </a:lnTo>
                <a:lnTo>
                  <a:pt x="424" y="26"/>
                </a:lnTo>
                <a:lnTo>
                  <a:pt x="428" y="22"/>
                </a:lnTo>
                <a:lnTo>
                  <a:pt x="420" y="22"/>
                </a:lnTo>
                <a:lnTo>
                  <a:pt x="418" y="18"/>
                </a:lnTo>
                <a:lnTo>
                  <a:pt x="418" y="12"/>
                </a:lnTo>
                <a:lnTo>
                  <a:pt x="416" y="10"/>
                </a:lnTo>
                <a:lnTo>
                  <a:pt x="412" y="8"/>
                </a:lnTo>
                <a:lnTo>
                  <a:pt x="404" y="6"/>
                </a:lnTo>
                <a:lnTo>
                  <a:pt x="400" y="0"/>
                </a:lnTo>
                <a:lnTo>
                  <a:pt x="398" y="0"/>
                </a:lnTo>
                <a:lnTo>
                  <a:pt x="394" y="0"/>
                </a:lnTo>
                <a:lnTo>
                  <a:pt x="394" y="8"/>
                </a:lnTo>
                <a:lnTo>
                  <a:pt x="394" y="12"/>
                </a:lnTo>
                <a:lnTo>
                  <a:pt x="392" y="16"/>
                </a:lnTo>
                <a:lnTo>
                  <a:pt x="386" y="22"/>
                </a:lnTo>
                <a:lnTo>
                  <a:pt x="384" y="24"/>
                </a:lnTo>
                <a:lnTo>
                  <a:pt x="378" y="26"/>
                </a:lnTo>
                <a:lnTo>
                  <a:pt x="372" y="28"/>
                </a:lnTo>
                <a:lnTo>
                  <a:pt x="370" y="32"/>
                </a:lnTo>
                <a:lnTo>
                  <a:pt x="368" y="36"/>
                </a:lnTo>
                <a:lnTo>
                  <a:pt x="364" y="46"/>
                </a:lnTo>
                <a:lnTo>
                  <a:pt x="364" y="52"/>
                </a:lnTo>
                <a:lnTo>
                  <a:pt x="364" y="58"/>
                </a:lnTo>
                <a:lnTo>
                  <a:pt x="362" y="64"/>
                </a:lnTo>
                <a:lnTo>
                  <a:pt x="358" y="72"/>
                </a:lnTo>
                <a:lnTo>
                  <a:pt x="354" y="80"/>
                </a:lnTo>
                <a:lnTo>
                  <a:pt x="354" y="88"/>
                </a:lnTo>
                <a:lnTo>
                  <a:pt x="352" y="100"/>
                </a:lnTo>
                <a:lnTo>
                  <a:pt x="350" y="104"/>
                </a:lnTo>
                <a:lnTo>
                  <a:pt x="350" y="108"/>
                </a:lnTo>
                <a:lnTo>
                  <a:pt x="346" y="120"/>
                </a:lnTo>
                <a:lnTo>
                  <a:pt x="342" y="132"/>
                </a:lnTo>
                <a:lnTo>
                  <a:pt x="340" y="136"/>
                </a:lnTo>
                <a:lnTo>
                  <a:pt x="340" y="144"/>
                </a:lnTo>
                <a:lnTo>
                  <a:pt x="336" y="152"/>
                </a:lnTo>
                <a:lnTo>
                  <a:pt x="334" y="160"/>
                </a:lnTo>
                <a:lnTo>
                  <a:pt x="170" y="194"/>
                </a:lnTo>
                <a:lnTo>
                  <a:pt x="170" y="196"/>
                </a:lnTo>
                <a:lnTo>
                  <a:pt x="168" y="198"/>
                </a:lnTo>
                <a:lnTo>
                  <a:pt x="164" y="202"/>
                </a:lnTo>
                <a:lnTo>
                  <a:pt x="164" y="206"/>
                </a:lnTo>
                <a:lnTo>
                  <a:pt x="162" y="210"/>
                </a:lnTo>
                <a:lnTo>
                  <a:pt x="160" y="212"/>
                </a:lnTo>
                <a:lnTo>
                  <a:pt x="160" y="214"/>
                </a:lnTo>
                <a:lnTo>
                  <a:pt x="164" y="220"/>
                </a:lnTo>
                <a:lnTo>
                  <a:pt x="164" y="226"/>
                </a:lnTo>
                <a:lnTo>
                  <a:pt x="162" y="232"/>
                </a:lnTo>
                <a:lnTo>
                  <a:pt x="156" y="234"/>
                </a:lnTo>
                <a:lnTo>
                  <a:pt x="154" y="240"/>
                </a:lnTo>
                <a:lnTo>
                  <a:pt x="154" y="244"/>
                </a:lnTo>
                <a:lnTo>
                  <a:pt x="152" y="246"/>
                </a:lnTo>
                <a:lnTo>
                  <a:pt x="150" y="252"/>
                </a:lnTo>
                <a:lnTo>
                  <a:pt x="160" y="312"/>
                </a:lnTo>
                <a:lnTo>
                  <a:pt x="132" y="422"/>
                </a:lnTo>
                <a:lnTo>
                  <a:pt x="36" y="422"/>
                </a:lnTo>
                <a:lnTo>
                  <a:pt x="30" y="432"/>
                </a:lnTo>
                <a:lnTo>
                  <a:pt x="18" y="450"/>
                </a:lnTo>
                <a:lnTo>
                  <a:pt x="6" y="472"/>
                </a:lnTo>
                <a:lnTo>
                  <a:pt x="0" y="478"/>
                </a:lnTo>
                <a:lnTo>
                  <a:pt x="48" y="590"/>
                </a:lnTo>
                <a:lnTo>
                  <a:pt x="84" y="676"/>
                </a:lnTo>
                <a:lnTo>
                  <a:pt x="74" y="700"/>
                </a:lnTo>
                <a:lnTo>
                  <a:pt x="30" y="826"/>
                </a:lnTo>
                <a:lnTo>
                  <a:pt x="142" y="730"/>
                </a:lnTo>
                <a:lnTo>
                  <a:pt x="222" y="746"/>
                </a:lnTo>
                <a:lnTo>
                  <a:pt x="228" y="744"/>
                </a:lnTo>
                <a:lnTo>
                  <a:pt x="358" y="646"/>
                </a:lnTo>
                <a:lnTo>
                  <a:pt x="368" y="638"/>
                </a:lnTo>
                <a:lnTo>
                  <a:pt x="370" y="636"/>
                </a:lnTo>
                <a:lnTo>
                  <a:pt x="370" y="626"/>
                </a:lnTo>
                <a:lnTo>
                  <a:pt x="370" y="620"/>
                </a:lnTo>
                <a:lnTo>
                  <a:pt x="372" y="608"/>
                </a:lnTo>
                <a:lnTo>
                  <a:pt x="370" y="602"/>
                </a:lnTo>
                <a:lnTo>
                  <a:pt x="370" y="596"/>
                </a:lnTo>
                <a:lnTo>
                  <a:pt x="380" y="582"/>
                </a:lnTo>
                <a:lnTo>
                  <a:pt x="382" y="578"/>
                </a:lnTo>
                <a:lnTo>
                  <a:pt x="382" y="572"/>
                </a:lnTo>
                <a:lnTo>
                  <a:pt x="382" y="566"/>
                </a:lnTo>
                <a:lnTo>
                  <a:pt x="384" y="560"/>
                </a:lnTo>
                <a:lnTo>
                  <a:pt x="384" y="556"/>
                </a:lnTo>
                <a:lnTo>
                  <a:pt x="396" y="528"/>
                </a:lnTo>
                <a:lnTo>
                  <a:pt x="402" y="518"/>
                </a:lnTo>
                <a:lnTo>
                  <a:pt x="404" y="512"/>
                </a:lnTo>
                <a:lnTo>
                  <a:pt x="406" y="504"/>
                </a:lnTo>
                <a:lnTo>
                  <a:pt x="412" y="494"/>
                </a:lnTo>
                <a:lnTo>
                  <a:pt x="416" y="484"/>
                </a:lnTo>
                <a:lnTo>
                  <a:pt x="418" y="476"/>
                </a:lnTo>
                <a:lnTo>
                  <a:pt x="422" y="464"/>
                </a:lnTo>
                <a:lnTo>
                  <a:pt x="422" y="460"/>
                </a:lnTo>
                <a:lnTo>
                  <a:pt x="422" y="458"/>
                </a:lnTo>
                <a:lnTo>
                  <a:pt x="424" y="456"/>
                </a:lnTo>
                <a:lnTo>
                  <a:pt x="428" y="454"/>
                </a:lnTo>
                <a:lnTo>
                  <a:pt x="424" y="450"/>
                </a:lnTo>
                <a:lnTo>
                  <a:pt x="428" y="446"/>
                </a:lnTo>
                <a:lnTo>
                  <a:pt x="430" y="442"/>
                </a:lnTo>
                <a:lnTo>
                  <a:pt x="438" y="426"/>
                </a:lnTo>
                <a:lnTo>
                  <a:pt x="440" y="424"/>
                </a:lnTo>
                <a:lnTo>
                  <a:pt x="446" y="428"/>
                </a:lnTo>
                <a:lnTo>
                  <a:pt x="448" y="430"/>
                </a:lnTo>
                <a:lnTo>
                  <a:pt x="452" y="430"/>
                </a:lnTo>
                <a:lnTo>
                  <a:pt x="456" y="430"/>
                </a:lnTo>
                <a:lnTo>
                  <a:pt x="458" y="430"/>
                </a:lnTo>
                <a:lnTo>
                  <a:pt x="458" y="434"/>
                </a:lnTo>
                <a:lnTo>
                  <a:pt x="464" y="442"/>
                </a:lnTo>
                <a:lnTo>
                  <a:pt x="466" y="448"/>
                </a:lnTo>
                <a:lnTo>
                  <a:pt x="474" y="454"/>
                </a:lnTo>
                <a:lnTo>
                  <a:pt x="480" y="456"/>
                </a:lnTo>
                <a:lnTo>
                  <a:pt x="482" y="458"/>
                </a:lnTo>
                <a:lnTo>
                  <a:pt x="482" y="460"/>
                </a:lnTo>
                <a:lnTo>
                  <a:pt x="476" y="462"/>
                </a:lnTo>
                <a:lnTo>
                  <a:pt x="476" y="464"/>
                </a:lnTo>
                <a:lnTo>
                  <a:pt x="476" y="472"/>
                </a:lnTo>
                <a:lnTo>
                  <a:pt x="474" y="478"/>
                </a:lnTo>
                <a:lnTo>
                  <a:pt x="470" y="484"/>
                </a:lnTo>
                <a:lnTo>
                  <a:pt x="470" y="488"/>
                </a:lnTo>
                <a:lnTo>
                  <a:pt x="474" y="494"/>
                </a:lnTo>
                <a:lnTo>
                  <a:pt x="482" y="496"/>
                </a:lnTo>
                <a:lnTo>
                  <a:pt x="486" y="494"/>
                </a:lnTo>
                <a:lnTo>
                  <a:pt x="492" y="488"/>
                </a:lnTo>
                <a:lnTo>
                  <a:pt x="498" y="486"/>
                </a:lnTo>
                <a:lnTo>
                  <a:pt x="502" y="488"/>
                </a:lnTo>
                <a:lnTo>
                  <a:pt x="504" y="488"/>
                </a:lnTo>
                <a:lnTo>
                  <a:pt x="508" y="496"/>
                </a:lnTo>
                <a:lnTo>
                  <a:pt x="508" y="502"/>
                </a:lnTo>
                <a:lnTo>
                  <a:pt x="508" y="504"/>
                </a:lnTo>
                <a:lnTo>
                  <a:pt x="510" y="508"/>
                </a:lnTo>
                <a:lnTo>
                  <a:pt x="516" y="510"/>
                </a:lnTo>
                <a:lnTo>
                  <a:pt x="518" y="510"/>
                </a:lnTo>
                <a:lnTo>
                  <a:pt x="526" y="512"/>
                </a:lnTo>
                <a:lnTo>
                  <a:pt x="528" y="512"/>
                </a:lnTo>
                <a:lnTo>
                  <a:pt x="528" y="510"/>
                </a:lnTo>
                <a:lnTo>
                  <a:pt x="526" y="502"/>
                </a:lnTo>
                <a:lnTo>
                  <a:pt x="528" y="498"/>
                </a:lnTo>
                <a:lnTo>
                  <a:pt x="528" y="492"/>
                </a:lnTo>
                <a:lnTo>
                  <a:pt x="536" y="486"/>
                </a:lnTo>
                <a:lnTo>
                  <a:pt x="540" y="480"/>
                </a:lnTo>
                <a:lnTo>
                  <a:pt x="542" y="480"/>
                </a:lnTo>
                <a:lnTo>
                  <a:pt x="550" y="482"/>
                </a:lnTo>
                <a:lnTo>
                  <a:pt x="554" y="492"/>
                </a:lnTo>
                <a:lnTo>
                  <a:pt x="558" y="496"/>
                </a:lnTo>
                <a:lnTo>
                  <a:pt x="562" y="494"/>
                </a:lnTo>
                <a:lnTo>
                  <a:pt x="562" y="492"/>
                </a:lnTo>
                <a:lnTo>
                  <a:pt x="566" y="488"/>
                </a:lnTo>
                <a:lnTo>
                  <a:pt x="568" y="488"/>
                </a:lnTo>
                <a:lnTo>
                  <a:pt x="572" y="492"/>
                </a:lnTo>
                <a:lnTo>
                  <a:pt x="574" y="496"/>
                </a:lnTo>
                <a:lnTo>
                  <a:pt x="570" y="502"/>
                </a:lnTo>
                <a:lnTo>
                  <a:pt x="566" y="508"/>
                </a:lnTo>
                <a:lnTo>
                  <a:pt x="566" y="514"/>
                </a:lnTo>
                <a:lnTo>
                  <a:pt x="568" y="516"/>
                </a:lnTo>
                <a:lnTo>
                  <a:pt x="570" y="516"/>
                </a:lnTo>
                <a:lnTo>
                  <a:pt x="572" y="514"/>
                </a:lnTo>
                <a:lnTo>
                  <a:pt x="572" y="508"/>
                </a:lnTo>
                <a:lnTo>
                  <a:pt x="576" y="504"/>
                </a:lnTo>
                <a:lnTo>
                  <a:pt x="578" y="504"/>
                </a:lnTo>
                <a:lnTo>
                  <a:pt x="586" y="508"/>
                </a:lnTo>
                <a:lnTo>
                  <a:pt x="596" y="512"/>
                </a:lnTo>
                <a:lnTo>
                  <a:pt x="602" y="510"/>
                </a:lnTo>
                <a:lnTo>
                  <a:pt x="602" y="508"/>
                </a:lnTo>
                <a:lnTo>
                  <a:pt x="598" y="502"/>
                </a:lnTo>
                <a:lnTo>
                  <a:pt x="594" y="492"/>
                </a:lnTo>
                <a:lnTo>
                  <a:pt x="598" y="488"/>
                </a:lnTo>
                <a:lnTo>
                  <a:pt x="604" y="480"/>
                </a:lnTo>
                <a:lnTo>
                  <a:pt x="606" y="474"/>
                </a:lnTo>
                <a:lnTo>
                  <a:pt x="612" y="472"/>
                </a:lnTo>
                <a:lnTo>
                  <a:pt x="614" y="466"/>
                </a:lnTo>
                <a:lnTo>
                  <a:pt x="618" y="464"/>
                </a:lnTo>
                <a:lnTo>
                  <a:pt x="622" y="460"/>
                </a:lnTo>
                <a:lnTo>
                  <a:pt x="622" y="456"/>
                </a:lnTo>
                <a:lnTo>
                  <a:pt x="624" y="450"/>
                </a:lnTo>
                <a:lnTo>
                  <a:pt x="626" y="450"/>
                </a:lnTo>
                <a:lnTo>
                  <a:pt x="630" y="446"/>
                </a:lnTo>
                <a:lnTo>
                  <a:pt x="630" y="438"/>
                </a:lnTo>
                <a:lnTo>
                  <a:pt x="632" y="434"/>
                </a:lnTo>
                <a:lnTo>
                  <a:pt x="640" y="430"/>
                </a:lnTo>
                <a:lnTo>
                  <a:pt x="646" y="420"/>
                </a:lnTo>
                <a:lnTo>
                  <a:pt x="654" y="412"/>
                </a:lnTo>
                <a:lnTo>
                  <a:pt x="658" y="406"/>
                </a:lnTo>
                <a:lnTo>
                  <a:pt x="660" y="394"/>
                </a:lnTo>
                <a:lnTo>
                  <a:pt x="670" y="380"/>
                </a:lnTo>
                <a:lnTo>
                  <a:pt x="674" y="374"/>
                </a:lnTo>
                <a:lnTo>
                  <a:pt x="678" y="368"/>
                </a:lnTo>
                <a:lnTo>
                  <a:pt x="678" y="362"/>
                </a:lnTo>
                <a:lnTo>
                  <a:pt x="674" y="354"/>
                </a:lnTo>
                <a:lnTo>
                  <a:pt x="672" y="352"/>
                </a:lnTo>
                <a:lnTo>
                  <a:pt x="658" y="338"/>
                </a:lnTo>
                <a:lnTo>
                  <a:pt x="658" y="336"/>
                </a:lnTo>
                <a:lnTo>
                  <a:pt x="662" y="320"/>
                </a:lnTo>
                <a:lnTo>
                  <a:pt x="660" y="316"/>
                </a:lnTo>
                <a:lnTo>
                  <a:pt x="656" y="312"/>
                </a:lnTo>
                <a:lnTo>
                  <a:pt x="650" y="312"/>
                </a:lnTo>
                <a:lnTo>
                  <a:pt x="654" y="304"/>
                </a:lnTo>
                <a:lnTo>
                  <a:pt x="660" y="298"/>
                </a:lnTo>
                <a:lnTo>
                  <a:pt x="662" y="292"/>
                </a:lnTo>
                <a:lnTo>
                  <a:pt x="670" y="286"/>
                </a:lnTo>
                <a:lnTo>
                  <a:pt x="672" y="274"/>
                </a:lnTo>
                <a:lnTo>
                  <a:pt x="666" y="264"/>
                </a:lnTo>
                <a:lnTo>
                  <a:pt x="664" y="258"/>
                </a:lnTo>
                <a:lnTo>
                  <a:pt x="664" y="252"/>
                </a:lnTo>
                <a:lnTo>
                  <a:pt x="670" y="250"/>
                </a:lnTo>
                <a:lnTo>
                  <a:pt x="682" y="250"/>
                </a:lnTo>
                <a:lnTo>
                  <a:pt x="694" y="258"/>
                </a:lnTo>
                <a:lnTo>
                  <a:pt x="696" y="256"/>
                </a:lnTo>
                <a:lnTo>
                  <a:pt x="706" y="250"/>
                </a:lnTo>
                <a:lnTo>
                  <a:pt x="708" y="250"/>
                </a:lnTo>
                <a:lnTo>
                  <a:pt x="714" y="246"/>
                </a:lnTo>
                <a:lnTo>
                  <a:pt x="718" y="244"/>
                </a:lnTo>
                <a:lnTo>
                  <a:pt x="728" y="242"/>
                </a:lnTo>
                <a:lnTo>
                  <a:pt x="730" y="240"/>
                </a:lnTo>
                <a:lnTo>
                  <a:pt x="718" y="214"/>
                </a:lnTo>
                <a:lnTo>
                  <a:pt x="718" y="210"/>
                </a:lnTo>
                <a:lnTo>
                  <a:pt x="726" y="208"/>
                </a:lnTo>
                <a:lnTo>
                  <a:pt x="730" y="208"/>
                </a:lnTo>
                <a:lnTo>
                  <a:pt x="740" y="206"/>
                </a:lnTo>
                <a:lnTo>
                  <a:pt x="744" y="210"/>
                </a:lnTo>
                <a:lnTo>
                  <a:pt x="752" y="214"/>
                </a:lnTo>
                <a:lnTo>
                  <a:pt x="758" y="220"/>
                </a:lnTo>
                <a:lnTo>
                  <a:pt x="764" y="216"/>
                </a:lnTo>
                <a:lnTo>
                  <a:pt x="768" y="216"/>
                </a:lnTo>
                <a:lnTo>
                  <a:pt x="776" y="216"/>
                </a:lnTo>
                <a:lnTo>
                  <a:pt x="784" y="216"/>
                </a:lnTo>
                <a:lnTo>
                  <a:pt x="788" y="212"/>
                </a:lnTo>
                <a:lnTo>
                  <a:pt x="794" y="206"/>
                </a:lnTo>
                <a:lnTo>
                  <a:pt x="798" y="202"/>
                </a:lnTo>
                <a:lnTo>
                  <a:pt x="802" y="198"/>
                </a:lnTo>
                <a:lnTo>
                  <a:pt x="804" y="194"/>
                </a:lnTo>
                <a:lnTo>
                  <a:pt x="806" y="186"/>
                </a:lnTo>
                <a:lnTo>
                  <a:pt x="810" y="178"/>
                </a:lnTo>
                <a:lnTo>
                  <a:pt x="812" y="176"/>
                </a:lnTo>
                <a:lnTo>
                  <a:pt x="814" y="172"/>
                </a:lnTo>
                <a:lnTo>
                  <a:pt x="812" y="168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 w="6350">
            <a:solidFill>
              <a:schemeClr val="tx2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457200"/>
            <a:endParaRPr lang="en-US" kern="0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78" name="Freeform 56">
            <a:extLst>
              <a:ext uri="{FF2B5EF4-FFF2-40B4-BE49-F238E27FC236}">
                <a16:creationId xmlns:a16="http://schemas.microsoft.com/office/drawing/2014/main" id="{E6923667-EA98-1C2D-474B-18408554BA63}"/>
              </a:ext>
            </a:extLst>
          </p:cNvPr>
          <p:cNvSpPr>
            <a:spLocks/>
          </p:cNvSpPr>
          <p:nvPr/>
        </p:nvSpPr>
        <p:spPr bwMode="auto">
          <a:xfrm>
            <a:off x="4102100" y="3721100"/>
            <a:ext cx="551180" cy="736600"/>
          </a:xfrm>
          <a:custGeom>
            <a:avLst/>
            <a:gdLst>
              <a:gd name="T0" fmla="*/ 2147483646 w 434"/>
              <a:gd name="T1" fmla="*/ 2147483646 h 580"/>
              <a:gd name="T2" fmla="*/ 2147483646 w 434"/>
              <a:gd name="T3" fmla="*/ 2147483646 h 580"/>
              <a:gd name="T4" fmla="*/ 2147483646 w 434"/>
              <a:gd name="T5" fmla="*/ 2147483646 h 580"/>
              <a:gd name="T6" fmla="*/ 2147483646 w 434"/>
              <a:gd name="T7" fmla="*/ 2147483646 h 580"/>
              <a:gd name="T8" fmla="*/ 2147483646 w 434"/>
              <a:gd name="T9" fmla="*/ 2147483646 h 580"/>
              <a:gd name="T10" fmla="*/ 2147483646 w 434"/>
              <a:gd name="T11" fmla="*/ 2147483646 h 580"/>
              <a:gd name="T12" fmla="*/ 2147483646 w 434"/>
              <a:gd name="T13" fmla="*/ 2147483646 h 580"/>
              <a:gd name="T14" fmla="*/ 2147483646 w 434"/>
              <a:gd name="T15" fmla="*/ 2147483646 h 580"/>
              <a:gd name="T16" fmla="*/ 2147483646 w 434"/>
              <a:gd name="T17" fmla="*/ 2147483646 h 580"/>
              <a:gd name="T18" fmla="*/ 2147483646 w 434"/>
              <a:gd name="T19" fmla="*/ 2147483646 h 580"/>
              <a:gd name="T20" fmla="*/ 2147483646 w 434"/>
              <a:gd name="T21" fmla="*/ 2147483646 h 580"/>
              <a:gd name="T22" fmla="*/ 2147483646 w 434"/>
              <a:gd name="T23" fmla="*/ 2147483646 h 580"/>
              <a:gd name="T24" fmla="*/ 2147483646 w 434"/>
              <a:gd name="T25" fmla="*/ 2147483646 h 580"/>
              <a:gd name="T26" fmla="*/ 2147483646 w 434"/>
              <a:gd name="T27" fmla="*/ 2147483646 h 580"/>
              <a:gd name="T28" fmla="*/ 2147483646 w 434"/>
              <a:gd name="T29" fmla="*/ 2147483646 h 580"/>
              <a:gd name="T30" fmla="*/ 2147483646 w 434"/>
              <a:gd name="T31" fmla="*/ 2147483646 h 580"/>
              <a:gd name="T32" fmla="*/ 2147483646 w 434"/>
              <a:gd name="T33" fmla="*/ 2147483646 h 580"/>
              <a:gd name="T34" fmla="*/ 2147483646 w 434"/>
              <a:gd name="T35" fmla="*/ 2147483646 h 580"/>
              <a:gd name="T36" fmla="*/ 2147483646 w 434"/>
              <a:gd name="T37" fmla="*/ 0 h 580"/>
              <a:gd name="T38" fmla="*/ 2147483646 w 434"/>
              <a:gd name="T39" fmla="*/ 2147483646 h 580"/>
              <a:gd name="T40" fmla="*/ 2147483646 w 434"/>
              <a:gd name="T41" fmla="*/ 2147483646 h 580"/>
              <a:gd name="T42" fmla="*/ 2147483646 w 434"/>
              <a:gd name="T43" fmla="*/ 2147483646 h 580"/>
              <a:gd name="T44" fmla="*/ 2147483646 w 434"/>
              <a:gd name="T45" fmla="*/ 2147483646 h 580"/>
              <a:gd name="T46" fmla="*/ 2147483646 w 434"/>
              <a:gd name="T47" fmla="*/ 2147483646 h 580"/>
              <a:gd name="T48" fmla="*/ 2147483646 w 434"/>
              <a:gd name="T49" fmla="*/ 2147483646 h 580"/>
              <a:gd name="T50" fmla="*/ 2147483646 w 434"/>
              <a:gd name="T51" fmla="*/ 2147483646 h 580"/>
              <a:gd name="T52" fmla="*/ 2147483646 w 434"/>
              <a:gd name="T53" fmla="*/ 2147483646 h 580"/>
              <a:gd name="T54" fmla="*/ 2147483646 w 434"/>
              <a:gd name="T55" fmla="*/ 2147483646 h 580"/>
              <a:gd name="T56" fmla="*/ 2147483646 w 434"/>
              <a:gd name="T57" fmla="*/ 2147483646 h 580"/>
              <a:gd name="T58" fmla="*/ 2147483646 w 434"/>
              <a:gd name="T59" fmla="*/ 2147483646 h 580"/>
              <a:gd name="T60" fmla="*/ 2147483646 w 434"/>
              <a:gd name="T61" fmla="*/ 2147483646 h 580"/>
              <a:gd name="T62" fmla="*/ 2147483646 w 434"/>
              <a:gd name="T63" fmla="*/ 2147483646 h 580"/>
              <a:gd name="T64" fmla="*/ 2147483646 w 434"/>
              <a:gd name="T65" fmla="*/ 2147483646 h 580"/>
              <a:gd name="T66" fmla="*/ 2147483646 w 434"/>
              <a:gd name="T67" fmla="*/ 2147483646 h 580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w 434"/>
              <a:gd name="T103" fmla="*/ 0 h 580"/>
              <a:gd name="T104" fmla="*/ 434 w 434"/>
              <a:gd name="T105" fmla="*/ 580 h 580"/>
            </a:gdLst>
            <a:ahLst/>
            <a:cxnLst>
              <a:cxn ang="T68">
                <a:pos x="T0" y="T1"/>
              </a:cxn>
              <a:cxn ang="T69">
                <a:pos x="T2" y="T3"/>
              </a:cxn>
              <a:cxn ang="T70">
                <a:pos x="T4" y="T5"/>
              </a:cxn>
              <a:cxn ang="T71">
                <a:pos x="T6" y="T7"/>
              </a:cxn>
              <a:cxn ang="T72">
                <a:pos x="T8" y="T9"/>
              </a:cxn>
              <a:cxn ang="T73">
                <a:pos x="T10" y="T11"/>
              </a:cxn>
              <a:cxn ang="T74">
                <a:pos x="T12" y="T13"/>
              </a:cxn>
              <a:cxn ang="T75">
                <a:pos x="T14" y="T15"/>
              </a:cxn>
              <a:cxn ang="T76">
                <a:pos x="T16" y="T17"/>
              </a:cxn>
              <a:cxn ang="T77">
                <a:pos x="T18" y="T19"/>
              </a:cxn>
              <a:cxn ang="T78">
                <a:pos x="T20" y="T21"/>
              </a:cxn>
              <a:cxn ang="T79">
                <a:pos x="T22" y="T23"/>
              </a:cxn>
              <a:cxn ang="T80">
                <a:pos x="T24" y="T25"/>
              </a:cxn>
              <a:cxn ang="T81">
                <a:pos x="T26" y="T27"/>
              </a:cxn>
              <a:cxn ang="T82">
                <a:pos x="T28" y="T29"/>
              </a:cxn>
              <a:cxn ang="T83">
                <a:pos x="T30" y="T31"/>
              </a:cxn>
              <a:cxn ang="T84">
                <a:pos x="T32" y="T33"/>
              </a:cxn>
              <a:cxn ang="T85">
                <a:pos x="T34" y="T35"/>
              </a:cxn>
              <a:cxn ang="T86">
                <a:pos x="T36" y="T37"/>
              </a:cxn>
              <a:cxn ang="T87">
                <a:pos x="T38" y="T39"/>
              </a:cxn>
              <a:cxn ang="T88">
                <a:pos x="T40" y="T41"/>
              </a:cxn>
              <a:cxn ang="T89">
                <a:pos x="T42" y="T43"/>
              </a:cxn>
              <a:cxn ang="T90">
                <a:pos x="T44" y="T45"/>
              </a:cxn>
              <a:cxn ang="T91">
                <a:pos x="T46" y="T47"/>
              </a:cxn>
              <a:cxn ang="T92">
                <a:pos x="T48" y="T49"/>
              </a:cxn>
              <a:cxn ang="T93">
                <a:pos x="T50" y="T51"/>
              </a:cxn>
              <a:cxn ang="T94">
                <a:pos x="T52" y="T53"/>
              </a:cxn>
              <a:cxn ang="T95">
                <a:pos x="T54" y="T55"/>
              </a:cxn>
              <a:cxn ang="T96">
                <a:pos x="T56" y="T57"/>
              </a:cxn>
              <a:cxn ang="T97">
                <a:pos x="T58" y="T59"/>
              </a:cxn>
              <a:cxn ang="T98">
                <a:pos x="T60" y="T61"/>
              </a:cxn>
              <a:cxn ang="T99">
                <a:pos x="T62" y="T63"/>
              </a:cxn>
              <a:cxn ang="T100">
                <a:pos x="T64" y="T65"/>
              </a:cxn>
              <a:cxn ang="T101">
                <a:pos x="T66" y="T67"/>
              </a:cxn>
            </a:cxnLst>
            <a:rect l="T102" t="T103" r="T104" b="T105"/>
            <a:pathLst>
              <a:path w="434" h="580">
                <a:moveTo>
                  <a:pt x="434" y="246"/>
                </a:moveTo>
                <a:lnTo>
                  <a:pt x="398" y="160"/>
                </a:lnTo>
                <a:lnTo>
                  <a:pt x="350" y="48"/>
                </a:lnTo>
                <a:lnTo>
                  <a:pt x="346" y="52"/>
                </a:lnTo>
                <a:lnTo>
                  <a:pt x="336" y="56"/>
                </a:lnTo>
                <a:lnTo>
                  <a:pt x="322" y="58"/>
                </a:lnTo>
                <a:lnTo>
                  <a:pt x="316" y="58"/>
                </a:lnTo>
                <a:lnTo>
                  <a:pt x="314" y="56"/>
                </a:lnTo>
                <a:lnTo>
                  <a:pt x="314" y="50"/>
                </a:lnTo>
                <a:lnTo>
                  <a:pt x="310" y="46"/>
                </a:lnTo>
                <a:lnTo>
                  <a:pt x="304" y="38"/>
                </a:lnTo>
                <a:lnTo>
                  <a:pt x="300" y="30"/>
                </a:lnTo>
                <a:lnTo>
                  <a:pt x="304" y="26"/>
                </a:lnTo>
                <a:lnTo>
                  <a:pt x="302" y="24"/>
                </a:lnTo>
                <a:lnTo>
                  <a:pt x="298" y="20"/>
                </a:lnTo>
                <a:lnTo>
                  <a:pt x="292" y="20"/>
                </a:lnTo>
                <a:lnTo>
                  <a:pt x="288" y="14"/>
                </a:lnTo>
                <a:lnTo>
                  <a:pt x="286" y="12"/>
                </a:lnTo>
                <a:lnTo>
                  <a:pt x="280" y="10"/>
                </a:lnTo>
                <a:lnTo>
                  <a:pt x="278" y="10"/>
                </a:lnTo>
                <a:lnTo>
                  <a:pt x="274" y="4"/>
                </a:lnTo>
                <a:lnTo>
                  <a:pt x="268" y="10"/>
                </a:lnTo>
                <a:lnTo>
                  <a:pt x="264" y="10"/>
                </a:lnTo>
                <a:lnTo>
                  <a:pt x="260" y="12"/>
                </a:lnTo>
                <a:lnTo>
                  <a:pt x="248" y="12"/>
                </a:lnTo>
                <a:lnTo>
                  <a:pt x="246" y="14"/>
                </a:lnTo>
                <a:lnTo>
                  <a:pt x="242" y="12"/>
                </a:lnTo>
                <a:lnTo>
                  <a:pt x="240" y="12"/>
                </a:lnTo>
                <a:lnTo>
                  <a:pt x="240" y="18"/>
                </a:lnTo>
                <a:lnTo>
                  <a:pt x="236" y="18"/>
                </a:lnTo>
                <a:lnTo>
                  <a:pt x="232" y="14"/>
                </a:lnTo>
                <a:lnTo>
                  <a:pt x="230" y="12"/>
                </a:lnTo>
                <a:lnTo>
                  <a:pt x="226" y="10"/>
                </a:lnTo>
                <a:lnTo>
                  <a:pt x="224" y="12"/>
                </a:lnTo>
                <a:lnTo>
                  <a:pt x="214" y="12"/>
                </a:lnTo>
                <a:lnTo>
                  <a:pt x="206" y="12"/>
                </a:lnTo>
                <a:lnTo>
                  <a:pt x="200" y="8"/>
                </a:lnTo>
                <a:lnTo>
                  <a:pt x="194" y="0"/>
                </a:lnTo>
                <a:lnTo>
                  <a:pt x="190" y="10"/>
                </a:lnTo>
                <a:lnTo>
                  <a:pt x="170" y="56"/>
                </a:lnTo>
                <a:lnTo>
                  <a:pt x="154" y="92"/>
                </a:lnTo>
                <a:lnTo>
                  <a:pt x="148" y="104"/>
                </a:lnTo>
                <a:lnTo>
                  <a:pt x="140" y="118"/>
                </a:lnTo>
                <a:lnTo>
                  <a:pt x="120" y="140"/>
                </a:lnTo>
                <a:lnTo>
                  <a:pt x="110" y="146"/>
                </a:lnTo>
                <a:lnTo>
                  <a:pt x="74" y="190"/>
                </a:lnTo>
                <a:lnTo>
                  <a:pt x="44" y="220"/>
                </a:lnTo>
                <a:lnTo>
                  <a:pt x="22" y="242"/>
                </a:lnTo>
                <a:lnTo>
                  <a:pt x="0" y="268"/>
                </a:lnTo>
                <a:lnTo>
                  <a:pt x="34" y="358"/>
                </a:lnTo>
                <a:lnTo>
                  <a:pt x="32" y="358"/>
                </a:lnTo>
                <a:lnTo>
                  <a:pt x="14" y="372"/>
                </a:lnTo>
                <a:lnTo>
                  <a:pt x="42" y="426"/>
                </a:lnTo>
                <a:lnTo>
                  <a:pt x="44" y="436"/>
                </a:lnTo>
                <a:lnTo>
                  <a:pt x="52" y="426"/>
                </a:lnTo>
                <a:lnTo>
                  <a:pt x="56" y="428"/>
                </a:lnTo>
                <a:lnTo>
                  <a:pt x="62" y="432"/>
                </a:lnTo>
                <a:lnTo>
                  <a:pt x="62" y="434"/>
                </a:lnTo>
                <a:lnTo>
                  <a:pt x="70" y="440"/>
                </a:lnTo>
                <a:lnTo>
                  <a:pt x="84" y="448"/>
                </a:lnTo>
                <a:lnTo>
                  <a:pt x="212" y="534"/>
                </a:lnTo>
                <a:lnTo>
                  <a:pt x="280" y="580"/>
                </a:lnTo>
                <a:lnTo>
                  <a:pt x="286" y="472"/>
                </a:lnTo>
                <a:lnTo>
                  <a:pt x="288" y="446"/>
                </a:lnTo>
                <a:lnTo>
                  <a:pt x="308" y="458"/>
                </a:lnTo>
                <a:lnTo>
                  <a:pt x="360" y="414"/>
                </a:lnTo>
                <a:lnTo>
                  <a:pt x="380" y="396"/>
                </a:lnTo>
                <a:lnTo>
                  <a:pt x="424" y="270"/>
                </a:lnTo>
                <a:lnTo>
                  <a:pt x="434" y="246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 w="6350">
            <a:solidFill>
              <a:schemeClr val="tx2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457200">
              <a:defRPr/>
            </a:pPr>
            <a:endParaRPr lang="en-US" kern="0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79" name="Freeform 57">
            <a:extLst>
              <a:ext uri="{FF2B5EF4-FFF2-40B4-BE49-F238E27FC236}">
                <a16:creationId xmlns:a16="http://schemas.microsoft.com/office/drawing/2014/main" id="{9DBBFF06-6BF8-4E25-7CD9-751EFF1930E3}"/>
              </a:ext>
            </a:extLst>
          </p:cNvPr>
          <p:cNvSpPr>
            <a:spLocks/>
          </p:cNvSpPr>
          <p:nvPr/>
        </p:nvSpPr>
        <p:spPr bwMode="auto">
          <a:xfrm>
            <a:off x="5844540" y="2659380"/>
            <a:ext cx="2540" cy="2540"/>
          </a:xfrm>
          <a:custGeom>
            <a:avLst/>
            <a:gdLst>
              <a:gd name="T0" fmla="*/ 0 w 2"/>
              <a:gd name="T1" fmla="*/ 0 h 2"/>
              <a:gd name="T2" fmla="*/ 0 w 2"/>
              <a:gd name="T3" fmla="*/ 2147483646 h 2"/>
              <a:gd name="T4" fmla="*/ 2147483646 w 2"/>
              <a:gd name="T5" fmla="*/ 2147483646 h 2"/>
              <a:gd name="T6" fmla="*/ 0 w 2"/>
              <a:gd name="T7" fmla="*/ 0 h 2"/>
              <a:gd name="T8" fmla="*/ 0 60000 65536"/>
              <a:gd name="T9" fmla="*/ 0 60000 65536"/>
              <a:gd name="T10" fmla="*/ 0 60000 65536"/>
              <a:gd name="T11" fmla="*/ 0 60000 65536"/>
              <a:gd name="T12" fmla="*/ 0 w 2"/>
              <a:gd name="T13" fmla="*/ 0 h 2"/>
              <a:gd name="T14" fmla="*/ 2 w 2"/>
              <a:gd name="T15" fmla="*/ 2 h 2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2" h="2">
                <a:moveTo>
                  <a:pt x="0" y="0"/>
                </a:move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  <a:close/>
              </a:path>
            </a:pathLst>
          </a:custGeom>
          <a:solidFill>
            <a:srgbClr val="FFF537"/>
          </a:solidFill>
          <a:ln w="6350">
            <a:solidFill>
              <a:srgbClr val="00B0F0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457200">
              <a:defRPr/>
            </a:pPr>
            <a:endParaRPr lang="en-US" kern="0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80" name="Freeform 58">
            <a:extLst>
              <a:ext uri="{FF2B5EF4-FFF2-40B4-BE49-F238E27FC236}">
                <a16:creationId xmlns:a16="http://schemas.microsoft.com/office/drawing/2014/main" id="{96CC03AC-F1E7-C004-6A3B-1B78ECD6D1FF}"/>
              </a:ext>
            </a:extLst>
          </p:cNvPr>
          <p:cNvSpPr>
            <a:spLocks/>
          </p:cNvSpPr>
          <p:nvPr/>
        </p:nvSpPr>
        <p:spPr bwMode="auto">
          <a:xfrm>
            <a:off x="4384043" y="2303780"/>
            <a:ext cx="726439" cy="411480"/>
          </a:xfrm>
          <a:custGeom>
            <a:avLst/>
            <a:gdLst>
              <a:gd name="T0" fmla="*/ 2147483646 w 572"/>
              <a:gd name="T1" fmla="*/ 2147483646 h 324"/>
              <a:gd name="T2" fmla="*/ 2147483646 w 572"/>
              <a:gd name="T3" fmla="*/ 2147483646 h 324"/>
              <a:gd name="T4" fmla="*/ 2147483646 w 572"/>
              <a:gd name="T5" fmla="*/ 2147483646 h 324"/>
              <a:gd name="T6" fmla="*/ 2147483646 w 572"/>
              <a:gd name="T7" fmla="*/ 2147483646 h 324"/>
              <a:gd name="T8" fmla="*/ 2147483646 w 572"/>
              <a:gd name="T9" fmla="*/ 2147483646 h 324"/>
              <a:gd name="T10" fmla="*/ 2147483646 w 572"/>
              <a:gd name="T11" fmla="*/ 2147483646 h 324"/>
              <a:gd name="T12" fmla="*/ 2147483646 w 572"/>
              <a:gd name="T13" fmla="*/ 2147483646 h 324"/>
              <a:gd name="T14" fmla="*/ 2147483646 w 572"/>
              <a:gd name="T15" fmla="*/ 2147483646 h 324"/>
              <a:gd name="T16" fmla="*/ 2147483646 w 572"/>
              <a:gd name="T17" fmla="*/ 2147483646 h 324"/>
              <a:gd name="T18" fmla="*/ 2147483646 w 572"/>
              <a:gd name="T19" fmla="*/ 2147483646 h 324"/>
              <a:gd name="T20" fmla="*/ 2147483646 w 572"/>
              <a:gd name="T21" fmla="*/ 2147483646 h 324"/>
              <a:gd name="T22" fmla="*/ 2147483646 w 572"/>
              <a:gd name="T23" fmla="*/ 2147483646 h 324"/>
              <a:gd name="T24" fmla="*/ 2147483646 w 572"/>
              <a:gd name="T25" fmla="*/ 2147483646 h 324"/>
              <a:gd name="T26" fmla="*/ 2147483646 w 572"/>
              <a:gd name="T27" fmla="*/ 2147483646 h 324"/>
              <a:gd name="T28" fmla="*/ 2147483646 w 572"/>
              <a:gd name="T29" fmla="*/ 2147483646 h 324"/>
              <a:gd name="T30" fmla="*/ 2147483646 w 572"/>
              <a:gd name="T31" fmla="*/ 2147483646 h 324"/>
              <a:gd name="T32" fmla="*/ 2147483646 w 572"/>
              <a:gd name="T33" fmla="*/ 2147483646 h 324"/>
              <a:gd name="T34" fmla="*/ 2147483646 w 572"/>
              <a:gd name="T35" fmla="*/ 2147483646 h 324"/>
              <a:gd name="T36" fmla="*/ 2147483646 w 572"/>
              <a:gd name="T37" fmla="*/ 2147483646 h 324"/>
              <a:gd name="T38" fmla="*/ 2147483646 w 572"/>
              <a:gd name="T39" fmla="*/ 2147483646 h 324"/>
              <a:gd name="T40" fmla="*/ 2147483646 w 572"/>
              <a:gd name="T41" fmla="*/ 2147483646 h 324"/>
              <a:gd name="T42" fmla="*/ 2147483646 w 572"/>
              <a:gd name="T43" fmla="*/ 2147483646 h 324"/>
              <a:gd name="T44" fmla="*/ 2147483646 w 572"/>
              <a:gd name="T45" fmla="*/ 2147483646 h 324"/>
              <a:gd name="T46" fmla="*/ 2147483646 w 572"/>
              <a:gd name="T47" fmla="*/ 2147483646 h 324"/>
              <a:gd name="T48" fmla="*/ 2147483646 w 572"/>
              <a:gd name="T49" fmla="*/ 2147483646 h 324"/>
              <a:gd name="T50" fmla="*/ 2147483646 w 572"/>
              <a:gd name="T51" fmla="*/ 2147483646 h 324"/>
              <a:gd name="T52" fmla="*/ 2147483646 w 572"/>
              <a:gd name="T53" fmla="*/ 2147483646 h 324"/>
              <a:gd name="T54" fmla="*/ 2147483646 w 572"/>
              <a:gd name="T55" fmla="*/ 2147483646 h 324"/>
              <a:gd name="T56" fmla="*/ 2147483646 w 572"/>
              <a:gd name="T57" fmla="*/ 2147483646 h 324"/>
              <a:gd name="T58" fmla="*/ 2147483646 w 572"/>
              <a:gd name="T59" fmla="*/ 2147483646 h 324"/>
              <a:gd name="T60" fmla="*/ 2147483646 w 572"/>
              <a:gd name="T61" fmla="*/ 2147483646 h 324"/>
              <a:gd name="T62" fmla="*/ 2147483646 w 572"/>
              <a:gd name="T63" fmla="*/ 2147483646 h 324"/>
              <a:gd name="T64" fmla="*/ 2147483646 w 572"/>
              <a:gd name="T65" fmla="*/ 2147483646 h 324"/>
              <a:gd name="T66" fmla="*/ 2147483646 w 572"/>
              <a:gd name="T67" fmla="*/ 2147483646 h 324"/>
              <a:gd name="T68" fmla="*/ 2147483646 w 572"/>
              <a:gd name="T69" fmla="*/ 2147483646 h 324"/>
              <a:gd name="T70" fmla="*/ 2147483646 w 572"/>
              <a:gd name="T71" fmla="*/ 2147483646 h 324"/>
              <a:gd name="T72" fmla="*/ 2147483646 w 572"/>
              <a:gd name="T73" fmla="*/ 0 h 324"/>
              <a:gd name="T74" fmla="*/ 2147483646 w 572"/>
              <a:gd name="T75" fmla="*/ 0 h 324"/>
              <a:gd name="T76" fmla="*/ 2147483646 w 572"/>
              <a:gd name="T77" fmla="*/ 0 h 324"/>
              <a:gd name="T78" fmla="*/ 2147483646 w 572"/>
              <a:gd name="T79" fmla="*/ 0 h 324"/>
              <a:gd name="T80" fmla="*/ 2147483646 w 572"/>
              <a:gd name="T81" fmla="*/ 0 h 324"/>
              <a:gd name="T82" fmla="*/ 2147483646 w 572"/>
              <a:gd name="T83" fmla="*/ 0 h 324"/>
              <a:gd name="T84" fmla="*/ 2147483646 w 572"/>
              <a:gd name="T85" fmla="*/ 2147483646 h 324"/>
              <a:gd name="T86" fmla="*/ 2147483646 w 572"/>
              <a:gd name="T87" fmla="*/ 2147483646 h 324"/>
              <a:gd name="T88" fmla="*/ 2147483646 w 572"/>
              <a:gd name="T89" fmla="*/ 2147483646 h 324"/>
              <a:gd name="T90" fmla="*/ 2147483646 w 572"/>
              <a:gd name="T91" fmla="*/ 2147483646 h 324"/>
              <a:gd name="T92" fmla="*/ 2147483646 w 572"/>
              <a:gd name="T93" fmla="*/ 2147483646 h 324"/>
              <a:gd name="T94" fmla="*/ 2147483646 w 572"/>
              <a:gd name="T95" fmla="*/ 2147483646 h 324"/>
              <a:gd name="T96" fmla="*/ 2147483646 w 572"/>
              <a:gd name="T97" fmla="*/ 2147483646 h 324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w 572"/>
              <a:gd name="T148" fmla="*/ 0 h 324"/>
              <a:gd name="T149" fmla="*/ 572 w 572"/>
              <a:gd name="T150" fmla="*/ 324 h 324"/>
            </a:gdLst>
            <a:ahLst/>
            <a:cxnLst>
              <a:cxn ang="T98">
                <a:pos x="T0" y="T1"/>
              </a:cxn>
              <a:cxn ang="T99">
                <a:pos x="T2" y="T3"/>
              </a:cxn>
              <a:cxn ang="T100">
                <a:pos x="T4" y="T5"/>
              </a:cxn>
              <a:cxn ang="T101">
                <a:pos x="T6" y="T7"/>
              </a:cxn>
              <a:cxn ang="T102">
                <a:pos x="T8" y="T9"/>
              </a:cxn>
              <a:cxn ang="T103">
                <a:pos x="T10" y="T11"/>
              </a:cxn>
              <a:cxn ang="T104">
                <a:pos x="T12" y="T13"/>
              </a:cxn>
              <a:cxn ang="T105">
                <a:pos x="T14" y="T15"/>
              </a:cxn>
              <a:cxn ang="T106">
                <a:pos x="T16" y="T17"/>
              </a:cxn>
              <a:cxn ang="T107">
                <a:pos x="T18" y="T19"/>
              </a:cxn>
              <a:cxn ang="T108">
                <a:pos x="T20" y="T21"/>
              </a:cxn>
              <a:cxn ang="T109">
                <a:pos x="T22" y="T23"/>
              </a:cxn>
              <a:cxn ang="T110">
                <a:pos x="T24" y="T25"/>
              </a:cxn>
              <a:cxn ang="T111">
                <a:pos x="T26" y="T27"/>
              </a:cxn>
              <a:cxn ang="T112">
                <a:pos x="T28" y="T29"/>
              </a:cxn>
              <a:cxn ang="T113">
                <a:pos x="T30" y="T31"/>
              </a:cxn>
              <a:cxn ang="T114">
                <a:pos x="T32" y="T33"/>
              </a:cxn>
              <a:cxn ang="T115">
                <a:pos x="T34" y="T35"/>
              </a:cxn>
              <a:cxn ang="T116">
                <a:pos x="T36" y="T37"/>
              </a:cxn>
              <a:cxn ang="T117">
                <a:pos x="T38" y="T39"/>
              </a:cxn>
              <a:cxn ang="T118">
                <a:pos x="T40" y="T41"/>
              </a:cxn>
              <a:cxn ang="T119">
                <a:pos x="T42" y="T43"/>
              </a:cxn>
              <a:cxn ang="T120">
                <a:pos x="T44" y="T45"/>
              </a:cxn>
              <a:cxn ang="T121">
                <a:pos x="T46" y="T47"/>
              </a:cxn>
              <a:cxn ang="T122">
                <a:pos x="T48" y="T49"/>
              </a:cxn>
              <a:cxn ang="T123">
                <a:pos x="T50" y="T51"/>
              </a:cxn>
              <a:cxn ang="T124">
                <a:pos x="T52" y="T53"/>
              </a:cxn>
              <a:cxn ang="T125">
                <a:pos x="T54" y="T55"/>
              </a:cxn>
              <a:cxn ang="T126">
                <a:pos x="T56" y="T57"/>
              </a:cxn>
              <a:cxn ang="T127">
                <a:pos x="T58" y="T59"/>
              </a:cxn>
              <a:cxn ang="T128">
                <a:pos x="T60" y="T61"/>
              </a:cxn>
              <a:cxn ang="T129">
                <a:pos x="T62" y="T63"/>
              </a:cxn>
              <a:cxn ang="T130">
                <a:pos x="T64" y="T65"/>
              </a:cxn>
              <a:cxn ang="T131">
                <a:pos x="T66" y="T67"/>
              </a:cxn>
              <a:cxn ang="T132">
                <a:pos x="T68" y="T69"/>
              </a:cxn>
              <a:cxn ang="T133">
                <a:pos x="T70" y="T71"/>
              </a:cxn>
              <a:cxn ang="T134">
                <a:pos x="T72" y="T73"/>
              </a:cxn>
              <a:cxn ang="T135">
                <a:pos x="T74" y="T75"/>
              </a:cxn>
              <a:cxn ang="T136">
                <a:pos x="T76" y="T77"/>
              </a:cxn>
              <a:cxn ang="T137">
                <a:pos x="T78" y="T79"/>
              </a:cxn>
              <a:cxn ang="T138">
                <a:pos x="T80" y="T81"/>
              </a:cxn>
              <a:cxn ang="T139">
                <a:pos x="T82" y="T83"/>
              </a:cxn>
              <a:cxn ang="T140">
                <a:pos x="T84" y="T85"/>
              </a:cxn>
              <a:cxn ang="T141">
                <a:pos x="T86" y="T87"/>
              </a:cxn>
              <a:cxn ang="T142">
                <a:pos x="T88" y="T89"/>
              </a:cxn>
              <a:cxn ang="T143">
                <a:pos x="T90" y="T91"/>
              </a:cxn>
              <a:cxn ang="T144">
                <a:pos x="T92" y="T93"/>
              </a:cxn>
              <a:cxn ang="T145">
                <a:pos x="T94" y="T95"/>
              </a:cxn>
              <a:cxn ang="T146">
                <a:pos x="T96" y="T97"/>
              </a:cxn>
            </a:cxnLst>
            <a:rect l="T147" t="T148" r="T149" b="T150"/>
            <a:pathLst>
              <a:path w="572" h="324">
                <a:moveTo>
                  <a:pt x="12" y="12"/>
                </a:moveTo>
                <a:lnTo>
                  <a:pt x="14" y="20"/>
                </a:lnTo>
                <a:lnTo>
                  <a:pt x="12" y="26"/>
                </a:lnTo>
                <a:lnTo>
                  <a:pt x="14" y="32"/>
                </a:lnTo>
                <a:lnTo>
                  <a:pt x="18" y="42"/>
                </a:lnTo>
                <a:lnTo>
                  <a:pt x="22" y="44"/>
                </a:lnTo>
                <a:lnTo>
                  <a:pt x="24" y="52"/>
                </a:lnTo>
                <a:lnTo>
                  <a:pt x="22" y="54"/>
                </a:lnTo>
                <a:lnTo>
                  <a:pt x="20" y="62"/>
                </a:lnTo>
                <a:lnTo>
                  <a:pt x="14" y="66"/>
                </a:lnTo>
                <a:lnTo>
                  <a:pt x="18" y="68"/>
                </a:lnTo>
                <a:lnTo>
                  <a:pt x="18" y="78"/>
                </a:lnTo>
                <a:lnTo>
                  <a:pt x="22" y="82"/>
                </a:lnTo>
                <a:lnTo>
                  <a:pt x="26" y="88"/>
                </a:lnTo>
                <a:lnTo>
                  <a:pt x="26" y="96"/>
                </a:lnTo>
                <a:lnTo>
                  <a:pt x="22" y="100"/>
                </a:lnTo>
                <a:lnTo>
                  <a:pt x="30" y="106"/>
                </a:lnTo>
                <a:lnTo>
                  <a:pt x="36" y="104"/>
                </a:lnTo>
                <a:lnTo>
                  <a:pt x="42" y="106"/>
                </a:lnTo>
                <a:lnTo>
                  <a:pt x="46" y="104"/>
                </a:lnTo>
                <a:lnTo>
                  <a:pt x="48" y="106"/>
                </a:lnTo>
                <a:lnTo>
                  <a:pt x="52" y="114"/>
                </a:lnTo>
                <a:lnTo>
                  <a:pt x="60" y="124"/>
                </a:lnTo>
                <a:lnTo>
                  <a:pt x="66" y="126"/>
                </a:lnTo>
                <a:lnTo>
                  <a:pt x="70" y="126"/>
                </a:lnTo>
                <a:lnTo>
                  <a:pt x="76" y="128"/>
                </a:lnTo>
                <a:lnTo>
                  <a:pt x="90" y="128"/>
                </a:lnTo>
                <a:lnTo>
                  <a:pt x="100" y="126"/>
                </a:lnTo>
                <a:lnTo>
                  <a:pt x="132" y="128"/>
                </a:lnTo>
                <a:lnTo>
                  <a:pt x="232" y="128"/>
                </a:lnTo>
                <a:lnTo>
                  <a:pt x="238" y="138"/>
                </a:lnTo>
                <a:lnTo>
                  <a:pt x="250" y="150"/>
                </a:lnTo>
                <a:lnTo>
                  <a:pt x="250" y="154"/>
                </a:lnTo>
                <a:lnTo>
                  <a:pt x="254" y="160"/>
                </a:lnTo>
                <a:lnTo>
                  <a:pt x="260" y="162"/>
                </a:lnTo>
                <a:lnTo>
                  <a:pt x="260" y="164"/>
                </a:lnTo>
                <a:lnTo>
                  <a:pt x="264" y="164"/>
                </a:lnTo>
                <a:lnTo>
                  <a:pt x="268" y="168"/>
                </a:lnTo>
                <a:lnTo>
                  <a:pt x="270" y="168"/>
                </a:lnTo>
                <a:lnTo>
                  <a:pt x="272" y="178"/>
                </a:lnTo>
                <a:lnTo>
                  <a:pt x="308" y="210"/>
                </a:lnTo>
                <a:lnTo>
                  <a:pt x="318" y="216"/>
                </a:lnTo>
                <a:lnTo>
                  <a:pt x="326" y="228"/>
                </a:lnTo>
                <a:lnTo>
                  <a:pt x="332" y="232"/>
                </a:lnTo>
                <a:lnTo>
                  <a:pt x="330" y="234"/>
                </a:lnTo>
                <a:lnTo>
                  <a:pt x="326" y="236"/>
                </a:lnTo>
                <a:lnTo>
                  <a:pt x="326" y="240"/>
                </a:lnTo>
                <a:lnTo>
                  <a:pt x="330" y="240"/>
                </a:lnTo>
                <a:lnTo>
                  <a:pt x="334" y="244"/>
                </a:lnTo>
                <a:lnTo>
                  <a:pt x="340" y="248"/>
                </a:lnTo>
                <a:lnTo>
                  <a:pt x="344" y="246"/>
                </a:lnTo>
                <a:lnTo>
                  <a:pt x="354" y="248"/>
                </a:lnTo>
                <a:lnTo>
                  <a:pt x="352" y="250"/>
                </a:lnTo>
                <a:lnTo>
                  <a:pt x="354" y="250"/>
                </a:lnTo>
                <a:lnTo>
                  <a:pt x="352" y="254"/>
                </a:lnTo>
                <a:lnTo>
                  <a:pt x="352" y="258"/>
                </a:lnTo>
                <a:lnTo>
                  <a:pt x="354" y="262"/>
                </a:lnTo>
                <a:lnTo>
                  <a:pt x="356" y="266"/>
                </a:lnTo>
                <a:lnTo>
                  <a:pt x="370" y="266"/>
                </a:lnTo>
                <a:lnTo>
                  <a:pt x="374" y="270"/>
                </a:lnTo>
                <a:lnTo>
                  <a:pt x="376" y="278"/>
                </a:lnTo>
                <a:lnTo>
                  <a:pt x="384" y="280"/>
                </a:lnTo>
                <a:lnTo>
                  <a:pt x="390" y="284"/>
                </a:lnTo>
                <a:lnTo>
                  <a:pt x="392" y="288"/>
                </a:lnTo>
                <a:lnTo>
                  <a:pt x="396" y="296"/>
                </a:lnTo>
                <a:lnTo>
                  <a:pt x="422" y="306"/>
                </a:lnTo>
                <a:lnTo>
                  <a:pt x="458" y="324"/>
                </a:lnTo>
                <a:lnTo>
                  <a:pt x="454" y="272"/>
                </a:lnTo>
                <a:lnTo>
                  <a:pt x="526" y="152"/>
                </a:lnTo>
                <a:lnTo>
                  <a:pt x="548" y="110"/>
                </a:lnTo>
                <a:lnTo>
                  <a:pt x="552" y="70"/>
                </a:lnTo>
                <a:lnTo>
                  <a:pt x="572" y="28"/>
                </a:lnTo>
                <a:lnTo>
                  <a:pt x="572" y="0"/>
                </a:lnTo>
                <a:lnTo>
                  <a:pt x="490" y="0"/>
                </a:lnTo>
                <a:lnTo>
                  <a:pt x="486" y="0"/>
                </a:lnTo>
                <a:lnTo>
                  <a:pt x="482" y="0"/>
                </a:lnTo>
                <a:lnTo>
                  <a:pt x="448" y="0"/>
                </a:lnTo>
                <a:lnTo>
                  <a:pt x="446" y="0"/>
                </a:lnTo>
                <a:lnTo>
                  <a:pt x="442" y="0"/>
                </a:lnTo>
                <a:lnTo>
                  <a:pt x="440" y="0"/>
                </a:lnTo>
                <a:lnTo>
                  <a:pt x="438" y="0"/>
                </a:lnTo>
                <a:lnTo>
                  <a:pt x="434" y="0"/>
                </a:lnTo>
                <a:lnTo>
                  <a:pt x="430" y="0"/>
                </a:lnTo>
                <a:lnTo>
                  <a:pt x="426" y="0"/>
                </a:lnTo>
                <a:lnTo>
                  <a:pt x="424" y="0"/>
                </a:lnTo>
                <a:lnTo>
                  <a:pt x="314" y="2"/>
                </a:lnTo>
                <a:lnTo>
                  <a:pt x="312" y="2"/>
                </a:lnTo>
                <a:lnTo>
                  <a:pt x="306" y="2"/>
                </a:lnTo>
                <a:lnTo>
                  <a:pt x="302" y="2"/>
                </a:lnTo>
                <a:lnTo>
                  <a:pt x="290" y="2"/>
                </a:lnTo>
                <a:lnTo>
                  <a:pt x="288" y="2"/>
                </a:lnTo>
                <a:lnTo>
                  <a:pt x="218" y="2"/>
                </a:lnTo>
                <a:lnTo>
                  <a:pt x="216" y="2"/>
                </a:lnTo>
                <a:lnTo>
                  <a:pt x="200" y="2"/>
                </a:lnTo>
                <a:lnTo>
                  <a:pt x="174" y="2"/>
                </a:lnTo>
                <a:lnTo>
                  <a:pt x="168" y="2"/>
                </a:lnTo>
                <a:lnTo>
                  <a:pt x="0" y="2"/>
                </a:lnTo>
                <a:lnTo>
                  <a:pt x="6" y="14"/>
                </a:lnTo>
                <a:lnTo>
                  <a:pt x="12" y="12"/>
                </a:lnTo>
                <a:close/>
              </a:path>
            </a:pathLst>
          </a:custGeom>
          <a:solidFill>
            <a:srgbClr val="F1B728"/>
          </a:solidFill>
          <a:ln w="6350">
            <a:solidFill>
              <a:schemeClr val="tx1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457200">
              <a:defRPr/>
            </a:pPr>
            <a:endParaRPr lang="en-US" kern="0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81" name="Freeform 59">
            <a:extLst>
              <a:ext uri="{FF2B5EF4-FFF2-40B4-BE49-F238E27FC236}">
                <a16:creationId xmlns:a16="http://schemas.microsoft.com/office/drawing/2014/main" id="{065794A6-F284-0C6B-06D4-D5A109CB1832}"/>
              </a:ext>
            </a:extLst>
          </p:cNvPr>
          <p:cNvSpPr>
            <a:spLocks/>
          </p:cNvSpPr>
          <p:nvPr/>
        </p:nvSpPr>
        <p:spPr bwMode="auto">
          <a:xfrm>
            <a:off x="3898900" y="1863969"/>
            <a:ext cx="383540" cy="454660"/>
          </a:xfrm>
          <a:custGeom>
            <a:avLst/>
            <a:gdLst>
              <a:gd name="T0" fmla="*/ 2147483646 w 302"/>
              <a:gd name="T1" fmla="*/ 2147483646 h 358"/>
              <a:gd name="T2" fmla="*/ 2147483646 w 302"/>
              <a:gd name="T3" fmla="*/ 2147483646 h 358"/>
              <a:gd name="T4" fmla="*/ 2147483646 w 302"/>
              <a:gd name="T5" fmla="*/ 2147483646 h 358"/>
              <a:gd name="T6" fmla="*/ 2147483646 w 302"/>
              <a:gd name="T7" fmla="*/ 2147483646 h 358"/>
              <a:gd name="T8" fmla="*/ 2147483646 w 302"/>
              <a:gd name="T9" fmla="*/ 2147483646 h 358"/>
              <a:gd name="T10" fmla="*/ 2147483646 w 302"/>
              <a:gd name="T11" fmla="*/ 2147483646 h 358"/>
              <a:gd name="T12" fmla="*/ 2147483646 w 302"/>
              <a:gd name="T13" fmla="*/ 2147483646 h 358"/>
              <a:gd name="T14" fmla="*/ 2147483646 w 302"/>
              <a:gd name="T15" fmla="*/ 2147483646 h 358"/>
              <a:gd name="T16" fmla="*/ 2147483646 w 302"/>
              <a:gd name="T17" fmla="*/ 2147483646 h 358"/>
              <a:gd name="T18" fmla="*/ 2147483646 w 302"/>
              <a:gd name="T19" fmla="*/ 2147483646 h 358"/>
              <a:gd name="T20" fmla="*/ 2147483646 w 302"/>
              <a:gd name="T21" fmla="*/ 2147483646 h 358"/>
              <a:gd name="T22" fmla="*/ 2147483646 w 302"/>
              <a:gd name="T23" fmla="*/ 2147483646 h 358"/>
              <a:gd name="T24" fmla="*/ 2147483646 w 302"/>
              <a:gd name="T25" fmla="*/ 2147483646 h 358"/>
              <a:gd name="T26" fmla="*/ 2147483646 w 302"/>
              <a:gd name="T27" fmla="*/ 2147483646 h 358"/>
              <a:gd name="T28" fmla="*/ 2147483646 w 302"/>
              <a:gd name="T29" fmla="*/ 2147483646 h 358"/>
              <a:gd name="T30" fmla="*/ 2147483646 w 302"/>
              <a:gd name="T31" fmla="*/ 2147483646 h 358"/>
              <a:gd name="T32" fmla="*/ 2147483646 w 302"/>
              <a:gd name="T33" fmla="*/ 2147483646 h 358"/>
              <a:gd name="T34" fmla="*/ 2147483646 w 302"/>
              <a:gd name="T35" fmla="*/ 2147483646 h 358"/>
              <a:gd name="T36" fmla="*/ 2147483646 w 302"/>
              <a:gd name="T37" fmla="*/ 2147483646 h 358"/>
              <a:gd name="T38" fmla="*/ 2147483646 w 302"/>
              <a:gd name="T39" fmla="*/ 2147483646 h 358"/>
              <a:gd name="T40" fmla="*/ 2147483646 w 302"/>
              <a:gd name="T41" fmla="*/ 2147483646 h 358"/>
              <a:gd name="T42" fmla="*/ 2147483646 w 302"/>
              <a:gd name="T43" fmla="*/ 2147483646 h 358"/>
              <a:gd name="T44" fmla="*/ 2147483646 w 302"/>
              <a:gd name="T45" fmla="*/ 2147483646 h 358"/>
              <a:gd name="T46" fmla="*/ 2147483646 w 302"/>
              <a:gd name="T47" fmla="*/ 2147483646 h 358"/>
              <a:gd name="T48" fmla="*/ 2147483646 w 302"/>
              <a:gd name="T49" fmla="*/ 2147483646 h 358"/>
              <a:gd name="T50" fmla="*/ 2147483646 w 302"/>
              <a:gd name="T51" fmla="*/ 2147483646 h 358"/>
              <a:gd name="T52" fmla="*/ 2147483646 w 302"/>
              <a:gd name="T53" fmla="*/ 2147483646 h 358"/>
              <a:gd name="T54" fmla="*/ 2147483646 w 302"/>
              <a:gd name="T55" fmla="*/ 2147483646 h 358"/>
              <a:gd name="T56" fmla="*/ 2147483646 w 302"/>
              <a:gd name="T57" fmla="*/ 2147483646 h 358"/>
              <a:gd name="T58" fmla="*/ 2147483646 w 302"/>
              <a:gd name="T59" fmla="*/ 2147483646 h 358"/>
              <a:gd name="T60" fmla="*/ 2147483646 w 302"/>
              <a:gd name="T61" fmla="*/ 2147483646 h 358"/>
              <a:gd name="T62" fmla="*/ 2147483646 w 302"/>
              <a:gd name="T63" fmla="*/ 2147483646 h 358"/>
              <a:gd name="T64" fmla="*/ 2147483646 w 302"/>
              <a:gd name="T65" fmla="*/ 2147483646 h 358"/>
              <a:gd name="T66" fmla="*/ 2147483646 w 302"/>
              <a:gd name="T67" fmla="*/ 2147483646 h 358"/>
              <a:gd name="T68" fmla="*/ 2147483646 w 302"/>
              <a:gd name="T69" fmla="*/ 2147483646 h 358"/>
              <a:gd name="T70" fmla="*/ 2147483646 w 302"/>
              <a:gd name="T71" fmla="*/ 2147483646 h 358"/>
              <a:gd name="T72" fmla="*/ 2147483646 w 302"/>
              <a:gd name="T73" fmla="*/ 2147483646 h 358"/>
              <a:gd name="T74" fmla="*/ 2147483646 w 302"/>
              <a:gd name="T75" fmla="*/ 2147483646 h 358"/>
              <a:gd name="T76" fmla="*/ 2147483646 w 302"/>
              <a:gd name="T77" fmla="*/ 2147483646 h 358"/>
              <a:gd name="T78" fmla="*/ 2147483646 w 302"/>
              <a:gd name="T79" fmla="*/ 2147483646 h 358"/>
              <a:gd name="T80" fmla="*/ 2147483646 w 302"/>
              <a:gd name="T81" fmla="*/ 2147483646 h 358"/>
              <a:gd name="T82" fmla="*/ 2147483646 w 302"/>
              <a:gd name="T83" fmla="*/ 2147483646 h 358"/>
              <a:gd name="T84" fmla="*/ 2147483646 w 302"/>
              <a:gd name="T85" fmla="*/ 2147483646 h 358"/>
              <a:gd name="T86" fmla="*/ 2147483646 w 302"/>
              <a:gd name="T87" fmla="*/ 2147483646 h 358"/>
              <a:gd name="T88" fmla="*/ 2147483646 w 302"/>
              <a:gd name="T89" fmla="*/ 2147483646 h 358"/>
              <a:gd name="T90" fmla="*/ 2147483646 w 302"/>
              <a:gd name="T91" fmla="*/ 2147483646 h 358"/>
              <a:gd name="T92" fmla="*/ 2147483646 w 302"/>
              <a:gd name="T93" fmla="*/ 2147483646 h 358"/>
              <a:gd name="T94" fmla="*/ 2147483646 w 302"/>
              <a:gd name="T95" fmla="*/ 2147483646 h 358"/>
              <a:gd name="T96" fmla="*/ 2147483646 w 302"/>
              <a:gd name="T97" fmla="*/ 2147483646 h 358"/>
              <a:gd name="T98" fmla="*/ 2147483646 w 302"/>
              <a:gd name="T99" fmla="*/ 2147483646 h 358"/>
              <a:gd name="T100" fmla="*/ 2147483646 w 302"/>
              <a:gd name="T101" fmla="*/ 2147483646 h 358"/>
              <a:gd name="T102" fmla="*/ 2147483646 w 302"/>
              <a:gd name="T103" fmla="*/ 2147483646 h 358"/>
              <a:gd name="T104" fmla="*/ 2147483646 w 302"/>
              <a:gd name="T105" fmla="*/ 2147483646 h 358"/>
              <a:gd name="T106" fmla="*/ 2147483646 w 302"/>
              <a:gd name="T107" fmla="*/ 2147483646 h 358"/>
              <a:gd name="T108" fmla="*/ 0 w 302"/>
              <a:gd name="T109" fmla="*/ 2147483646 h 358"/>
              <a:gd name="T110" fmla="*/ 0 w 302"/>
              <a:gd name="T111" fmla="*/ 2147483646 h 358"/>
              <a:gd name="T112" fmla="*/ 2147483646 w 302"/>
              <a:gd name="T113" fmla="*/ 2147483646 h 358"/>
              <a:gd name="T114" fmla="*/ 2147483646 w 302"/>
              <a:gd name="T115" fmla="*/ 2147483646 h 358"/>
              <a:gd name="T116" fmla="*/ 2147483646 w 302"/>
              <a:gd name="T117" fmla="*/ 2147483646 h 358"/>
              <a:gd name="T118" fmla="*/ 2147483646 w 302"/>
              <a:gd name="T119" fmla="*/ 2147483646 h 358"/>
              <a:gd name="T120" fmla="*/ 2147483646 w 302"/>
              <a:gd name="T121" fmla="*/ 2147483646 h 358"/>
              <a:gd name="T122" fmla="*/ 2147483646 w 302"/>
              <a:gd name="T123" fmla="*/ 2147483646 h 358"/>
              <a:gd name="T124" fmla="*/ 2147483646 w 302"/>
              <a:gd name="T125" fmla="*/ 2147483646 h 358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60000 65536"/>
              <a:gd name="T187" fmla="*/ 0 60000 65536"/>
              <a:gd name="T188" fmla="*/ 0 60000 65536"/>
              <a:gd name="T189" fmla="*/ 0 w 302"/>
              <a:gd name="T190" fmla="*/ 0 h 358"/>
              <a:gd name="T191" fmla="*/ 302 w 302"/>
              <a:gd name="T192" fmla="*/ 358 h 358"/>
            </a:gdLst>
            <a:ahLst/>
            <a:cxnLst>
              <a:cxn ang="T126">
                <a:pos x="T0" y="T1"/>
              </a:cxn>
              <a:cxn ang="T127">
                <a:pos x="T2" y="T3"/>
              </a:cxn>
              <a:cxn ang="T128">
                <a:pos x="T4" y="T5"/>
              </a:cxn>
              <a:cxn ang="T129">
                <a:pos x="T6" y="T7"/>
              </a:cxn>
              <a:cxn ang="T130">
                <a:pos x="T8" y="T9"/>
              </a:cxn>
              <a:cxn ang="T131">
                <a:pos x="T10" y="T11"/>
              </a:cxn>
              <a:cxn ang="T132">
                <a:pos x="T12" y="T13"/>
              </a:cxn>
              <a:cxn ang="T133">
                <a:pos x="T14" y="T15"/>
              </a:cxn>
              <a:cxn ang="T134">
                <a:pos x="T16" y="T17"/>
              </a:cxn>
              <a:cxn ang="T135">
                <a:pos x="T18" y="T19"/>
              </a:cxn>
              <a:cxn ang="T136">
                <a:pos x="T20" y="T21"/>
              </a:cxn>
              <a:cxn ang="T137">
                <a:pos x="T22" y="T23"/>
              </a:cxn>
              <a:cxn ang="T138">
                <a:pos x="T24" y="T25"/>
              </a:cxn>
              <a:cxn ang="T139">
                <a:pos x="T26" y="T27"/>
              </a:cxn>
              <a:cxn ang="T140">
                <a:pos x="T28" y="T29"/>
              </a:cxn>
              <a:cxn ang="T141">
                <a:pos x="T30" y="T31"/>
              </a:cxn>
              <a:cxn ang="T142">
                <a:pos x="T32" y="T33"/>
              </a:cxn>
              <a:cxn ang="T143">
                <a:pos x="T34" y="T35"/>
              </a:cxn>
              <a:cxn ang="T144">
                <a:pos x="T36" y="T37"/>
              </a:cxn>
              <a:cxn ang="T145">
                <a:pos x="T38" y="T39"/>
              </a:cxn>
              <a:cxn ang="T146">
                <a:pos x="T40" y="T41"/>
              </a:cxn>
              <a:cxn ang="T147">
                <a:pos x="T42" y="T43"/>
              </a:cxn>
              <a:cxn ang="T148">
                <a:pos x="T44" y="T45"/>
              </a:cxn>
              <a:cxn ang="T149">
                <a:pos x="T46" y="T47"/>
              </a:cxn>
              <a:cxn ang="T150">
                <a:pos x="T48" y="T49"/>
              </a:cxn>
              <a:cxn ang="T151">
                <a:pos x="T50" y="T51"/>
              </a:cxn>
              <a:cxn ang="T152">
                <a:pos x="T52" y="T53"/>
              </a:cxn>
              <a:cxn ang="T153">
                <a:pos x="T54" y="T55"/>
              </a:cxn>
              <a:cxn ang="T154">
                <a:pos x="T56" y="T57"/>
              </a:cxn>
              <a:cxn ang="T155">
                <a:pos x="T58" y="T59"/>
              </a:cxn>
              <a:cxn ang="T156">
                <a:pos x="T60" y="T61"/>
              </a:cxn>
              <a:cxn ang="T157">
                <a:pos x="T62" y="T63"/>
              </a:cxn>
              <a:cxn ang="T158">
                <a:pos x="T64" y="T65"/>
              </a:cxn>
              <a:cxn ang="T159">
                <a:pos x="T66" y="T67"/>
              </a:cxn>
              <a:cxn ang="T160">
                <a:pos x="T68" y="T69"/>
              </a:cxn>
              <a:cxn ang="T161">
                <a:pos x="T70" y="T71"/>
              </a:cxn>
              <a:cxn ang="T162">
                <a:pos x="T72" y="T73"/>
              </a:cxn>
              <a:cxn ang="T163">
                <a:pos x="T74" y="T75"/>
              </a:cxn>
              <a:cxn ang="T164">
                <a:pos x="T76" y="T77"/>
              </a:cxn>
              <a:cxn ang="T165">
                <a:pos x="T78" y="T79"/>
              </a:cxn>
              <a:cxn ang="T166">
                <a:pos x="T80" y="T81"/>
              </a:cxn>
              <a:cxn ang="T167">
                <a:pos x="T82" y="T83"/>
              </a:cxn>
              <a:cxn ang="T168">
                <a:pos x="T84" y="T85"/>
              </a:cxn>
              <a:cxn ang="T169">
                <a:pos x="T86" y="T87"/>
              </a:cxn>
              <a:cxn ang="T170">
                <a:pos x="T88" y="T89"/>
              </a:cxn>
              <a:cxn ang="T171">
                <a:pos x="T90" y="T91"/>
              </a:cxn>
              <a:cxn ang="T172">
                <a:pos x="T92" y="T93"/>
              </a:cxn>
              <a:cxn ang="T173">
                <a:pos x="T94" y="T95"/>
              </a:cxn>
              <a:cxn ang="T174">
                <a:pos x="T96" y="T97"/>
              </a:cxn>
              <a:cxn ang="T175">
                <a:pos x="T98" y="T99"/>
              </a:cxn>
              <a:cxn ang="T176">
                <a:pos x="T100" y="T101"/>
              </a:cxn>
              <a:cxn ang="T177">
                <a:pos x="T102" y="T103"/>
              </a:cxn>
              <a:cxn ang="T178">
                <a:pos x="T104" y="T105"/>
              </a:cxn>
              <a:cxn ang="T179">
                <a:pos x="T106" y="T107"/>
              </a:cxn>
              <a:cxn ang="T180">
                <a:pos x="T108" y="T109"/>
              </a:cxn>
              <a:cxn ang="T181">
                <a:pos x="T110" y="T111"/>
              </a:cxn>
              <a:cxn ang="T182">
                <a:pos x="T112" y="T113"/>
              </a:cxn>
              <a:cxn ang="T183">
                <a:pos x="T114" y="T115"/>
              </a:cxn>
              <a:cxn ang="T184">
                <a:pos x="T116" y="T117"/>
              </a:cxn>
              <a:cxn ang="T185">
                <a:pos x="T118" y="T119"/>
              </a:cxn>
              <a:cxn ang="T186">
                <a:pos x="T120" y="T121"/>
              </a:cxn>
              <a:cxn ang="T187">
                <a:pos x="T122" y="T123"/>
              </a:cxn>
              <a:cxn ang="T188">
                <a:pos x="T124" y="T125"/>
              </a:cxn>
            </a:cxnLst>
            <a:rect l="T189" t="T190" r="T191" b="T192"/>
            <a:pathLst>
              <a:path w="302" h="358">
                <a:moveTo>
                  <a:pt x="302" y="354"/>
                </a:moveTo>
                <a:lnTo>
                  <a:pt x="300" y="318"/>
                </a:lnTo>
                <a:lnTo>
                  <a:pt x="300" y="184"/>
                </a:lnTo>
                <a:lnTo>
                  <a:pt x="300" y="182"/>
                </a:lnTo>
                <a:lnTo>
                  <a:pt x="300" y="166"/>
                </a:lnTo>
                <a:lnTo>
                  <a:pt x="300" y="144"/>
                </a:lnTo>
                <a:lnTo>
                  <a:pt x="300" y="118"/>
                </a:lnTo>
                <a:lnTo>
                  <a:pt x="300" y="114"/>
                </a:lnTo>
                <a:lnTo>
                  <a:pt x="298" y="88"/>
                </a:lnTo>
                <a:lnTo>
                  <a:pt x="298" y="84"/>
                </a:lnTo>
                <a:lnTo>
                  <a:pt x="298" y="80"/>
                </a:lnTo>
                <a:lnTo>
                  <a:pt x="300" y="18"/>
                </a:lnTo>
                <a:lnTo>
                  <a:pt x="114" y="0"/>
                </a:lnTo>
                <a:lnTo>
                  <a:pt x="114" y="2"/>
                </a:lnTo>
                <a:lnTo>
                  <a:pt x="112" y="6"/>
                </a:lnTo>
                <a:lnTo>
                  <a:pt x="112" y="8"/>
                </a:lnTo>
                <a:lnTo>
                  <a:pt x="110" y="12"/>
                </a:lnTo>
                <a:lnTo>
                  <a:pt x="110" y="20"/>
                </a:lnTo>
                <a:lnTo>
                  <a:pt x="110" y="22"/>
                </a:lnTo>
                <a:lnTo>
                  <a:pt x="108" y="24"/>
                </a:lnTo>
                <a:lnTo>
                  <a:pt x="108" y="30"/>
                </a:lnTo>
                <a:lnTo>
                  <a:pt x="110" y="40"/>
                </a:lnTo>
                <a:lnTo>
                  <a:pt x="110" y="44"/>
                </a:lnTo>
                <a:lnTo>
                  <a:pt x="110" y="46"/>
                </a:lnTo>
                <a:lnTo>
                  <a:pt x="112" y="54"/>
                </a:lnTo>
                <a:lnTo>
                  <a:pt x="112" y="60"/>
                </a:lnTo>
                <a:lnTo>
                  <a:pt x="112" y="64"/>
                </a:lnTo>
                <a:lnTo>
                  <a:pt x="112" y="66"/>
                </a:lnTo>
                <a:lnTo>
                  <a:pt x="110" y="72"/>
                </a:lnTo>
                <a:lnTo>
                  <a:pt x="108" y="76"/>
                </a:lnTo>
                <a:lnTo>
                  <a:pt x="106" y="78"/>
                </a:lnTo>
                <a:lnTo>
                  <a:pt x="104" y="80"/>
                </a:lnTo>
                <a:lnTo>
                  <a:pt x="98" y="82"/>
                </a:lnTo>
                <a:lnTo>
                  <a:pt x="94" y="90"/>
                </a:lnTo>
                <a:lnTo>
                  <a:pt x="90" y="94"/>
                </a:lnTo>
                <a:lnTo>
                  <a:pt x="90" y="98"/>
                </a:lnTo>
                <a:lnTo>
                  <a:pt x="90" y="100"/>
                </a:lnTo>
                <a:lnTo>
                  <a:pt x="90" y="102"/>
                </a:lnTo>
                <a:lnTo>
                  <a:pt x="90" y="110"/>
                </a:lnTo>
                <a:lnTo>
                  <a:pt x="92" y="116"/>
                </a:lnTo>
                <a:lnTo>
                  <a:pt x="94" y="124"/>
                </a:lnTo>
                <a:lnTo>
                  <a:pt x="96" y="128"/>
                </a:lnTo>
                <a:lnTo>
                  <a:pt x="98" y="132"/>
                </a:lnTo>
                <a:lnTo>
                  <a:pt x="96" y="136"/>
                </a:lnTo>
                <a:lnTo>
                  <a:pt x="96" y="142"/>
                </a:lnTo>
                <a:lnTo>
                  <a:pt x="94" y="142"/>
                </a:lnTo>
                <a:lnTo>
                  <a:pt x="94" y="144"/>
                </a:lnTo>
                <a:lnTo>
                  <a:pt x="90" y="144"/>
                </a:lnTo>
                <a:lnTo>
                  <a:pt x="88" y="144"/>
                </a:lnTo>
                <a:lnTo>
                  <a:pt x="86" y="144"/>
                </a:lnTo>
                <a:lnTo>
                  <a:pt x="82" y="142"/>
                </a:lnTo>
                <a:lnTo>
                  <a:pt x="78" y="138"/>
                </a:lnTo>
                <a:lnTo>
                  <a:pt x="74" y="136"/>
                </a:lnTo>
                <a:lnTo>
                  <a:pt x="72" y="134"/>
                </a:lnTo>
                <a:lnTo>
                  <a:pt x="66" y="132"/>
                </a:lnTo>
                <a:lnTo>
                  <a:pt x="64" y="132"/>
                </a:lnTo>
                <a:lnTo>
                  <a:pt x="58" y="134"/>
                </a:lnTo>
                <a:lnTo>
                  <a:pt x="56" y="134"/>
                </a:lnTo>
                <a:lnTo>
                  <a:pt x="52" y="138"/>
                </a:lnTo>
                <a:lnTo>
                  <a:pt x="52" y="144"/>
                </a:lnTo>
                <a:lnTo>
                  <a:pt x="54" y="148"/>
                </a:lnTo>
                <a:lnTo>
                  <a:pt x="54" y="154"/>
                </a:lnTo>
                <a:lnTo>
                  <a:pt x="56" y="160"/>
                </a:lnTo>
                <a:lnTo>
                  <a:pt x="58" y="162"/>
                </a:lnTo>
                <a:lnTo>
                  <a:pt x="58" y="164"/>
                </a:lnTo>
                <a:lnTo>
                  <a:pt x="62" y="168"/>
                </a:lnTo>
                <a:lnTo>
                  <a:pt x="64" y="172"/>
                </a:lnTo>
                <a:lnTo>
                  <a:pt x="66" y="178"/>
                </a:lnTo>
                <a:lnTo>
                  <a:pt x="66" y="180"/>
                </a:lnTo>
                <a:lnTo>
                  <a:pt x="66" y="184"/>
                </a:lnTo>
                <a:lnTo>
                  <a:pt x="66" y="188"/>
                </a:lnTo>
                <a:lnTo>
                  <a:pt x="64" y="190"/>
                </a:lnTo>
                <a:lnTo>
                  <a:pt x="62" y="192"/>
                </a:lnTo>
                <a:lnTo>
                  <a:pt x="60" y="198"/>
                </a:lnTo>
                <a:lnTo>
                  <a:pt x="58" y="200"/>
                </a:lnTo>
                <a:lnTo>
                  <a:pt x="56" y="200"/>
                </a:lnTo>
                <a:lnTo>
                  <a:pt x="48" y="204"/>
                </a:lnTo>
                <a:lnTo>
                  <a:pt x="46" y="206"/>
                </a:lnTo>
                <a:lnTo>
                  <a:pt x="42" y="208"/>
                </a:lnTo>
                <a:lnTo>
                  <a:pt x="40" y="210"/>
                </a:lnTo>
                <a:lnTo>
                  <a:pt x="38" y="210"/>
                </a:lnTo>
                <a:lnTo>
                  <a:pt x="36" y="214"/>
                </a:lnTo>
                <a:lnTo>
                  <a:pt x="36" y="216"/>
                </a:lnTo>
                <a:lnTo>
                  <a:pt x="34" y="218"/>
                </a:lnTo>
                <a:lnTo>
                  <a:pt x="34" y="220"/>
                </a:lnTo>
                <a:lnTo>
                  <a:pt x="34" y="222"/>
                </a:lnTo>
                <a:lnTo>
                  <a:pt x="36" y="226"/>
                </a:lnTo>
                <a:lnTo>
                  <a:pt x="36" y="228"/>
                </a:lnTo>
                <a:lnTo>
                  <a:pt x="36" y="234"/>
                </a:lnTo>
                <a:lnTo>
                  <a:pt x="36" y="236"/>
                </a:lnTo>
                <a:lnTo>
                  <a:pt x="38" y="238"/>
                </a:lnTo>
                <a:lnTo>
                  <a:pt x="38" y="244"/>
                </a:lnTo>
                <a:lnTo>
                  <a:pt x="38" y="246"/>
                </a:lnTo>
                <a:lnTo>
                  <a:pt x="38" y="254"/>
                </a:lnTo>
                <a:lnTo>
                  <a:pt x="38" y="256"/>
                </a:lnTo>
                <a:lnTo>
                  <a:pt x="38" y="258"/>
                </a:lnTo>
                <a:lnTo>
                  <a:pt x="36" y="260"/>
                </a:lnTo>
                <a:lnTo>
                  <a:pt x="36" y="264"/>
                </a:lnTo>
                <a:lnTo>
                  <a:pt x="34" y="270"/>
                </a:lnTo>
                <a:lnTo>
                  <a:pt x="28" y="274"/>
                </a:lnTo>
                <a:lnTo>
                  <a:pt x="26" y="276"/>
                </a:lnTo>
                <a:lnTo>
                  <a:pt x="24" y="278"/>
                </a:lnTo>
                <a:lnTo>
                  <a:pt x="18" y="282"/>
                </a:lnTo>
                <a:lnTo>
                  <a:pt x="12" y="286"/>
                </a:lnTo>
                <a:lnTo>
                  <a:pt x="10" y="290"/>
                </a:lnTo>
                <a:lnTo>
                  <a:pt x="8" y="292"/>
                </a:lnTo>
                <a:lnTo>
                  <a:pt x="6" y="294"/>
                </a:lnTo>
                <a:lnTo>
                  <a:pt x="4" y="296"/>
                </a:lnTo>
                <a:lnTo>
                  <a:pt x="2" y="296"/>
                </a:lnTo>
                <a:lnTo>
                  <a:pt x="0" y="300"/>
                </a:lnTo>
                <a:lnTo>
                  <a:pt x="0" y="306"/>
                </a:lnTo>
                <a:lnTo>
                  <a:pt x="0" y="312"/>
                </a:lnTo>
                <a:lnTo>
                  <a:pt x="2" y="316"/>
                </a:lnTo>
                <a:lnTo>
                  <a:pt x="4" y="322"/>
                </a:lnTo>
                <a:lnTo>
                  <a:pt x="6" y="326"/>
                </a:lnTo>
                <a:lnTo>
                  <a:pt x="10" y="330"/>
                </a:lnTo>
                <a:lnTo>
                  <a:pt x="12" y="332"/>
                </a:lnTo>
                <a:lnTo>
                  <a:pt x="18" y="336"/>
                </a:lnTo>
                <a:lnTo>
                  <a:pt x="20" y="340"/>
                </a:lnTo>
                <a:lnTo>
                  <a:pt x="20" y="342"/>
                </a:lnTo>
                <a:lnTo>
                  <a:pt x="22" y="344"/>
                </a:lnTo>
                <a:lnTo>
                  <a:pt x="24" y="348"/>
                </a:lnTo>
                <a:lnTo>
                  <a:pt x="28" y="354"/>
                </a:lnTo>
                <a:lnTo>
                  <a:pt x="28" y="358"/>
                </a:lnTo>
                <a:lnTo>
                  <a:pt x="280" y="358"/>
                </a:lnTo>
                <a:lnTo>
                  <a:pt x="302" y="354"/>
                </a:lnTo>
                <a:close/>
              </a:path>
            </a:pathLst>
          </a:custGeom>
          <a:solidFill>
            <a:srgbClr val="F1B728"/>
          </a:solidFill>
          <a:ln w="6350">
            <a:solidFill>
              <a:schemeClr val="tx1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457200">
              <a:defRPr/>
            </a:pPr>
            <a:endParaRPr lang="en-US" kern="0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82" name="Freeform 60">
            <a:extLst>
              <a:ext uri="{FF2B5EF4-FFF2-40B4-BE49-F238E27FC236}">
                <a16:creationId xmlns:a16="http://schemas.microsoft.com/office/drawing/2014/main" id="{2E6BD151-F4EA-3E88-27F2-C7174A9D9188}"/>
              </a:ext>
            </a:extLst>
          </p:cNvPr>
          <p:cNvSpPr>
            <a:spLocks/>
          </p:cNvSpPr>
          <p:nvPr/>
        </p:nvSpPr>
        <p:spPr bwMode="auto">
          <a:xfrm>
            <a:off x="2918460" y="2753360"/>
            <a:ext cx="563880" cy="551180"/>
          </a:xfrm>
          <a:custGeom>
            <a:avLst/>
            <a:gdLst>
              <a:gd name="T0" fmla="*/ 2147483646 w 444"/>
              <a:gd name="T1" fmla="*/ 2147483646 h 434"/>
              <a:gd name="T2" fmla="*/ 2147483646 w 444"/>
              <a:gd name="T3" fmla="*/ 2147483646 h 434"/>
              <a:gd name="T4" fmla="*/ 2147483646 w 444"/>
              <a:gd name="T5" fmla="*/ 2147483646 h 434"/>
              <a:gd name="T6" fmla="*/ 2147483646 w 444"/>
              <a:gd name="T7" fmla="*/ 2147483646 h 434"/>
              <a:gd name="T8" fmla="*/ 2147483646 w 444"/>
              <a:gd name="T9" fmla="*/ 2147483646 h 434"/>
              <a:gd name="T10" fmla="*/ 2147483646 w 444"/>
              <a:gd name="T11" fmla="*/ 2147483646 h 434"/>
              <a:gd name="T12" fmla="*/ 2147483646 w 444"/>
              <a:gd name="T13" fmla="*/ 2147483646 h 434"/>
              <a:gd name="T14" fmla="*/ 2147483646 w 444"/>
              <a:gd name="T15" fmla="*/ 2147483646 h 434"/>
              <a:gd name="T16" fmla="*/ 2147483646 w 444"/>
              <a:gd name="T17" fmla="*/ 2147483646 h 434"/>
              <a:gd name="T18" fmla="*/ 2147483646 w 444"/>
              <a:gd name="T19" fmla="*/ 2147483646 h 434"/>
              <a:gd name="T20" fmla="*/ 2147483646 w 444"/>
              <a:gd name="T21" fmla="*/ 2147483646 h 434"/>
              <a:gd name="T22" fmla="*/ 2147483646 w 444"/>
              <a:gd name="T23" fmla="*/ 2147483646 h 434"/>
              <a:gd name="T24" fmla="*/ 2147483646 w 444"/>
              <a:gd name="T25" fmla="*/ 2147483646 h 434"/>
              <a:gd name="T26" fmla="*/ 2147483646 w 444"/>
              <a:gd name="T27" fmla="*/ 2147483646 h 434"/>
              <a:gd name="T28" fmla="*/ 2147483646 w 444"/>
              <a:gd name="T29" fmla="*/ 2147483646 h 434"/>
              <a:gd name="T30" fmla="*/ 2147483646 w 444"/>
              <a:gd name="T31" fmla="*/ 2147483646 h 434"/>
              <a:gd name="T32" fmla="*/ 2147483646 w 444"/>
              <a:gd name="T33" fmla="*/ 2147483646 h 434"/>
              <a:gd name="T34" fmla="*/ 2147483646 w 444"/>
              <a:gd name="T35" fmla="*/ 2147483646 h 434"/>
              <a:gd name="T36" fmla="*/ 2147483646 w 444"/>
              <a:gd name="T37" fmla="*/ 2147483646 h 434"/>
              <a:gd name="T38" fmla="*/ 2147483646 w 444"/>
              <a:gd name="T39" fmla="*/ 0 h 434"/>
              <a:gd name="T40" fmla="*/ 2147483646 w 444"/>
              <a:gd name="T41" fmla="*/ 2147483646 h 434"/>
              <a:gd name="T42" fmla="*/ 2147483646 w 444"/>
              <a:gd name="T43" fmla="*/ 2147483646 h 434"/>
              <a:gd name="T44" fmla="*/ 2147483646 w 444"/>
              <a:gd name="T45" fmla="*/ 2147483646 h 434"/>
              <a:gd name="T46" fmla="*/ 2147483646 w 444"/>
              <a:gd name="T47" fmla="*/ 2147483646 h 434"/>
              <a:gd name="T48" fmla="*/ 2147483646 w 444"/>
              <a:gd name="T49" fmla="*/ 2147483646 h 434"/>
              <a:gd name="T50" fmla="*/ 2147483646 w 444"/>
              <a:gd name="T51" fmla="*/ 2147483646 h 434"/>
              <a:gd name="T52" fmla="*/ 2147483646 w 444"/>
              <a:gd name="T53" fmla="*/ 2147483646 h 434"/>
              <a:gd name="T54" fmla="*/ 2147483646 w 444"/>
              <a:gd name="T55" fmla="*/ 2147483646 h 434"/>
              <a:gd name="T56" fmla="*/ 2147483646 w 444"/>
              <a:gd name="T57" fmla="*/ 2147483646 h 434"/>
              <a:gd name="T58" fmla="*/ 2147483646 w 444"/>
              <a:gd name="T59" fmla="*/ 2147483646 h 434"/>
              <a:gd name="T60" fmla="*/ 2147483646 w 444"/>
              <a:gd name="T61" fmla="*/ 2147483646 h 434"/>
              <a:gd name="T62" fmla="*/ 2147483646 w 444"/>
              <a:gd name="T63" fmla="*/ 2147483646 h 434"/>
              <a:gd name="T64" fmla="*/ 2147483646 w 444"/>
              <a:gd name="T65" fmla="*/ 2147483646 h 434"/>
              <a:gd name="T66" fmla="*/ 2147483646 w 444"/>
              <a:gd name="T67" fmla="*/ 2147483646 h 434"/>
              <a:gd name="T68" fmla="*/ 2147483646 w 444"/>
              <a:gd name="T69" fmla="*/ 2147483646 h 434"/>
              <a:gd name="T70" fmla="*/ 2147483646 w 444"/>
              <a:gd name="T71" fmla="*/ 2147483646 h 434"/>
              <a:gd name="T72" fmla="*/ 2147483646 w 444"/>
              <a:gd name="T73" fmla="*/ 2147483646 h 434"/>
              <a:gd name="T74" fmla="*/ 2147483646 w 444"/>
              <a:gd name="T75" fmla="*/ 2147483646 h 434"/>
              <a:gd name="T76" fmla="*/ 2147483646 w 444"/>
              <a:gd name="T77" fmla="*/ 2147483646 h 434"/>
              <a:gd name="T78" fmla="*/ 2147483646 w 444"/>
              <a:gd name="T79" fmla="*/ 2147483646 h 434"/>
              <a:gd name="T80" fmla="*/ 2147483646 w 444"/>
              <a:gd name="T81" fmla="*/ 2147483646 h 434"/>
              <a:gd name="T82" fmla="*/ 2147483646 w 444"/>
              <a:gd name="T83" fmla="*/ 2147483646 h 434"/>
              <a:gd name="T84" fmla="*/ 2147483646 w 444"/>
              <a:gd name="T85" fmla="*/ 2147483646 h 434"/>
              <a:gd name="T86" fmla="*/ 2147483646 w 444"/>
              <a:gd name="T87" fmla="*/ 2147483646 h 434"/>
              <a:gd name="T88" fmla="*/ 2147483646 w 444"/>
              <a:gd name="T89" fmla="*/ 2147483646 h 434"/>
              <a:gd name="T90" fmla="*/ 2147483646 w 444"/>
              <a:gd name="T91" fmla="*/ 2147483646 h 434"/>
              <a:gd name="T92" fmla="*/ 0 w 444"/>
              <a:gd name="T93" fmla="*/ 2147483646 h 434"/>
              <a:gd name="T94" fmla="*/ 2147483646 w 444"/>
              <a:gd name="T95" fmla="*/ 2147483646 h 434"/>
              <a:gd name="T96" fmla="*/ 2147483646 w 444"/>
              <a:gd name="T97" fmla="*/ 2147483646 h 434"/>
              <a:gd name="T98" fmla="*/ 2147483646 w 444"/>
              <a:gd name="T99" fmla="*/ 2147483646 h 434"/>
              <a:gd name="T100" fmla="*/ 2147483646 w 444"/>
              <a:gd name="T101" fmla="*/ 2147483646 h 434"/>
              <a:gd name="T102" fmla="*/ 2147483646 w 444"/>
              <a:gd name="T103" fmla="*/ 2147483646 h 434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w 444"/>
              <a:gd name="T157" fmla="*/ 0 h 434"/>
              <a:gd name="T158" fmla="*/ 444 w 444"/>
              <a:gd name="T159" fmla="*/ 434 h 434"/>
            </a:gdLst>
            <a:ahLst/>
            <a:cxnLst>
              <a:cxn ang="T104">
                <a:pos x="T0" y="T1"/>
              </a:cxn>
              <a:cxn ang="T105">
                <a:pos x="T2" y="T3"/>
              </a:cxn>
              <a:cxn ang="T106">
                <a:pos x="T4" y="T5"/>
              </a:cxn>
              <a:cxn ang="T107">
                <a:pos x="T6" y="T7"/>
              </a:cxn>
              <a:cxn ang="T108">
                <a:pos x="T8" y="T9"/>
              </a:cxn>
              <a:cxn ang="T109">
                <a:pos x="T10" y="T11"/>
              </a:cxn>
              <a:cxn ang="T110">
                <a:pos x="T12" y="T13"/>
              </a:cxn>
              <a:cxn ang="T111">
                <a:pos x="T14" y="T15"/>
              </a:cxn>
              <a:cxn ang="T112">
                <a:pos x="T16" y="T17"/>
              </a:cxn>
              <a:cxn ang="T113">
                <a:pos x="T18" y="T19"/>
              </a:cxn>
              <a:cxn ang="T114">
                <a:pos x="T20" y="T21"/>
              </a:cxn>
              <a:cxn ang="T115">
                <a:pos x="T22" y="T23"/>
              </a:cxn>
              <a:cxn ang="T116">
                <a:pos x="T24" y="T25"/>
              </a:cxn>
              <a:cxn ang="T117">
                <a:pos x="T26" y="T27"/>
              </a:cxn>
              <a:cxn ang="T118">
                <a:pos x="T28" y="T29"/>
              </a:cxn>
              <a:cxn ang="T119">
                <a:pos x="T30" y="T31"/>
              </a:cxn>
              <a:cxn ang="T120">
                <a:pos x="T32" y="T33"/>
              </a:cxn>
              <a:cxn ang="T121">
                <a:pos x="T34" y="T35"/>
              </a:cxn>
              <a:cxn ang="T122">
                <a:pos x="T36" y="T37"/>
              </a:cxn>
              <a:cxn ang="T123">
                <a:pos x="T38" y="T39"/>
              </a:cxn>
              <a:cxn ang="T124">
                <a:pos x="T40" y="T41"/>
              </a:cxn>
              <a:cxn ang="T125">
                <a:pos x="T42" y="T43"/>
              </a:cxn>
              <a:cxn ang="T126">
                <a:pos x="T44" y="T45"/>
              </a:cxn>
              <a:cxn ang="T127">
                <a:pos x="T46" y="T47"/>
              </a:cxn>
              <a:cxn ang="T128">
                <a:pos x="T48" y="T49"/>
              </a:cxn>
              <a:cxn ang="T129">
                <a:pos x="T50" y="T51"/>
              </a:cxn>
              <a:cxn ang="T130">
                <a:pos x="T52" y="T53"/>
              </a:cxn>
              <a:cxn ang="T131">
                <a:pos x="T54" y="T55"/>
              </a:cxn>
              <a:cxn ang="T132">
                <a:pos x="T56" y="T57"/>
              </a:cxn>
              <a:cxn ang="T133">
                <a:pos x="T58" y="T59"/>
              </a:cxn>
              <a:cxn ang="T134">
                <a:pos x="T60" y="T61"/>
              </a:cxn>
              <a:cxn ang="T135">
                <a:pos x="T62" y="T63"/>
              </a:cxn>
              <a:cxn ang="T136">
                <a:pos x="T64" y="T65"/>
              </a:cxn>
              <a:cxn ang="T137">
                <a:pos x="T66" y="T67"/>
              </a:cxn>
              <a:cxn ang="T138">
                <a:pos x="T68" y="T69"/>
              </a:cxn>
              <a:cxn ang="T139">
                <a:pos x="T70" y="T71"/>
              </a:cxn>
              <a:cxn ang="T140">
                <a:pos x="T72" y="T73"/>
              </a:cxn>
              <a:cxn ang="T141">
                <a:pos x="T74" y="T75"/>
              </a:cxn>
              <a:cxn ang="T142">
                <a:pos x="T76" y="T77"/>
              </a:cxn>
              <a:cxn ang="T143">
                <a:pos x="T78" y="T79"/>
              </a:cxn>
              <a:cxn ang="T144">
                <a:pos x="T80" y="T81"/>
              </a:cxn>
              <a:cxn ang="T145">
                <a:pos x="T82" y="T83"/>
              </a:cxn>
              <a:cxn ang="T146">
                <a:pos x="T84" y="T85"/>
              </a:cxn>
              <a:cxn ang="T147">
                <a:pos x="T86" y="T87"/>
              </a:cxn>
              <a:cxn ang="T148">
                <a:pos x="T88" y="T89"/>
              </a:cxn>
              <a:cxn ang="T149">
                <a:pos x="T90" y="T91"/>
              </a:cxn>
              <a:cxn ang="T150">
                <a:pos x="T92" y="T93"/>
              </a:cxn>
              <a:cxn ang="T151">
                <a:pos x="T94" y="T95"/>
              </a:cxn>
              <a:cxn ang="T152">
                <a:pos x="T96" y="T97"/>
              </a:cxn>
              <a:cxn ang="T153">
                <a:pos x="T98" y="T99"/>
              </a:cxn>
              <a:cxn ang="T154">
                <a:pos x="T100" y="T101"/>
              </a:cxn>
              <a:cxn ang="T155">
                <a:pos x="T102" y="T103"/>
              </a:cxn>
            </a:cxnLst>
            <a:rect l="T156" t="T157" r="T158" b="T159"/>
            <a:pathLst>
              <a:path w="444" h="434">
                <a:moveTo>
                  <a:pt x="148" y="434"/>
                </a:moveTo>
                <a:lnTo>
                  <a:pt x="168" y="412"/>
                </a:lnTo>
                <a:lnTo>
                  <a:pt x="254" y="338"/>
                </a:lnTo>
                <a:lnTo>
                  <a:pt x="264" y="326"/>
                </a:lnTo>
                <a:lnTo>
                  <a:pt x="280" y="312"/>
                </a:lnTo>
                <a:lnTo>
                  <a:pt x="286" y="308"/>
                </a:lnTo>
                <a:lnTo>
                  <a:pt x="292" y="308"/>
                </a:lnTo>
                <a:lnTo>
                  <a:pt x="298" y="310"/>
                </a:lnTo>
                <a:lnTo>
                  <a:pt x="304" y="310"/>
                </a:lnTo>
                <a:lnTo>
                  <a:pt x="308" y="308"/>
                </a:lnTo>
                <a:lnTo>
                  <a:pt x="394" y="256"/>
                </a:lnTo>
                <a:lnTo>
                  <a:pt x="394" y="254"/>
                </a:lnTo>
                <a:lnTo>
                  <a:pt x="392" y="242"/>
                </a:lnTo>
                <a:lnTo>
                  <a:pt x="394" y="238"/>
                </a:lnTo>
                <a:lnTo>
                  <a:pt x="396" y="228"/>
                </a:lnTo>
                <a:lnTo>
                  <a:pt x="398" y="216"/>
                </a:lnTo>
                <a:lnTo>
                  <a:pt x="402" y="212"/>
                </a:lnTo>
                <a:lnTo>
                  <a:pt x="404" y="210"/>
                </a:lnTo>
                <a:lnTo>
                  <a:pt x="412" y="204"/>
                </a:lnTo>
                <a:lnTo>
                  <a:pt x="412" y="202"/>
                </a:lnTo>
                <a:lnTo>
                  <a:pt x="412" y="196"/>
                </a:lnTo>
                <a:lnTo>
                  <a:pt x="414" y="188"/>
                </a:lnTo>
                <a:lnTo>
                  <a:pt x="418" y="184"/>
                </a:lnTo>
                <a:lnTo>
                  <a:pt x="420" y="178"/>
                </a:lnTo>
                <a:lnTo>
                  <a:pt x="420" y="170"/>
                </a:lnTo>
                <a:lnTo>
                  <a:pt x="426" y="166"/>
                </a:lnTo>
                <a:lnTo>
                  <a:pt x="432" y="162"/>
                </a:lnTo>
                <a:lnTo>
                  <a:pt x="436" y="160"/>
                </a:lnTo>
                <a:lnTo>
                  <a:pt x="444" y="162"/>
                </a:lnTo>
                <a:lnTo>
                  <a:pt x="442" y="156"/>
                </a:lnTo>
                <a:lnTo>
                  <a:pt x="434" y="148"/>
                </a:lnTo>
                <a:lnTo>
                  <a:pt x="428" y="144"/>
                </a:lnTo>
                <a:lnTo>
                  <a:pt x="428" y="140"/>
                </a:lnTo>
                <a:lnTo>
                  <a:pt x="428" y="132"/>
                </a:lnTo>
                <a:lnTo>
                  <a:pt x="426" y="128"/>
                </a:lnTo>
                <a:lnTo>
                  <a:pt x="420" y="130"/>
                </a:lnTo>
                <a:lnTo>
                  <a:pt x="414" y="130"/>
                </a:lnTo>
                <a:lnTo>
                  <a:pt x="404" y="128"/>
                </a:lnTo>
                <a:lnTo>
                  <a:pt x="394" y="126"/>
                </a:lnTo>
                <a:lnTo>
                  <a:pt x="384" y="126"/>
                </a:lnTo>
                <a:lnTo>
                  <a:pt x="378" y="128"/>
                </a:lnTo>
                <a:lnTo>
                  <a:pt x="374" y="126"/>
                </a:lnTo>
                <a:lnTo>
                  <a:pt x="374" y="122"/>
                </a:lnTo>
                <a:lnTo>
                  <a:pt x="368" y="114"/>
                </a:lnTo>
                <a:lnTo>
                  <a:pt x="372" y="106"/>
                </a:lnTo>
                <a:lnTo>
                  <a:pt x="372" y="104"/>
                </a:lnTo>
                <a:lnTo>
                  <a:pt x="372" y="102"/>
                </a:lnTo>
                <a:lnTo>
                  <a:pt x="366" y="96"/>
                </a:lnTo>
                <a:lnTo>
                  <a:pt x="362" y="98"/>
                </a:lnTo>
                <a:lnTo>
                  <a:pt x="360" y="102"/>
                </a:lnTo>
                <a:lnTo>
                  <a:pt x="360" y="104"/>
                </a:lnTo>
                <a:lnTo>
                  <a:pt x="356" y="102"/>
                </a:lnTo>
                <a:lnTo>
                  <a:pt x="352" y="96"/>
                </a:lnTo>
                <a:lnTo>
                  <a:pt x="350" y="92"/>
                </a:lnTo>
                <a:lnTo>
                  <a:pt x="346" y="92"/>
                </a:lnTo>
                <a:lnTo>
                  <a:pt x="344" y="94"/>
                </a:lnTo>
                <a:lnTo>
                  <a:pt x="340" y="96"/>
                </a:lnTo>
                <a:lnTo>
                  <a:pt x="334" y="90"/>
                </a:lnTo>
                <a:lnTo>
                  <a:pt x="334" y="86"/>
                </a:lnTo>
                <a:lnTo>
                  <a:pt x="332" y="78"/>
                </a:lnTo>
                <a:lnTo>
                  <a:pt x="328" y="76"/>
                </a:lnTo>
                <a:lnTo>
                  <a:pt x="322" y="74"/>
                </a:lnTo>
                <a:lnTo>
                  <a:pt x="316" y="70"/>
                </a:lnTo>
                <a:lnTo>
                  <a:pt x="312" y="66"/>
                </a:lnTo>
                <a:lnTo>
                  <a:pt x="310" y="58"/>
                </a:lnTo>
                <a:lnTo>
                  <a:pt x="308" y="52"/>
                </a:lnTo>
                <a:lnTo>
                  <a:pt x="308" y="44"/>
                </a:lnTo>
                <a:lnTo>
                  <a:pt x="306" y="44"/>
                </a:lnTo>
                <a:lnTo>
                  <a:pt x="306" y="38"/>
                </a:lnTo>
                <a:lnTo>
                  <a:pt x="304" y="32"/>
                </a:lnTo>
                <a:lnTo>
                  <a:pt x="298" y="22"/>
                </a:lnTo>
                <a:lnTo>
                  <a:pt x="296" y="18"/>
                </a:lnTo>
                <a:lnTo>
                  <a:pt x="292" y="14"/>
                </a:lnTo>
                <a:lnTo>
                  <a:pt x="290" y="8"/>
                </a:lnTo>
                <a:lnTo>
                  <a:pt x="286" y="6"/>
                </a:lnTo>
                <a:lnTo>
                  <a:pt x="282" y="4"/>
                </a:lnTo>
                <a:lnTo>
                  <a:pt x="280" y="4"/>
                </a:lnTo>
                <a:lnTo>
                  <a:pt x="280" y="2"/>
                </a:lnTo>
                <a:lnTo>
                  <a:pt x="276" y="0"/>
                </a:lnTo>
                <a:lnTo>
                  <a:pt x="274" y="0"/>
                </a:lnTo>
                <a:lnTo>
                  <a:pt x="268" y="0"/>
                </a:lnTo>
                <a:lnTo>
                  <a:pt x="262" y="0"/>
                </a:lnTo>
                <a:lnTo>
                  <a:pt x="258" y="2"/>
                </a:lnTo>
                <a:lnTo>
                  <a:pt x="252" y="4"/>
                </a:lnTo>
                <a:lnTo>
                  <a:pt x="248" y="8"/>
                </a:lnTo>
                <a:lnTo>
                  <a:pt x="246" y="14"/>
                </a:lnTo>
                <a:lnTo>
                  <a:pt x="244" y="16"/>
                </a:lnTo>
                <a:lnTo>
                  <a:pt x="242" y="18"/>
                </a:lnTo>
                <a:lnTo>
                  <a:pt x="240" y="20"/>
                </a:lnTo>
                <a:lnTo>
                  <a:pt x="236" y="26"/>
                </a:lnTo>
                <a:lnTo>
                  <a:pt x="230" y="34"/>
                </a:lnTo>
                <a:lnTo>
                  <a:pt x="226" y="38"/>
                </a:lnTo>
                <a:lnTo>
                  <a:pt x="222" y="42"/>
                </a:lnTo>
                <a:lnTo>
                  <a:pt x="220" y="42"/>
                </a:lnTo>
                <a:lnTo>
                  <a:pt x="218" y="44"/>
                </a:lnTo>
                <a:lnTo>
                  <a:pt x="208" y="52"/>
                </a:lnTo>
                <a:lnTo>
                  <a:pt x="204" y="54"/>
                </a:lnTo>
                <a:lnTo>
                  <a:pt x="200" y="54"/>
                </a:lnTo>
                <a:lnTo>
                  <a:pt x="196" y="56"/>
                </a:lnTo>
                <a:lnTo>
                  <a:pt x="192" y="56"/>
                </a:lnTo>
                <a:lnTo>
                  <a:pt x="190" y="58"/>
                </a:lnTo>
                <a:lnTo>
                  <a:pt x="188" y="58"/>
                </a:lnTo>
                <a:lnTo>
                  <a:pt x="186" y="60"/>
                </a:lnTo>
                <a:lnTo>
                  <a:pt x="182" y="66"/>
                </a:lnTo>
                <a:lnTo>
                  <a:pt x="176" y="70"/>
                </a:lnTo>
                <a:lnTo>
                  <a:pt x="174" y="72"/>
                </a:lnTo>
                <a:lnTo>
                  <a:pt x="174" y="76"/>
                </a:lnTo>
                <a:lnTo>
                  <a:pt x="172" y="78"/>
                </a:lnTo>
                <a:lnTo>
                  <a:pt x="172" y="84"/>
                </a:lnTo>
                <a:lnTo>
                  <a:pt x="172" y="86"/>
                </a:lnTo>
                <a:lnTo>
                  <a:pt x="170" y="88"/>
                </a:lnTo>
                <a:lnTo>
                  <a:pt x="170" y="92"/>
                </a:lnTo>
                <a:lnTo>
                  <a:pt x="170" y="98"/>
                </a:lnTo>
                <a:lnTo>
                  <a:pt x="170" y="106"/>
                </a:lnTo>
                <a:lnTo>
                  <a:pt x="168" y="112"/>
                </a:lnTo>
                <a:lnTo>
                  <a:pt x="166" y="122"/>
                </a:lnTo>
                <a:lnTo>
                  <a:pt x="166" y="128"/>
                </a:lnTo>
                <a:lnTo>
                  <a:pt x="166" y="134"/>
                </a:lnTo>
                <a:lnTo>
                  <a:pt x="166" y="140"/>
                </a:lnTo>
                <a:lnTo>
                  <a:pt x="166" y="142"/>
                </a:lnTo>
                <a:lnTo>
                  <a:pt x="166" y="144"/>
                </a:lnTo>
                <a:lnTo>
                  <a:pt x="166" y="146"/>
                </a:lnTo>
                <a:lnTo>
                  <a:pt x="166" y="148"/>
                </a:lnTo>
                <a:lnTo>
                  <a:pt x="166" y="150"/>
                </a:lnTo>
                <a:lnTo>
                  <a:pt x="164" y="152"/>
                </a:lnTo>
                <a:lnTo>
                  <a:pt x="164" y="156"/>
                </a:lnTo>
                <a:lnTo>
                  <a:pt x="164" y="158"/>
                </a:lnTo>
                <a:lnTo>
                  <a:pt x="160" y="160"/>
                </a:lnTo>
                <a:lnTo>
                  <a:pt x="158" y="160"/>
                </a:lnTo>
                <a:lnTo>
                  <a:pt x="156" y="160"/>
                </a:lnTo>
                <a:lnTo>
                  <a:pt x="154" y="160"/>
                </a:lnTo>
                <a:lnTo>
                  <a:pt x="152" y="160"/>
                </a:lnTo>
                <a:lnTo>
                  <a:pt x="150" y="158"/>
                </a:lnTo>
                <a:lnTo>
                  <a:pt x="148" y="158"/>
                </a:lnTo>
                <a:lnTo>
                  <a:pt x="140" y="152"/>
                </a:lnTo>
                <a:lnTo>
                  <a:pt x="136" y="150"/>
                </a:lnTo>
                <a:lnTo>
                  <a:pt x="132" y="150"/>
                </a:lnTo>
                <a:lnTo>
                  <a:pt x="126" y="150"/>
                </a:lnTo>
                <a:lnTo>
                  <a:pt x="126" y="148"/>
                </a:lnTo>
                <a:lnTo>
                  <a:pt x="122" y="150"/>
                </a:lnTo>
                <a:lnTo>
                  <a:pt x="120" y="150"/>
                </a:lnTo>
                <a:lnTo>
                  <a:pt x="118" y="150"/>
                </a:lnTo>
                <a:lnTo>
                  <a:pt x="114" y="150"/>
                </a:lnTo>
                <a:lnTo>
                  <a:pt x="108" y="150"/>
                </a:lnTo>
                <a:lnTo>
                  <a:pt x="106" y="148"/>
                </a:lnTo>
                <a:lnTo>
                  <a:pt x="102" y="148"/>
                </a:lnTo>
                <a:lnTo>
                  <a:pt x="98" y="146"/>
                </a:lnTo>
                <a:lnTo>
                  <a:pt x="90" y="146"/>
                </a:lnTo>
                <a:lnTo>
                  <a:pt x="82" y="148"/>
                </a:lnTo>
                <a:lnTo>
                  <a:pt x="78" y="148"/>
                </a:lnTo>
                <a:lnTo>
                  <a:pt x="72" y="150"/>
                </a:lnTo>
                <a:lnTo>
                  <a:pt x="70" y="150"/>
                </a:lnTo>
                <a:lnTo>
                  <a:pt x="66" y="152"/>
                </a:lnTo>
                <a:lnTo>
                  <a:pt x="66" y="156"/>
                </a:lnTo>
                <a:lnTo>
                  <a:pt x="64" y="156"/>
                </a:lnTo>
                <a:lnTo>
                  <a:pt x="60" y="160"/>
                </a:lnTo>
                <a:lnTo>
                  <a:pt x="54" y="166"/>
                </a:lnTo>
                <a:lnTo>
                  <a:pt x="52" y="170"/>
                </a:lnTo>
                <a:lnTo>
                  <a:pt x="52" y="174"/>
                </a:lnTo>
                <a:lnTo>
                  <a:pt x="52" y="178"/>
                </a:lnTo>
                <a:lnTo>
                  <a:pt x="54" y="182"/>
                </a:lnTo>
                <a:lnTo>
                  <a:pt x="54" y="186"/>
                </a:lnTo>
                <a:lnTo>
                  <a:pt x="54" y="192"/>
                </a:lnTo>
                <a:lnTo>
                  <a:pt x="54" y="196"/>
                </a:lnTo>
                <a:lnTo>
                  <a:pt x="54" y="200"/>
                </a:lnTo>
                <a:lnTo>
                  <a:pt x="54" y="204"/>
                </a:lnTo>
                <a:lnTo>
                  <a:pt x="54" y="206"/>
                </a:lnTo>
                <a:lnTo>
                  <a:pt x="54" y="210"/>
                </a:lnTo>
                <a:lnTo>
                  <a:pt x="52" y="212"/>
                </a:lnTo>
                <a:lnTo>
                  <a:pt x="50" y="212"/>
                </a:lnTo>
                <a:lnTo>
                  <a:pt x="46" y="214"/>
                </a:lnTo>
                <a:lnTo>
                  <a:pt x="40" y="214"/>
                </a:lnTo>
                <a:lnTo>
                  <a:pt x="36" y="214"/>
                </a:lnTo>
                <a:lnTo>
                  <a:pt x="30" y="216"/>
                </a:lnTo>
                <a:lnTo>
                  <a:pt x="28" y="216"/>
                </a:lnTo>
                <a:lnTo>
                  <a:pt x="26" y="220"/>
                </a:lnTo>
                <a:lnTo>
                  <a:pt x="22" y="222"/>
                </a:lnTo>
                <a:lnTo>
                  <a:pt x="20" y="224"/>
                </a:lnTo>
                <a:lnTo>
                  <a:pt x="18" y="232"/>
                </a:lnTo>
                <a:lnTo>
                  <a:pt x="16" y="234"/>
                </a:lnTo>
                <a:lnTo>
                  <a:pt x="16" y="238"/>
                </a:lnTo>
                <a:lnTo>
                  <a:pt x="14" y="242"/>
                </a:lnTo>
                <a:lnTo>
                  <a:pt x="10" y="246"/>
                </a:lnTo>
                <a:lnTo>
                  <a:pt x="8" y="248"/>
                </a:lnTo>
                <a:lnTo>
                  <a:pt x="4" y="250"/>
                </a:lnTo>
                <a:lnTo>
                  <a:pt x="2" y="252"/>
                </a:lnTo>
                <a:lnTo>
                  <a:pt x="0" y="254"/>
                </a:lnTo>
                <a:lnTo>
                  <a:pt x="0" y="256"/>
                </a:lnTo>
                <a:lnTo>
                  <a:pt x="0" y="264"/>
                </a:lnTo>
                <a:lnTo>
                  <a:pt x="0" y="266"/>
                </a:lnTo>
                <a:lnTo>
                  <a:pt x="0" y="272"/>
                </a:lnTo>
                <a:lnTo>
                  <a:pt x="4" y="278"/>
                </a:lnTo>
                <a:lnTo>
                  <a:pt x="8" y="288"/>
                </a:lnTo>
                <a:lnTo>
                  <a:pt x="10" y="296"/>
                </a:lnTo>
                <a:lnTo>
                  <a:pt x="10" y="304"/>
                </a:lnTo>
                <a:lnTo>
                  <a:pt x="10" y="306"/>
                </a:lnTo>
                <a:lnTo>
                  <a:pt x="10" y="308"/>
                </a:lnTo>
                <a:lnTo>
                  <a:pt x="10" y="314"/>
                </a:lnTo>
                <a:lnTo>
                  <a:pt x="10" y="322"/>
                </a:lnTo>
                <a:lnTo>
                  <a:pt x="10" y="324"/>
                </a:lnTo>
                <a:lnTo>
                  <a:pt x="10" y="326"/>
                </a:lnTo>
                <a:lnTo>
                  <a:pt x="10" y="332"/>
                </a:lnTo>
                <a:lnTo>
                  <a:pt x="10" y="336"/>
                </a:lnTo>
                <a:lnTo>
                  <a:pt x="10" y="340"/>
                </a:lnTo>
                <a:lnTo>
                  <a:pt x="10" y="342"/>
                </a:lnTo>
                <a:lnTo>
                  <a:pt x="8" y="346"/>
                </a:lnTo>
                <a:lnTo>
                  <a:pt x="4" y="354"/>
                </a:lnTo>
                <a:lnTo>
                  <a:pt x="2" y="358"/>
                </a:lnTo>
                <a:lnTo>
                  <a:pt x="44" y="380"/>
                </a:lnTo>
                <a:lnTo>
                  <a:pt x="148" y="434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 w="6350">
            <a:solidFill>
              <a:schemeClr val="tx2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457200">
              <a:defRPr/>
            </a:pPr>
            <a:endParaRPr lang="en-US" kern="0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83" name="Freeform 61">
            <a:extLst>
              <a:ext uri="{FF2B5EF4-FFF2-40B4-BE49-F238E27FC236}">
                <a16:creationId xmlns:a16="http://schemas.microsoft.com/office/drawing/2014/main" id="{41BE3400-0187-76CF-0915-72B4C087B070}"/>
              </a:ext>
            </a:extLst>
          </p:cNvPr>
          <p:cNvSpPr>
            <a:spLocks/>
          </p:cNvSpPr>
          <p:nvPr/>
        </p:nvSpPr>
        <p:spPr bwMode="auto">
          <a:xfrm>
            <a:off x="3340100" y="2661920"/>
            <a:ext cx="398780" cy="297180"/>
          </a:xfrm>
          <a:custGeom>
            <a:avLst/>
            <a:gdLst>
              <a:gd name="T0" fmla="*/ 2147483646 w 314"/>
              <a:gd name="T1" fmla="*/ 2147483646 h 234"/>
              <a:gd name="T2" fmla="*/ 2147483646 w 314"/>
              <a:gd name="T3" fmla="*/ 2147483646 h 234"/>
              <a:gd name="T4" fmla="*/ 2147483646 w 314"/>
              <a:gd name="T5" fmla="*/ 2147483646 h 234"/>
              <a:gd name="T6" fmla="*/ 2147483646 w 314"/>
              <a:gd name="T7" fmla="*/ 2147483646 h 234"/>
              <a:gd name="T8" fmla="*/ 2147483646 w 314"/>
              <a:gd name="T9" fmla="*/ 2147483646 h 234"/>
              <a:gd name="T10" fmla="*/ 2147483646 w 314"/>
              <a:gd name="T11" fmla="*/ 2147483646 h 234"/>
              <a:gd name="T12" fmla="*/ 2147483646 w 314"/>
              <a:gd name="T13" fmla="*/ 2147483646 h 234"/>
              <a:gd name="T14" fmla="*/ 2147483646 w 314"/>
              <a:gd name="T15" fmla="*/ 2147483646 h 234"/>
              <a:gd name="T16" fmla="*/ 2147483646 w 314"/>
              <a:gd name="T17" fmla="*/ 2147483646 h 234"/>
              <a:gd name="T18" fmla="*/ 2147483646 w 314"/>
              <a:gd name="T19" fmla="*/ 2147483646 h 234"/>
              <a:gd name="T20" fmla="*/ 2147483646 w 314"/>
              <a:gd name="T21" fmla="*/ 2147483646 h 234"/>
              <a:gd name="T22" fmla="*/ 2147483646 w 314"/>
              <a:gd name="T23" fmla="*/ 2147483646 h 234"/>
              <a:gd name="T24" fmla="*/ 2147483646 w 314"/>
              <a:gd name="T25" fmla="*/ 2147483646 h 234"/>
              <a:gd name="T26" fmla="*/ 2147483646 w 314"/>
              <a:gd name="T27" fmla="*/ 2147483646 h 234"/>
              <a:gd name="T28" fmla="*/ 2147483646 w 314"/>
              <a:gd name="T29" fmla="*/ 2147483646 h 234"/>
              <a:gd name="T30" fmla="*/ 2147483646 w 314"/>
              <a:gd name="T31" fmla="*/ 2147483646 h 234"/>
              <a:gd name="T32" fmla="*/ 2147483646 w 314"/>
              <a:gd name="T33" fmla="*/ 2147483646 h 234"/>
              <a:gd name="T34" fmla="*/ 2147483646 w 314"/>
              <a:gd name="T35" fmla="*/ 2147483646 h 234"/>
              <a:gd name="T36" fmla="*/ 2147483646 w 314"/>
              <a:gd name="T37" fmla="*/ 2147483646 h 234"/>
              <a:gd name="T38" fmla="*/ 2147483646 w 314"/>
              <a:gd name="T39" fmla="*/ 2147483646 h 234"/>
              <a:gd name="T40" fmla="*/ 2147483646 w 314"/>
              <a:gd name="T41" fmla="*/ 2147483646 h 234"/>
              <a:gd name="T42" fmla="*/ 2147483646 w 314"/>
              <a:gd name="T43" fmla="*/ 2147483646 h 234"/>
              <a:gd name="T44" fmla="*/ 2147483646 w 314"/>
              <a:gd name="T45" fmla="*/ 2147483646 h 234"/>
              <a:gd name="T46" fmla="*/ 2147483646 w 314"/>
              <a:gd name="T47" fmla="*/ 2147483646 h 234"/>
              <a:gd name="T48" fmla="*/ 2147483646 w 314"/>
              <a:gd name="T49" fmla="*/ 2147483646 h 234"/>
              <a:gd name="T50" fmla="*/ 2147483646 w 314"/>
              <a:gd name="T51" fmla="*/ 2147483646 h 234"/>
              <a:gd name="T52" fmla="*/ 2147483646 w 314"/>
              <a:gd name="T53" fmla="*/ 2147483646 h 234"/>
              <a:gd name="T54" fmla="*/ 2147483646 w 314"/>
              <a:gd name="T55" fmla="*/ 0 h 234"/>
              <a:gd name="T56" fmla="*/ 2147483646 w 314"/>
              <a:gd name="T57" fmla="*/ 2147483646 h 234"/>
              <a:gd name="T58" fmla="*/ 2147483646 w 314"/>
              <a:gd name="T59" fmla="*/ 2147483646 h 234"/>
              <a:gd name="T60" fmla="*/ 2147483646 w 314"/>
              <a:gd name="T61" fmla="*/ 2147483646 h 234"/>
              <a:gd name="T62" fmla="*/ 2147483646 w 314"/>
              <a:gd name="T63" fmla="*/ 2147483646 h 234"/>
              <a:gd name="T64" fmla="*/ 2147483646 w 314"/>
              <a:gd name="T65" fmla="*/ 2147483646 h 234"/>
              <a:gd name="T66" fmla="*/ 2147483646 w 314"/>
              <a:gd name="T67" fmla="*/ 2147483646 h 234"/>
              <a:gd name="T68" fmla="*/ 2147483646 w 314"/>
              <a:gd name="T69" fmla="*/ 2147483646 h 234"/>
              <a:gd name="T70" fmla="*/ 2147483646 w 314"/>
              <a:gd name="T71" fmla="*/ 2147483646 h 234"/>
              <a:gd name="T72" fmla="*/ 2147483646 w 314"/>
              <a:gd name="T73" fmla="*/ 2147483646 h 234"/>
              <a:gd name="T74" fmla="*/ 2147483646 w 314"/>
              <a:gd name="T75" fmla="*/ 2147483646 h 234"/>
              <a:gd name="T76" fmla="*/ 2147483646 w 314"/>
              <a:gd name="T77" fmla="*/ 2147483646 h 234"/>
              <a:gd name="T78" fmla="*/ 2147483646 w 314"/>
              <a:gd name="T79" fmla="*/ 2147483646 h 234"/>
              <a:gd name="T80" fmla="*/ 2147483646 w 314"/>
              <a:gd name="T81" fmla="*/ 2147483646 h 234"/>
              <a:gd name="T82" fmla="*/ 2147483646 w 314"/>
              <a:gd name="T83" fmla="*/ 2147483646 h 234"/>
              <a:gd name="T84" fmla="*/ 2147483646 w 314"/>
              <a:gd name="T85" fmla="*/ 2147483646 h 234"/>
              <a:gd name="T86" fmla="*/ 2147483646 w 314"/>
              <a:gd name="T87" fmla="*/ 2147483646 h 234"/>
              <a:gd name="T88" fmla="*/ 2147483646 w 314"/>
              <a:gd name="T89" fmla="*/ 2147483646 h 234"/>
              <a:gd name="T90" fmla="*/ 2147483646 w 314"/>
              <a:gd name="T91" fmla="*/ 2147483646 h 234"/>
              <a:gd name="T92" fmla="*/ 2147483646 w 314"/>
              <a:gd name="T93" fmla="*/ 2147483646 h 234"/>
              <a:gd name="T94" fmla="*/ 2147483646 w 314"/>
              <a:gd name="T95" fmla="*/ 2147483646 h 234"/>
              <a:gd name="T96" fmla="*/ 2147483646 w 314"/>
              <a:gd name="T97" fmla="*/ 2147483646 h 234"/>
              <a:gd name="T98" fmla="*/ 2147483646 w 314"/>
              <a:gd name="T99" fmla="*/ 2147483646 h 234"/>
              <a:gd name="T100" fmla="*/ 2147483646 w 314"/>
              <a:gd name="T101" fmla="*/ 2147483646 h 234"/>
              <a:gd name="T102" fmla="*/ 2147483646 w 314"/>
              <a:gd name="T103" fmla="*/ 2147483646 h 234"/>
              <a:gd name="T104" fmla="*/ 2147483646 w 314"/>
              <a:gd name="T105" fmla="*/ 2147483646 h 234"/>
              <a:gd name="T106" fmla="*/ 2147483646 w 314"/>
              <a:gd name="T107" fmla="*/ 2147483646 h 234"/>
              <a:gd name="T108" fmla="*/ 0 w 314"/>
              <a:gd name="T109" fmla="*/ 2147483646 h 234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w 314"/>
              <a:gd name="T166" fmla="*/ 0 h 234"/>
              <a:gd name="T167" fmla="*/ 314 w 314"/>
              <a:gd name="T168" fmla="*/ 234 h 234"/>
            </a:gdLst>
            <a:ahLst/>
            <a:cxnLst>
              <a:cxn ang="T110">
                <a:pos x="T0" y="T1"/>
              </a:cxn>
              <a:cxn ang="T111">
                <a:pos x="T2" y="T3"/>
              </a:cxn>
              <a:cxn ang="T112">
                <a:pos x="T4" y="T5"/>
              </a:cxn>
              <a:cxn ang="T113">
                <a:pos x="T6" y="T7"/>
              </a:cxn>
              <a:cxn ang="T114">
                <a:pos x="T8" y="T9"/>
              </a:cxn>
              <a:cxn ang="T115">
                <a:pos x="T10" y="T11"/>
              </a:cxn>
              <a:cxn ang="T116">
                <a:pos x="T12" y="T13"/>
              </a:cxn>
              <a:cxn ang="T117">
                <a:pos x="T14" y="T15"/>
              </a:cxn>
              <a:cxn ang="T118">
                <a:pos x="T16" y="T17"/>
              </a:cxn>
              <a:cxn ang="T119">
                <a:pos x="T18" y="T19"/>
              </a:cxn>
              <a:cxn ang="T120">
                <a:pos x="T20" y="T21"/>
              </a:cxn>
              <a:cxn ang="T121">
                <a:pos x="T22" y="T23"/>
              </a:cxn>
              <a:cxn ang="T122">
                <a:pos x="T24" y="T25"/>
              </a:cxn>
              <a:cxn ang="T123">
                <a:pos x="T26" y="T27"/>
              </a:cxn>
              <a:cxn ang="T124">
                <a:pos x="T28" y="T29"/>
              </a:cxn>
              <a:cxn ang="T125">
                <a:pos x="T30" y="T31"/>
              </a:cxn>
              <a:cxn ang="T126">
                <a:pos x="T32" y="T33"/>
              </a:cxn>
              <a:cxn ang="T127">
                <a:pos x="T34" y="T35"/>
              </a:cxn>
              <a:cxn ang="T128">
                <a:pos x="T36" y="T37"/>
              </a:cxn>
              <a:cxn ang="T129">
                <a:pos x="T38" y="T39"/>
              </a:cxn>
              <a:cxn ang="T130">
                <a:pos x="T40" y="T41"/>
              </a:cxn>
              <a:cxn ang="T131">
                <a:pos x="T42" y="T43"/>
              </a:cxn>
              <a:cxn ang="T132">
                <a:pos x="T44" y="T45"/>
              </a:cxn>
              <a:cxn ang="T133">
                <a:pos x="T46" y="T47"/>
              </a:cxn>
              <a:cxn ang="T134">
                <a:pos x="T48" y="T49"/>
              </a:cxn>
              <a:cxn ang="T135">
                <a:pos x="T50" y="T51"/>
              </a:cxn>
              <a:cxn ang="T136">
                <a:pos x="T52" y="T53"/>
              </a:cxn>
              <a:cxn ang="T137">
                <a:pos x="T54" y="T55"/>
              </a:cxn>
              <a:cxn ang="T138">
                <a:pos x="T56" y="T57"/>
              </a:cxn>
              <a:cxn ang="T139">
                <a:pos x="T58" y="T59"/>
              </a:cxn>
              <a:cxn ang="T140">
                <a:pos x="T60" y="T61"/>
              </a:cxn>
              <a:cxn ang="T141">
                <a:pos x="T62" y="T63"/>
              </a:cxn>
              <a:cxn ang="T142">
                <a:pos x="T64" y="T65"/>
              </a:cxn>
              <a:cxn ang="T143">
                <a:pos x="T66" y="T67"/>
              </a:cxn>
              <a:cxn ang="T144">
                <a:pos x="T68" y="T69"/>
              </a:cxn>
              <a:cxn ang="T145">
                <a:pos x="T70" y="T71"/>
              </a:cxn>
              <a:cxn ang="T146">
                <a:pos x="T72" y="T73"/>
              </a:cxn>
              <a:cxn ang="T147">
                <a:pos x="T74" y="T75"/>
              </a:cxn>
              <a:cxn ang="T148">
                <a:pos x="T76" y="T77"/>
              </a:cxn>
              <a:cxn ang="T149">
                <a:pos x="T78" y="T79"/>
              </a:cxn>
              <a:cxn ang="T150">
                <a:pos x="T80" y="T81"/>
              </a:cxn>
              <a:cxn ang="T151">
                <a:pos x="T82" y="T83"/>
              </a:cxn>
              <a:cxn ang="T152">
                <a:pos x="T84" y="T85"/>
              </a:cxn>
              <a:cxn ang="T153">
                <a:pos x="T86" y="T87"/>
              </a:cxn>
              <a:cxn ang="T154">
                <a:pos x="T88" y="T89"/>
              </a:cxn>
              <a:cxn ang="T155">
                <a:pos x="T90" y="T91"/>
              </a:cxn>
              <a:cxn ang="T156">
                <a:pos x="T92" y="T93"/>
              </a:cxn>
              <a:cxn ang="T157">
                <a:pos x="T94" y="T95"/>
              </a:cxn>
              <a:cxn ang="T158">
                <a:pos x="T96" y="T97"/>
              </a:cxn>
              <a:cxn ang="T159">
                <a:pos x="T98" y="T99"/>
              </a:cxn>
              <a:cxn ang="T160">
                <a:pos x="T100" y="T101"/>
              </a:cxn>
              <a:cxn ang="T161">
                <a:pos x="T102" y="T103"/>
              </a:cxn>
              <a:cxn ang="T162">
                <a:pos x="T104" y="T105"/>
              </a:cxn>
              <a:cxn ang="T163">
                <a:pos x="T106" y="T107"/>
              </a:cxn>
              <a:cxn ang="T164">
                <a:pos x="T108" y="T109"/>
              </a:cxn>
            </a:cxnLst>
            <a:rect l="T165" t="T166" r="T167" b="T168"/>
            <a:pathLst>
              <a:path w="314" h="234">
                <a:moveTo>
                  <a:pt x="2" y="162"/>
                </a:moveTo>
                <a:lnTo>
                  <a:pt x="8" y="168"/>
                </a:lnTo>
                <a:lnTo>
                  <a:pt x="12" y="166"/>
                </a:lnTo>
                <a:lnTo>
                  <a:pt x="14" y="164"/>
                </a:lnTo>
                <a:lnTo>
                  <a:pt x="18" y="164"/>
                </a:lnTo>
                <a:lnTo>
                  <a:pt x="20" y="168"/>
                </a:lnTo>
                <a:lnTo>
                  <a:pt x="24" y="174"/>
                </a:lnTo>
                <a:lnTo>
                  <a:pt x="28" y="176"/>
                </a:lnTo>
                <a:lnTo>
                  <a:pt x="28" y="174"/>
                </a:lnTo>
                <a:lnTo>
                  <a:pt x="30" y="170"/>
                </a:lnTo>
                <a:lnTo>
                  <a:pt x="34" y="168"/>
                </a:lnTo>
                <a:lnTo>
                  <a:pt x="40" y="174"/>
                </a:lnTo>
                <a:lnTo>
                  <a:pt x="40" y="176"/>
                </a:lnTo>
                <a:lnTo>
                  <a:pt x="40" y="178"/>
                </a:lnTo>
                <a:lnTo>
                  <a:pt x="36" y="186"/>
                </a:lnTo>
                <a:lnTo>
                  <a:pt x="42" y="194"/>
                </a:lnTo>
                <a:lnTo>
                  <a:pt x="42" y="198"/>
                </a:lnTo>
                <a:lnTo>
                  <a:pt x="46" y="200"/>
                </a:lnTo>
                <a:lnTo>
                  <a:pt x="52" y="198"/>
                </a:lnTo>
                <a:lnTo>
                  <a:pt x="62" y="198"/>
                </a:lnTo>
                <a:lnTo>
                  <a:pt x="72" y="200"/>
                </a:lnTo>
                <a:lnTo>
                  <a:pt x="82" y="202"/>
                </a:lnTo>
                <a:lnTo>
                  <a:pt x="88" y="202"/>
                </a:lnTo>
                <a:lnTo>
                  <a:pt x="94" y="200"/>
                </a:lnTo>
                <a:lnTo>
                  <a:pt x="96" y="204"/>
                </a:lnTo>
                <a:lnTo>
                  <a:pt x="96" y="212"/>
                </a:lnTo>
                <a:lnTo>
                  <a:pt x="96" y="216"/>
                </a:lnTo>
                <a:lnTo>
                  <a:pt x="102" y="220"/>
                </a:lnTo>
                <a:lnTo>
                  <a:pt x="110" y="228"/>
                </a:lnTo>
                <a:lnTo>
                  <a:pt x="112" y="234"/>
                </a:lnTo>
                <a:lnTo>
                  <a:pt x="118" y="232"/>
                </a:lnTo>
                <a:lnTo>
                  <a:pt x="120" y="224"/>
                </a:lnTo>
                <a:lnTo>
                  <a:pt x="120" y="214"/>
                </a:lnTo>
                <a:lnTo>
                  <a:pt x="122" y="206"/>
                </a:lnTo>
                <a:lnTo>
                  <a:pt x="124" y="200"/>
                </a:lnTo>
                <a:lnTo>
                  <a:pt x="130" y="198"/>
                </a:lnTo>
                <a:lnTo>
                  <a:pt x="130" y="192"/>
                </a:lnTo>
                <a:lnTo>
                  <a:pt x="132" y="188"/>
                </a:lnTo>
                <a:lnTo>
                  <a:pt x="136" y="188"/>
                </a:lnTo>
                <a:lnTo>
                  <a:pt x="140" y="192"/>
                </a:lnTo>
                <a:lnTo>
                  <a:pt x="148" y="192"/>
                </a:lnTo>
                <a:lnTo>
                  <a:pt x="150" y="192"/>
                </a:lnTo>
                <a:lnTo>
                  <a:pt x="154" y="192"/>
                </a:lnTo>
                <a:lnTo>
                  <a:pt x="154" y="186"/>
                </a:lnTo>
                <a:lnTo>
                  <a:pt x="156" y="182"/>
                </a:lnTo>
                <a:lnTo>
                  <a:pt x="164" y="186"/>
                </a:lnTo>
                <a:lnTo>
                  <a:pt x="172" y="192"/>
                </a:lnTo>
                <a:lnTo>
                  <a:pt x="174" y="192"/>
                </a:lnTo>
                <a:lnTo>
                  <a:pt x="180" y="188"/>
                </a:lnTo>
                <a:lnTo>
                  <a:pt x="182" y="186"/>
                </a:lnTo>
                <a:lnTo>
                  <a:pt x="192" y="186"/>
                </a:lnTo>
                <a:lnTo>
                  <a:pt x="198" y="182"/>
                </a:lnTo>
                <a:lnTo>
                  <a:pt x="206" y="186"/>
                </a:lnTo>
                <a:lnTo>
                  <a:pt x="210" y="182"/>
                </a:lnTo>
                <a:lnTo>
                  <a:pt x="218" y="182"/>
                </a:lnTo>
                <a:lnTo>
                  <a:pt x="224" y="174"/>
                </a:lnTo>
                <a:lnTo>
                  <a:pt x="234" y="174"/>
                </a:lnTo>
                <a:lnTo>
                  <a:pt x="242" y="168"/>
                </a:lnTo>
                <a:lnTo>
                  <a:pt x="250" y="166"/>
                </a:lnTo>
                <a:lnTo>
                  <a:pt x="258" y="168"/>
                </a:lnTo>
                <a:lnTo>
                  <a:pt x="270" y="170"/>
                </a:lnTo>
                <a:lnTo>
                  <a:pt x="274" y="170"/>
                </a:lnTo>
                <a:lnTo>
                  <a:pt x="278" y="166"/>
                </a:lnTo>
                <a:lnTo>
                  <a:pt x="286" y="160"/>
                </a:lnTo>
                <a:lnTo>
                  <a:pt x="286" y="158"/>
                </a:lnTo>
                <a:lnTo>
                  <a:pt x="288" y="156"/>
                </a:lnTo>
                <a:lnTo>
                  <a:pt x="290" y="152"/>
                </a:lnTo>
                <a:lnTo>
                  <a:pt x="292" y="148"/>
                </a:lnTo>
                <a:lnTo>
                  <a:pt x="292" y="144"/>
                </a:lnTo>
                <a:lnTo>
                  <a:pt x="292" y="142"/>
                </a:lnTo>
                <a:lnTo>
                  <a:pt x="296" y="142"/>
                </a:lnTo>
                <a:lnTo>
                  <a:pt x="298" y="146"/>
                </a:lnTo>
                <a:lnTo>
                  <a:pt x="304" y="146"/>
                </a:lnTo>
                <a:lnTo>
                  <a:pt x="304" y="142"/>
                </a:lnTo>
                <a:lnTo>
                  <a:pt x="314" y="142"/>
                </a:lnTo>
                <a:lnTo>
                  <a:pt x="310" y="80"/>
                </a:lnTo>
                <a:lnTo>
                  <a:pt x="302" y="16"/>
                </a:lnTo>
                <a:lnTo>
                  <a:pt x="298" y="12"/>
                </a:lnTo>
                <a:lnTo>
                  <a:pt x="296" y="8"/>
                </a:lnTo>
                <a:lnTo>
                  <a:pt x="292" y="6"/>
                </a:lnTo>
                <a:lnTo>
                  <a:pt x="284" y="6"/>
                </a:lnTo>
                <a:lnTo>
                  <a:pt x="278" y="2"/>
                </a:lnTo>
                <a:lnTo>
                  <a:pt x="274" y="0"/>
                </a:lnTo>
                <a:lnTo>
                  <a:pt x="272" y="0"/>
                </a:lnTo>
                <a:lnTo>
                  <a:pt x="270" y="0"/>
                </a:lnTo>
                <a:lnTo>
                  <a:pt x="270" y="2"/>
                </a:lnTo>
                <a:lnTo>
                  <a:pt x="276" y="6"/>
                </a:lnTo>
                <a:lnTo>
                  <a:pt x="276" y="12"/>
                </a:lnTo>
                <a:lnTo>
                  <a:pt x="272" y="14"/>
                </a:lnTo>
                <a:lnTo>
                  <a:pt x="262" y="12"/>
                </a:lnTo>
                <a:lnTo>
                  <a:pt x="258" y="8"/>
                </a:lnTo>
                <a:lnTo>
                  <a:pt x="250" y="12"/>
                </a:lnTo>
                <a:lnTo>
                  <a:pt x="244" y="18"/>
                </a:lnTo>
                <a:lnTo>
                  <a:pt x="240" y="22"/>
                </a:lnTo>
                <a:lnTo>
                  <a:pt x="236" y="22"/>
                </a:lnTo>
                <a:lnTo>
                  <a:pt x="236" y="20"/>
                </a:lnTo>
                <a:lnTo>
                  <a:pt x="236" y="16"/>
                </a:lnTo>
                <a:lnTo>
                  <a:pt x="232" y="12"/>
                </a:lnTo>
                <a:lnTo>
                  <a:pt x="224" y="8"/>
                </a:lnTo>
                <a:lnTo>
                  <a:pt x="222" y="16"/>
                </a:lnTo>
                <a:lnTo>
                  <a:pt x="220" y="18"/>
                </a:lnTo>
                <a:lnTo>
                  <a:pt x="216" y="24"/>
                </a:lnTo>
                <a:lnTo>
                  <a:pt x="214" y="30"/>
                </a:lnTo>
                <a:lnTo>
                  <a:pt x="208" y="34"/>
                </a:lnTo>
                <a:lnTo>
                  <a:pt x="206" y="34"/>
                </a:lnTo>
                <a:lnTo>
                  <a:pt x="204" y="34"/>
                </a:lnTo>
                <a:lnTo>
                  <a:pt x="202" y="36"/>
                </a:lnTo>
                <a:lnTo>
                  <a:pt x="194" y="36"/>
                </a:lnTo>
                <a:lnTo>
                  <a:pt x="192" y="36"/>
                </a:lnTo>
                <a:lnTo>
                  <a:pt x="188" y="36"/>
                </a:lnTo>
                <a:lnTo>
                  <a:pt x="182" y="38"/>
                </a:lnTo>
                <a:lnTo>
                  <a:pt x="176" y="40"/>
                </a:lnTo>
                <a:lnTo>
                  <a:pt x="170" y="44"/>
                </a:lnTo>
                <a:lnTo>
                  <a:pt x="168" y="44"/>
                </a:lnTo>
                <a:lnTo>
                  <a:pt x="168" y="48"/>
                </a:lnTo>
                <a:lnTo>
                  <a:pt x="166" y="50"/>
                </a:lnTo>
                <a:lnTo>
                  <a:pt x="164" y="50"/>
                </a:lnTo>
                <a:lnTo>
                  <a:pt x="164" y="54"/>
                </a:lnTo>
                <a:lnTo>
                  <a:pt x="158" y="58"/>
                </a:lnTo>
                <a:lnTo>
                  <a:pt x="154" y="62"/>
                </a:lnTo>
                <a:lnTo>
                  <a:pt x="152" y="66"/>
                </a:lnTo>
                <a:lnTo>
                  <a:pt x="148" y="70"/>
                </a:lnTo>
                <a:lnTo>
                  <a:pt x="146" y="70"/>
                </a:lnTo>
                <a:lnTo>
                  <a:pt x="146" y="74"/>
                </a:lnTo>
                <a:lnTo>
                  <a:pt x="142" y="80"/>
                </a:lnTo>
                <a:lnTo>
                  <a:pt x="140" y="86"/>
                </a:lnTo>
                <a:lnTo>
                  <a:pt x="140" y="92"/>
                </a:lnTo>
                <a:lnTo>
                  <a:pt x="138" y="96"/>
                </a:lnTo>
                <a:lnTo>
                  <a:pt x="136" y="98"/>
                </a:lnTo>
                <a:lnTo>
                  <a:pt x="132" y="102"/>
                </a:lnTo>
                <a:lnTo>
                  <a:pt x="122" y="98"/>
                </a:lnTo>
                <a:lnTo>
                  <a:pt x="120" y="98"/>
                </a:lnTo>
                <a:lnTo>
                  <a:pt x="114" y="96"/>
                </a:lnTo>
                <a:lnTo>
                  <a:pt x="106" y="96"/>
                </a:lnTo>
                <a:lnTo>
                  <a:pt x="104" y="98"/>
                </a:lnTo>
                <a:lnTo>
                  <a:pt x="100" y="98"/>
                </a:lnTo>
                <a:lnTo>
                  <a:pt x="94" y="102"/>
                </a:lnTo>
                <a:lnTo>
                  <a:pt x="92" y="104"/>
                </a:lnTo>
                <a:lnTo>
                  <a:pt x="88" y="104"/>
                </a:lnTo>
                <a:lnTo>
                  <a:pt x="86" y="104"/>
                </a:lnTo>
                <a:lnTo>
                  <a:pt x="82" y="104"/>
                </a:lnTo>
                <a:lnTo>
                  <a:pt x="80" y="106"/>
                </a:lnTo>
                <a:lnTo>
                  <a:pt x="78" y="108"/>
                </a:lnTo>
                <a:lnTo>
                  <a:pt x="76" y="110"/>
                </a:lnTo>
                <a:lnTo>
                  <a:pt x="72" y="110"/>
                </a:lnTo>
                <a:lnTo>
                  <a:pt x="70" y="112"/>
                </a:lnTo>
                <a:lnTo>
                  <a:pt x="66" y="112"/>
                </a:lnTo>
                <a:lnTo>
                  <a:pt x="62" y="116"/>
                </a:lnTo>
                <a:lnTo>
                  <a:pt x="60" y="116"/>
                </a:lnTo>
                <a:lnTo>
                  <a:pt x="60" y="120"/>
                </a:lnTo>
                <a:lnTo>
                  <a:pt x="58" y="122"/>
                </a:lnTo>
                <a:lnTo>
                  <a:pt x="54" y="122"/>
                </a:lnTo>
                <a:lnTo>
                  <a:pt x="50" y="124"/>
                </a:lnTo>
                <a:lnTo>
                  <a:pt x="48" y="126"/>
                </a:lnTo>
                <a:lnTo>
                  <a:pt x="46" y="128"/>
                </a:lnTo>
                <a:lnTo>
                  <a:pt x="44" y="130"/>
                </a:lnTo>
                <a:lnTo>
                  <a:pt x="40" y="132"/>
                </a:lnTo>
                <a:lnTo>
                  <a:pt x="30" y="138"/>
                </a:lnTo>
                <a:lnTo>
                  <a:pt x="28" y="140"/>
                </a:lnTo>
                <a:lnTo>
                  <a:pt x="18" y="146"/>
                </a:lnTo>
                <a:lnTo>
                  <a:pt x="14" y="146"/>
                </a:lnTo>
                <a:lnTo>
                  <a:pt x="12" y="148"/>
                </a:lnTo>
                <a:lnTo>
                  <a:pt x="8" y="150"/>
                </a:lnTo>
                <a:lnTo>
                  <a:pt x="2" y="150"/>
                </a:lnTo>
                <a:lnTo>
                  <a:pt x="0" y="150"/>
                </a:lnTo>
                <a:lnTo>
                  <a:pt x="2" y="158"/>
                </a:lnTo>
                <a:lnTo>
                  <a:pt x="2" y="162"/>
                </a:lnTo>
                <a:close/>
              </a:path>
            </a:pathLst>
          </a:custGeom>
          <a:solidFill>
            <a:srgbClr val="F1B728"/>
          </a:solidFill>
          <a:ln w="6350">
            <a:solidFill>
              <a:schemeClr val="tx1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457200"/>
            <a:endParaRPr lang="en-US" kern="0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84" name="Freeform 62">
            <a:extLst>
              <a:ext uri="{FF2B5EF4-FFF2-40B4-BE49-F238E27FC236}">
                <a16:creationId xmlns:a16="http://schemas.microsoft.com/office/drawing/2014/main" id="{35D1D0D1-4429-B2A9-CF55-C82A5F88858E}"/>
              </a:ext>
            </a:extLst>
          </p:cNvPr>
          <p:cNvSpPr>
            <a:spLocks/>
          </p:cNvSpPr>
          <p:nvPr/>
        </p:nvSpPr>
        <p:spPr bwMode="auto">
          <a:xfrm>
            <a:off x="2730109" y="3208899"/>
            <a:ext cx="452120" cy="774700"/>
          </a:xfrm>
          <a:custGeom>
            <a:avLst/>
            <a:gdLst>
              <a:gd name="T0" fmla="*/ 2147483646 w 356"/>
              <a:gd name="T1" fmla="*/ 2147483646 h 610"/>
              <a:gd name="T2" fmla="*/ 2147483646 w 356"/>
              <a:gd name="T3" fmla="*/ 2147483646 h 610"/>
              <a:gd name="T4" fmla="*/ 2147483646 w 356"/>
              <a:gd name="T5" fmla="*/ 2147483646 h 610"/>
              <a:gd name="T6" fmla="*/ 2147483646 w 356"/>
              <a:gd name="T7" fmla="*/ 2147483646 h 610"/>
              <a:gd name="T8" fmla="*/ 2147483646 w 356"/>
              <a:gd name="T9" fmla="*/ 2147483646 h 610"/>
              <a:gd name="T10" fmla="*/ 2147483646 w 356"/>
              <a:gd name="T11" fmla="*/ 2147483646 h 610"/>
              <a:gd name="T12" fmla="*/ 2147483646 w 356"/>
              <a:gd name="T13" fmla="*/ 2147483646 h 610"/>
              <a:gd name="T14" fmla="*/ 2147483646 w 356"/>
              <a:gd name="T15" fmla="*/ 2147483646 h 610"/>
              <a:gd name="T16" fmla="*/ 2147483646 w 356"/>
              <a:gd name="T17" fmla="*/ 2147483646 h 610"/>
              <a:gd name="T18" fmla="*/ 2147483646 w 356"/>
              <a:gd name="T19" fmla="*/ 2147483646 h 610"/>
              <a:gd name="T20" fmla="*/ 2147483646 w 356"/>
              <a:gd name="T21" fmla="*/ 2147483646 h 610"/>
              <a:gd name="T22" fmla="*/ 2147483646 w 356"/>
              <a:gd name="T23" fmla="*/ 2147483646 h 610"/>
              <a:gd name="T24" fmla="*/ 2147483646 w 356"/>
              <a:gd name="T25" fmla="*/ 2147483646 h 610"/>
              <a:gd name="T26" fmla="*/ 2147483646 w 356"/>
              <a:gd name="T27" fmla="*/ 2147483646 h 610"/>
              <a:gd name="T28" fmla="*/ 2147483646 w 356"/>
              <a:gd name="T29" fmla="*/ 2147483646 h 610"/>
              <a:gd name="T30" fmla="*/ 2147483646 w 356"/>
              <a:gd name="T31" fmla="*/ 2147483646 h 610"/>
              <a:gd name="T32" fmla="*/ 2147483646 w 356"/>
              <a:gd name="T33" fmla="*/ 0 h 610"/>
              <a:gd name="T34" fmla="*/ 2147483646 w 356"/>
              <a:gd name="T35" fmla="*/ 2147483646 h 610"/>
              <a:gd name="T36" fmla="*/ 2147483646 w 356"/>
              <a:gd name="T37" fmla="*/ 2147483646 h 610"/>
              <a:gd name="T38" fmla="*/ 2147483646 w 356"/>
              <a:gd name="T39" fmla="*/ 2147483646 h 610"/>
              <a:gd name="T40" fmla="*/ 2147483646 w 356"/>
              <a:gd name="T41" fmla="*/ 2147483646 h 610"/>
              <a:gd name="T42" fmla="*/ 2147483646 w 356"/>
              <a:gd name="T43" fmla="*/ 2147483646 h 610"/>
              <a:gd name="T44" fmla="*/ 2147483646 w 356"/>
              <a:gd name="T45" fmla="*/ 2147483646 h 610"/>
              <a:gd name="T46" fmla="*/ 2147483646 w 356"/>
              <a:gd name="T47" fmla="*/ 2147483646 h 610"/>
              <a:gd name="T48" fmla="*/ 2147483646 w 356"/>
              <a:gd name="T49" fmla="*/ 2147483646 h 610"/>
              <a:gd name="T50" fmla="*/ 2147483646 w 356"/>
              <a:gd name="T51" fmla="*/ 2147483646 h 610"/>
              <a:gd name="T52" fmla="*/ 2147483646 w 356"/>
              <a:gd name="T53" fmla="*/ 2147483646 h 610"/>
              <a:gd name="T54" fmla="*/ 2147483646 w 356"/>
              <a:gd name="T55" fmla="*/ 2147483646 h 610"/>
              <a:gd name="T56" fmla="*/ 2147483646 w 356"/>
              <a:gd name="T57" fmla="*/ 2147483646 h 610"/>
              <a:gd name="T58" fmla="*/ 2147483646 w 356"/>
              <a:gd name="T59" fmla="*/ 2147483646 h 610"/>
              <a:gd name="T60" fmla="*/ 2147483646 w 356"/>
              <a:gd name="T61" fmla="*/ 2147483646 h 610"/>
              <a:gd name="T62" fmla="*/ 2147483646 w 356"/>
              <a:gd name="T63" fmla="*/ 2147483646 h 610"/>
              <a:gd name="T64" fmla="*/ 2147483646 w 356"/>
              <a:gd name="T65" fmla="*/ 2147483646 h 610"/>
              <a:gd name="T66" fmla="*/ 2147483646 w 356"/>
              <a:gd name="T67" fmla="*/ 2147483646 h 610"/>
              <a:gd name="T68" fmla="*/ 2147483646 w 356"/>
              <a:gd name="T69" fmla="*/ 2147483646 h 610"/>
              <a:gd name="T70" fmla="*/ 2147483646 w 356"/>
              <a:gd name="T71" fmla="*/ 2147483646 h 610"/>
              <a:gd name="T72" fmla="*/ 2147483646 w 356"/>
              <a:gd name="T73" fmla="*/ 2147483646 h 610"/>
              <a:gd name="T74" fmla="*/ 2147483646 w 356"/>
              <a:gd name="T75" fmla="*/ 2147483646 h 610"/>
              <a:gd name="T76" fmla="*/ 2147483646 w 356"/>
              <a:gd name="T77" fmla="*/ 2147483646 h 610"/>
              <a:gd name="T78" fmla="*/ 2147483646 w 356"/>
              <a:gd name="T79" fmla="*/ 2147483646 h 610"/>
              <a:gd name="T80" fmla="*/ 2147483646 w 356"/>
              <a:gd name="T81" fmla="*/ 2147483646 h 610"/>
              <a:gd name="T82" fmla="*/ 2147483646 w 356"/>
              <a:gd name="T83" fmla="*/ 2147483646 h 610"/>
              <a:gd name="T84" fmla="*/ 2147483646 w 356"/>
              <a:gd name="T85" fmla="*/ 2147483646 h 610"/>
              <a:gd name="T86" fmla="*/ 2147483646 w 356"/>
              <a:gd name="T87" fmla="*/ 2147483646 h 610"/>
              <a:gd name="T88" fmla="*/ 2147483646 w 356"/>
              <a:gd name="T89" fmla="*/ 2147483646 h 610"/>
              <a:gd name="T90" fmla="*/ 2147483646 w 356"/>
              <a:gd name="T91" fmla="*/ 2147483646 h 610"/>
              <a:gd name="T92" fmla="*/ 2147483646 w 356"/>
              <a:gd name="T93" fmla="*/ 2147483646 h 610"/>
              <a:gd name="T94" fmla="*/ 2147483646 w 356"/>
              <a:gd name="T95" fmla="*/ 2147483646 h 610"/>
              <a:gd name="T96" fmla="*/ 2147483646 w 356"/>
              <a:gd name="T97" fmla="*/ 2147483646 h 610"/>
              <a:gd name="T98" fmla="*/ 2147483646 w 356"/>
              <a:gd name="T99" fmla="*/ 2147483646 h 610"/>
              <a:gd name="T100" fmla="*/ 0 w 356"/>
              <a:gd name="T101" fmla="*/ 2147483646 h 610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w 356"/>
              <a:gd name="T154" fmla="*/ 0 h 610"/>
              <a:gd name="T155" fmla="*/ 356 w 356"/>
              <a:gd name="T156" fmla="*/ 610 h 610"/>
            </a:gdLst>
            <a:ahLst/>
            <a:cxnLst>
              <a:cxn ang="T102">
                <a:pos x="T0" y="T1"/>
              </a:cxn>
              <a:cxn ang="T103">
                <a:pos x="T2" y="T3"/>
              </a:cxn>
              <a:cxn ang="T104">
                <a:pos x="T4" y="T5"/>
              </a:cxn>
              <a:cxn ang="T105">
                <a:pos x="T6" y="T7"/>
              </a:cxn>
              <a:cxn ang="T106">
                <a:pos x="T8" y="T9"/>
              </a:cxn>
              <a:cxn ang="T107">
                <a:pos x="T10" y="T11"/>
              </a:cxn>
              <a:cxn ang="T108">
                <a:pos x="T12" y="T13"/>
              </a:cxn>
              <a:cxn ang="T109">
                <a:pos x="T14" y="T15"/>
              </a:cxn>
              <a:cxn ang="T110">
                <a:pos x="T16" y="T17"/>
              </a:cxn>
              <a:cxn ang="T111">
                <a:pos x="T18" y="T19"/>
              </a:cxn>
              <a:cxn ang="T112">
                <a:pos x="T20" y="T21"/>
              </a:cxn>
              <a:cxn ang="T113">
                <a:pos x="T22" y="T23"/>
              </a:cxn>
              <a:cxn ang="T114">
                <a:pos x="T24" y="T25"/>
              </a:cxn>
              <a:cxn ang="T115">
                <a:pos x="T26" y="T27"/>
              </a:cxn>
              <a:cxn ang="T116">
                <a:pos x="T28" y="T29"/>
              </a:cxn>
              <a:cxn ang="T117">
                <a:pos x="T30" y="T31"/>
              </a:cxn>
              <a:cxn ang="T118">
                <a:pos x="T32" y="T33"/>
              </a:cxn>
              <a:cxn ang="T119">
                <a:pos x="T34" y="T35"/>
              </a:cxn>
              <a:cxn ang="T120">
                <a:pos x="T36" y="T37"/>
              </a:cxn>
              <a:cxn ang="T121">
                <a:pos x="T38" y="T39"/>
              </a:cxn>
              <a:cxn ang="T122">
                <a:pos x="T40" y="T41"/>
              </a:cxn>
              <a:cxn ang="T123">
                <a:pos x="T42" y="T43"/>
              </a:cxn>
              <a:cxn ang="T124">
                <a:pos x="T44" y="T45"/>
              </a:cxn>
              <a:cxn ang="T125">
                <a:pos x="T46" y="T47"/>
              </a:cxn>
              <a:cxn ang="T126">
                <a:pos x="T48" y="T49"/>
              </a:cxn>
              <a:cxn ang="T127">
                <a:pos x="T50" y="T51"/>
              </a:cxn>
              <a:cxn ang="T128">
                <a:pos x="T52" y="T53"/>
              </a:cxn>
              <a:cxn ang="T129">
                <a:pos x="T54" y="T55"/>
              </a:cxn>
              <a:cxn ang="T130">
                <a:pos x="T56" y="T57"/>
              </a:cxn>
              <a:cxn ang="T131">
                <a:pos x="T58" y="T59"/>
              </a:cxn>
              <a:cxn ang="T132">
                <a:pos x="T60" y="T61"/>
              </a:cxn>
              <a:cxn ang="T133">
                <a:pos x="T62" y="T63"/>
              </a:cxn>
              <a:cxn ang="T134">
                <a:pos x="T64" y="T65"/>
              </a:cxn>
              <a:cxn ang="T135">
                <a:pos x="T66" y="T67"/>
              </a:cxn>
              <a:cxn ang="T136">
                <a:pos x="T68" y="T69"/>
              </a:cxn>
              <a:cxn ang="T137">
                <a:pos x="T70" y="T71"/>
              </a:cxn>
              <a:cxn ang="T138">
                <a:pos x="T72" y="T73"/>
              </a:cxn>
              <a:cxn ang="T139">
                <a:pos x="T74" y="T75"/>
              </a:cxn>
              <a:cxn ang="T140">
                <a:pos x="T76" y="T77"/>
              </a:cxn>
              <a:cxn ang="T141">
                <a:pos x="T78" y="T79"/>
              </a:cxn>
              <a:cxn ang="T142">
                <a:pos x="T80" y="T81"/>
              </a:cxn>
              <a:cxn ang="T143">
                <a:pos x="T82" y="T83"/>
              </a:cxn>
              <a:cxn ang="T144">
                <a:pos x="T84" y="T85"/>
              </a:cxn>
              <a:cxn ang="T145">
                <a:pos x="T86" y="T87"/>
              </a:cxn>
              <a:cxn ang="T146">
                <a:pos x="T88" y="T89"/>
              </a:cxn>
              <a:cxn ang="T147">
                <a:pos x="T90" y="T91"/>
              </a:cxn>
              <a:cxn ang="T148">
                <a:pos x="T92" y="T93"/>
              </a:cxn>
              <a:cxn ang="T149">
                <a:pos x="T94" y="T95"/>
              </a:cxn>
              <a:cxn ang="T150">
                <a:pos x="T96" y="T97"/>
              </a:cxn>
              <a:cxn ang="T151">
                <a:pos x="T98" y="T99"/>
              </a:cxn>
              <a:cxn ang="T152">
                <a:pos x="T100" y="T101"/>
              </a:cxn>
            </a:cxnLst>
            <a:rect l="T153" t="T154" r="T155" b="T156"/>
            <a:pathLst>
              <a:path w="356" h="610">
                <a:moveTo>
                  <a:pt x="16" y="266"/>
                </a:moveTo>
                <a:lnTo>
                  <a:pt x="104" y="404"/>
                </a:lnTo>
                <a:lnTo>
                  <a:pt x="84" y="424"/>
                </a:lnTo>
                <a:lnTo>
                  <a:pt x="118" y="462"/>
                </a:lnTo>
                <a:lnTo>
                  <a:pt x="140" y="458"/>
                </a:lnTo>
                <a:lnTo>
                  <a:pt x="182" y="526"/>
                </a:lnTo>
                <a:lnTo>
                  <a:pt x="240" y="610"/>
                </a:lnTo>
                <a:lnTo>
                  <a:pt x="288" y="582"/>
                </a:lnTo>
                <a:lnTo>
                  <a:pt x="336" y="542"/>
                </a:lnTo>
                <a:lnTo>
                  <a:pt x="316" y="478"/>
                </a:lnTo>
                <a:lnTo>
                  <a:pt x="328" y="428"/>
                </a:lnTo>
                <a:lnTo>
                  <a:pt x="340" y="310"/>
                </a:lnTo>
                <a:lnTo>
                  <a:pt x="340" y="298"/>
                </a:lnTo>
                <a:lnTo>
                  <a:pt x="334" y="238"/>
                </a:lnTo>
                <a:lnTo>
                  <a:pt x="334" y="224"/>
                </a:lnTo>
                <a:lnTo>
                  <a:pt x="336" y="220"/>
                </a:lnTo>
                <a:lnTo>
                  <a:pt x="334" y="220"/>
                </a:lnTo>
                <a:lnTo>
                  <a:pt x="336" y="218"/>
                </a:lnTo>
                <a:lnTo>
                  <a:pt x="336" y="216"/>
                </a:lnTo>
                <a:lnTo>
                  <a:pt x="338" y="216"/>
                </a:lnTo>
                <a:lnTo>
                  <a:pt x="344" y="216"/>
                </a:lnTo>
                <a:lnTo>
                  <a:pt x="348" y="216"/>
                </a:lnTo>
                <a:lnTo>
                  <a:pt x="352" y="212"/>
                </a:lnTo>
                <a:lnTo>
                  <a:pt x="352" y="204"/>
                </a:lnTo>
                <a:lnTo>
                  <a:pt x="356" y="200"/>
                </a:lnTo>
                <a:lnTo>
                  <a:pt x="350" y="190"/>
                </a:lnTo>
                <a:lnTo>
                  <a:pt x="340" y="190"/>
                </a:lnTo>
                <a:lnTo>
                  <a:pt x="346" y="182"/>
                </a:lnTo>
                <a:lnTo>
                  <a:pt x="340" y="178"/>
                </a:lnTo>
                <a:lnTo>
                  <a:pt x="336" y="168"/>
                </a:lnTo>
                <a:lnTo>
                  <a:pt x="330" y="166"/>
                </a:lnTo>
                <a:lnTo>
                  <a:pt x="328" y="164"/>
                </a:lnTo>
                <a:lnTo>
                  <a:pt x="326" y="160"/>
                </a:lnTo>
                <a:lnTo>
                  <a:pt x="322" y="154"/>
                </a:lnTo>
                <a:lnTo>
                  <a:pt x="318" y="150"/>
                </a:lnTo>
                <a:lnTo>
                  <a:pt x="316" y="146"/>
                </a:lnTo>
                <a:lnTo>
                  <a:pt x="318" y="142"/>
                </a:lnTo>
                <a:lnTo>
                  <a:pt x="322" y="140"/>
                </a:lnTo>
                <a:lnTo>
                  <a:pt x="330" y="134"/>
                </a:lnTo>
                <a:lnTo>
                  <a:pt x="332" y="132"/>
                </a:lnTo>
                <a:lnTo>
                  <a:pt x="336" y="130"/>
                </a:lnTo>
                <a:lnTo>
                  <a:pt x="336" y="126"/>
                </a:lnTo>
                <a:lnTo>
                  <a:pt x="332" y="124"/>
                </a:lnTo>
                <a:lnTo>
                  <a:pt x="332" y="118"/>
                </a:lnTo>
                <a:lnTo>
                  <a:pt x="330" y="116"/>
                </a:lnTo>
                <a:lnTo>
                  <a:pt x="334" y="110"/>
                </a:lnTo>
                <a:lnTo>
                  <a:pt x="332" y="106"/>
                </a:lnTo>
                <a:lnTo>
                  <a:pt x="336" y="100"/>
                </a:lnTo>
                <a:lnTo>
                  <a:pt x="292" y="76"/>
                </a:lnTo>
                <a:lnTo>
                  <a:pt x="188" y="22"/>
                </a:lnTo>
                <a:lnTo>
                  <a:pt x="146" y="0"/>
                </a:lnTo>
                <a:lnTo>
                  <a:pt x="142" y="4"/>
                </a:lnTo>
                <a:lnTo>
                  <a:pt x="140" y="6"/>
                </a:lnTo>
                <a:lnTo>
                  <a:pt x="138" y="6"/>
                </a:lnTo>
                <a:lnTo>
                  <a:pt x="134" y="10"/>
                </a:lnTo>
                <a:lnTo>
                  <a:pt x="126" y="14"/>
                </a:lnTo>
                <a:lnTo>
                  <a:pt x="114" y="14"/>
                </a:lnTo>
                <a:lnTo>
                  <a:pt x="108" y="10"/>
                </a:lnTo>
                <a:lnTo>
                  <a:pt x="106" y="10"/>
                </a:lnTo>
                <a:lnTo>
                  <a:pt x="104" y="8"/>
                </a:lnTo>
                <a:lnTo>
                  <a:pt x="102" y="8"/>
                </a:lnTo>
                <a:lnTo>
                  <a:pt x="100" y="6"/>
                </a:lnTo>
                <a:lnTo>
                  <a:pt x="96" y="6"/>
                </a:lnTo>
                <a:lnTo>
                  <a:pt x="94" y="8"/>
                </a:lnTo>
                <a:lnTo>
                  <a:pt x="92" y="10"/>
                </a:lnTo>
                <a:lnTo>
                  <a:pt x="90" y="16"/>
                </a:lnTo>
                <a:lnTo>
                  <a:pt x="90" y="20"/>
                </a:lnTo>
                <a:lnTo>
                  <a:pt x="92" y="24"/>
                </a:lnTo>
                <a:lnTo>
                  <a:pt x="92" y="26"/>
                </a:lnTo>
                <a:lnTo>
                  <a:pt x="94" y="28"/>
                </a:lnTo>
                <a:lnTo>
                  <a:pt x="96" y="34"/>
                </a:lnTo>
                <a:lnTo>
                  <a:pt x="96" y="36"/>
                </a:lnTo>
                <a:lnTo>
                  <a:pt x="100" y="44"/>
                </a:lnTo>
                <a:lnTo>
                  <a:pt x="104" y="50"/>
                </a:lnTo>
                <a:lnTo>
                  <a:pt x="110" y="54"/>
                </a:lnTo>
                <a:lnTo>
                  <a:pt x="114" y="60"/>
                </a:lnTo>
                <a:lnTo>
                  <a:pt x="118" y="62"/>
                </a:lnTo>
                <a:lnTo>
                  <a:pt x="120" y="64"/>
                </a:lnTo>
                <a:lnTo>
                  <a:pt x="124" y="70"/>
                </a:lnTo>
                <a:lnTo>
                  <a:pt x="128" y="76"/>
                </a:lnTo>
                <a:lnTo>
                  <a:pt x="130" y="78"/>
                </a:lnTo>
                <a:lnTo>
                  <a:pt x="134" y="82"/>
                </a:lnTo>
                <a:lnTo>
                  <a:pt x="134" y="90"/>
                </a:lnTo>
                <a:lnTo>
                  <a:pt x="134" y="94"/>
                </a:lnTo>
                <a:lnTo>
                  <a:pt x="134" y="100"/>
                </a:lnTo>
                <a:lnTo>
                  <a:pt x="134" y="104"/>
                </a:lnTo>
                <a:lnTo>
                  <a:pt x="134" y="106"/>
                </a:lnTo>
                <a:lnTo>
                  <a:pt x="130" y="110"/>
                </a:lnTo>
                <a:lnTo>
                  <a:pt x="128" y="114"/>
                </a:lnTo>
                <a:lnTo>
                  <a:pt x="126" y="118"/>
                </a:lnTo>
                <a:lnTo>
                  <a:pt x="124" y="124"/>
                </a:lnTo>
                <a:lnTo>
                  <a:pt x="120" y="128"/>
                </a:lnTo>
                <a:lnTo>
                  <a:pt x="118" y="134"/>
                </a:lnTo>
                <a:lnTo>
                  <a:pt x="118" y="144"/>
                </a:lnTo>
                <a:lnTo>
                  <a:pt x="120" y="148"/>
                </a:lnTo>
                <a:lnTo>
                  <a:pt x="120" y="152"/>
                </a:lnTo>
                <a:lnTo>
                  <a:pt x="124" y="160"/>
                </a:lnTo>
                <a:lnTo>
                  <a:pt x="126" y="164"/>
                </a:lnTo>
                <a:lnTo>
                  <a:pt x="128" y="166"/>
                </a:lnTo>
                <a:lnTo>
                  <a:pt x="130" y="170"/>
                </a:lnTo>
                <a:lnTo>
                  <a:pt x="134" y="172"/>
                </a:lnTo>
                <a:lnTo>
                  <a:pt x="136" y="178"/>
                </a:lnTo>
                <a:lnTo>
                  <a:pt x="136" y="182"/>
                </a:lnTo>
                <a:lnTo>
                  <a:pt x="134" y="184"/>
                </a:lnTo>
                <a:lnTo>
                  <a:pt x="130" y="188"/>
                </a:lnTo>
                <a:lnTo>
                  <a:pt x="128" y="188"/>
                </a:lnTo>
                <a:lnTo>
                  <a:pt x="126" y="190"/>
                </a:lnTo>
                <a:lnTo>
                  <a:pt x="122" y="190"/>
                </a:lnTo>
                <a:lnTo>
                  <a:pt x="120" y="188"/>
                </a:lnTo>
                <a:lnTo>
                  <a:pt x="114" y="188"/>
                </a:lnTo>
                <a:lnTo>
                  <a:pt x="112" y="186"/>
                </a:lnTo>
                <a:lnTo>
                  <a:pt x="110" y="186"/>
                </a:lnTo>
                <a:lnTo>
                  <a:pt x="106" y="182"/>
                </a:lnTo>
                <a:lnTo>
                  <a:pt x="104" y="180"/>
                </a:lnTo>
                <a:lnTo>
                  <a:pt x="102" y="178"/>
                </a:lnTo>
                <a:lnTo>
                  <a:pt x="100" y="176"/>
                </a:lnTo>
                <a:lnTo>
                  <a:pt x="94" y="170"/>
                </a:lnTo>
                <a:lnTo>
                  <a:pt x="92" y="168"/>
                </a:lnTo>
                <a:lnTo>
                  <a:pt x="90" y="166"/>
                </a:lnTo>
                <a:lnTo>
                  <a:pt x="86" y="164"/>
                </a:lnTo>
                <a:lnTo>
                  <a:pt x="82" y="164"/>
                </a:lnTo>
                <a:lnTo>
                  <a:pt x="78" y="164"/>
                </a:lnTo>
                <a:lnTo>
                  <a:pt x="74" y="166"/>
                </a:lnTo>
                <a:lnTo>
                  <a:pt x="72" y="168"/>
                </a:lnTo>
                <a:lnTo>
                  <a:pt x="68" y="172"/>
                </a:lnTo>
                <a:lnTo>
                  <a:pt x="68" y="176"/>
                </a:lnTo>
                <a:lnTo>
                  <a:pt x="66" y="178"/>
                </a:lnTo>
                <a:lnTo>
                  <a:pt x="62" y="182"/>
                </a:lnTo>
                <a:lnTo>
                  <a:pt x="62" y="184"/>
                </a:lnTo>
                <a:lnTo>
                  <a:pt x="62" y="186"/>
                </a:lnTo>
                <a:lnTo>
                  <a:pt x="60" y="190"/>
                </a:lnTo>
                <a:lnTo>
                  <a:pt x="60" y="196"/>
                </a:lnTo>
                <a:lnTo>
                  <a:pt x="60" y="202"/>
                </a:lnTo>
                <a:lnTo>
                  <a:pt x="58" y="206"/>
                </a:lnTo>
                <a:lnTo>
                  <a:pt x="58" y="212"/>
                </a:lnTo>
                <a:lnTo>
                  <a:pt x="54" y="218"/>
                </a:lnTo>
                <a:lnTo>
                  <a:pt x="54" y="220"/>
                </a:lnTo>
                <a:lnTo>
                  <a:pt x="52" y="222"/>
                </a:lnTo>
                <a:lnTo>
                  <a:pt x="50" y="224"/>
                </a:lnTo>
                <a:lnTo>
                  <a:pt x="48" y="224"/>
                </a:lnTo>
                <a:lnTo>
                  <a:pt x="48" y="226"/>
                </a:lnTo>
                <a:lnTo>
                  <a:pt x="44" y="226"/>
                </a:lnTo>
                <a:lnTo>
                  <a:pt x="42" y="230"/>
                </a:lnTo>
                <a:lnTo>
                  <a:pt x="40" y="232"/>
                </a:lnTo>
                <a:lnTo>
                  <a:pt x="38" y="234"/>
                </a:lnTo>
                <a:lnTo>
                  <a:pt x="34" y="236"/>
                </a:lnTo>
                <a:lnTo>
                  <a:pt x="34" y="238"/>
                </a:lnTo>
                <a:lnTo>
                  <a:pt x="26" y="242"/>
                </a:lnTo>
                <a:lnTo>
                  <a:pt x="22" y="244"/>
                </a:lnTo>
                <a:lnTo>
                  <a:pt x="20" y="244"/>
                </a:lnTo>
                <a:lnTo>
                  <a:pt x="14" y="242"/>
                </a:lnTo>
                <a:lnTo>
                  <a:pt x="6" y="240"/>
                </a:lnTo>
                <a:lnTo>
                  <a:pt x="0" y="236"/>
                </a:lnTo>
                <a:lnTo>
                  <a:pt x="6" y="254"/>
                </a:lnTo>
                <a:lnTo>
                  <a:pt x="16" y="266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 w="6350">
            <a:solidFill>
              <a:schemeClr val="tx2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457200">
              <a:defRPr/>
            </a:pPr>
            <a:endParaRPr lang="en-US" kern="0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85" name="Freeform 63">
            <a:extLst>
              <a:ext uri="{FF2B5EF4-FFF2-40B4-BE49-F238E27FC236}">
                <a16:creationId xmlns:a16="http://schemas.microsoft.com/office/drawing/2014/main" id="{64AC999B-E3A0-2A05-C901-3377319E1E82}"/>
              </a:ext>
            </a:extLst>
          </p:cNvPr>
          <p:cNvSpPr>
            <a:spLocks/>
          </p:cNvSpPr>
          <p:nvPr/>
        </p:nvSpPr>
        <p:spPr bwMode="auto">
          <a:xfrm>
            <a:off x="3624580" y="2476500"/>
            <a:ext cx="543560" cy="444500"/>
          </a:xfrm>
          <a:custGeom>
            <a:avLst/>
            <a:gdLst>
              <a:gd name="T0" fmla="*/ 2147483646 w 428"/>
              <a:gd name="T1" fmla="*/ 2147483646 h 350"/>
              <a:gd name="T2" fmla="*/ 2147483646 w 428"/>
              <a:gd name="T3" fmla="*/ 2147483646 h 350"/>
              <a:gd name="T4" fmla="*/ 2147483646 w 428"/>
              <a:gd name="T5" fmla="*/ 2147483646 h 350"/>
              <a:gd name="T6" fmla="*/ 2147483646 w 428"/>
              <a:gd name="T7" fmla="*/ 2147483646 h 350"/>
              <a:gd name="T8" fmla="*/ 2147483646 w 428"/>
              <a:gd name="T9" fmla="*/ 2147483646 h 350"/>
              <a:gd name="T10" fmla="*/ 2147483646 w 428"/>
              <a:gd name="T11" fmla="*/ 2147483646 h 350"/>
              <a:gd name="T12" fmla="*/ 2147483646 w 428"/>
              <a:gd name="T13" fmla="*/ 2147483646 h 350"/>
              <a:gd name="T14" fmla="*/ 2147483646 w 428"/>
              <a:gd name="T15" fmla="*/ 2147483646 h 350"/>
              <a:gd name="T16" fmla="*/ 2147483646 w 428"/>
              <a:gd name="T17" fmla="*/ 2147483646 h 350"/>
              <a:gd name="T18" fmla="*/ 2147483646 w 428"/>
              <a:gd name="T19" fmla="*/ 2147483646 h 350"/>
              <a:gd name="T20" fmla="*/ 2147483646 w 428"/>
              <a:gd name="T21" fmla="*/ 2147483646 h 350"/>
              <a:gd name="T22" fmla="*/ 2147483646 w 428"/>
              <a:gd name="T23" fmla="*/ 2147483646 h 350"/>
              <a:gd name="T24" fmla="*/ 2147483646 w 428"/>
              <a:gd name="T25" fmla="*/ 2147483646 h 350"/>
              <a:gd name="T26" fmla="*/ 2147483646 w 428"/>
              <a:gd name="T27" fmla="*/ 2147483646 h 350"/>
              <a:gd name="T28" fmla="*/ 2147483646 w 428"/>
              <a:gd name="T29" fmla="*/ 2147483646 h 350"/>
              <a:gd name="T30" fmla="*/ 2147483646 w 428"/>
              <a:gd name="T31" fmla="*/ 2147483646 h 350"/>
              <a:gd name="T32" fmla="*/ 2147483646 w 428"/>
              <a:gd name="T33" fmla="*/ 2147483646 h 350"/>
              <a:gd name="T34" fmla="*/ 2147483646 w 428"/>
              <a:gd name="T35" fmla="*/ 2147483646 h 350"/>
              <a:gd name="T36" fmla="*/ 2147483646 w 428"/>
              <a:gd name="T37" fmla="*/ 2147483646 h 350"/>
              <a:gd name="T38" fmla="*/ 2147483646 w 428"/>
              <a:gd name="T39" fmla="*/ 2147483646 h 350"/>
              <a:gd name="T40" fmla="*/ 2147483646 w 428"/>
              <a:gd name="T41" fmla="*/ 2147483646 h 350"/>
              <a:gd name="T42" fmla="*/ 2147483646 w 428"/>
              <a:gd name="T43" fmla="*/ 2147483646 h 350"/>
              <a:gd name="T44" fmla="*/ 2147483646 w 428"/>
              <a:gd name="T45" fmla="*/ 2147483646 h 350"/>
              <a:gd name="T46" fmla="*/ 2147483646 w 428"/>
              <a:gd name="T47" fmla="*/ 2147483646 h 350"/>
              <a:gd name="T48" fmla="*/ 2147483646 w 428"/>
              <a:gd name="T49" fmla="*/ 2147483646 h 350"/>
              <a:gd name="T50" fmla="*/ 2147483646 w 428"/>
              <a:gd name="T51" fmla="*/ 2147483646 h 350"/>
              <a:gd name="T52" fmla="*/ 2147483646 w 428"/>
              <a:gd name="T53" fmla="*/ 2147483646 h 350"/>
              <a:gd name="T54" fmla="*/ 2147483646 w 428"/>
              <a:gd name="T55" fmla="*/ 2147483646 h 350"/>
              <a:gd name="T56" fmla="*/ 2147483646 w 428"/>
              <a:gd name="T57" fmla="*/ 2147483646 h 350"/>
              <a:gd name="T58" fmla="*/ 2147483646 w 428"/>
              <a:gd name="T59" fmla="*/ 2147483646 h 350"/>
              <a:gd name="T60" fmla="*/ 2147483646 w 428"/>
              <a:gd name="T61" fmla="*/ 2147483646 h 350"/>
              <a:gd name="T62" fmla="*/ 2147483646 w 428"/>
              <a:gd name="T63" fmla="*/ 2147483646 h 350"/>
              <a:gd name="T64" fmla="*/ 2147483646 w 428"/>
              <a:gd name="T65" fmla="*/ 2147483646 h 350"/>
              <a:gd name="T66" fmla="*/ 2147483646 w 428"/>
              <a:gd name="T67" fmla="*/ 2147483646 h 350"/>
              <a:gd name="T68" fmla="*/ 2147483646 w 428"/>
              <a:gd name="T69" fmla="*/ 2147483646 h 350"/>
              <a:gd name="T70" fmla="*/ 2147483646 w 428"/>
              <a:gd name="T71" fmla="*/ 2147483646 h 350"/>
              <a:gd name="T72" fmla="*/ 2147483646 w 428"/>
              <a:gd name="T73" fmla="*/ 2147483646 h 350"/>
              <a:gd name="T74" fmla="*/ 2147483646 w 428"/>
              <a:gd name="T75" fmla="*/ 2147483646 h 350"/>
              <a:gd name="T76" fmla="*/ 2147483646 w 428"/>
              <a:gd name="T77" fmla="*/ 2147483646 h 350"/>
              <a:gd name="T78" fmla="*/ 2147483646 w 428"/>
              <a:gd name="T79" fmla="*/ 2147483646 h 350"/>
              <a:gd name="T80" fmla="*/ 2147483646 w 428"/>
              <a:gd name="T81" fmla="*/ 2147483646 h 350"/>
              <a:gd name="T82" fmla="*/ 2147483646 w 428"/>
              <a:gd name="T83" fmla="*/ 2147483646 h 350"/>
              <a:gd name="T84" fmla="*/ 2147483646 w 428"/>
              <a:gd name="T85" fmla="*/ 2147483646 h 350"/>
              <a:gd name="T86" fmla="*/ 2147483646 w 428"/>
              <a:gd name="T87" fmla="*/ 2147483646 h 350"/>
              <a:gd name="T88" fmla="*/ 2147483646 w 428"/>
              <a:gd name="T89" fmla="*/ 2147483646 h 350"/>
              <a:gd name="T90" fmla="*/ 2147483646 w 428"/>
              <a:gd name="T91" fmla="*/ 2147483646 h 350"/>
              <a:gd name="T92" fmla="*/ 2147483646 w 428"/>
              <a:gd name="T93" fmla="*/ 2147483646 h 350"/>
              <a:gd name="T94" fmla="*/ 2147483646 w 428"/>
              <a:gd name="T95" fmla="*/ 2147483646 h 350"/>
              <a:gd name="T96" fmla="*/ 2147483646 w 428"/>
              <a:gd name="T97" fmla="*/ 0 h 350"/>
              <a:gd name="T98" fmla="*/ 2147483646 w 428"/>
              <a:gd name="T99" fmla="*/ 2147483646 h 350"/>
              <a:gd name="T100" fmla="*/ 2147483646 w 428"/>
              <a:gd name="T101" fmla="*/ 2147483646 h 350"/>
              <a:gd name="T102" fmla="*/ 2147483646 w 428"/>
              <a:gd name="T103" fmla="*/ 2147483646 h 350"/>
              <a:gd name="T104" fmla="*/ 2147483646 w 428"/>
              <a:gd name="T105" fmla="*/ 2147483646 h 350"/>
              <a:gd name="T106" fmla="*/ 2147483646 w 428"/>
              <a:gd name="T107" fmla="*/ 2147483646 h 350"/>
              <a:gd name="T108" fmla="*/ 2147483646 w 428"/>
              <a:gd name="T109" fmla="*/ 2147483646 h 350"/>
              <a:gd name="T110" fmla="*/ 2147483646 w 428"/>
              <a:gd name="T111" fmla="*/ 2147483646 h 350"/>
              <a:gd name="T112" fmla="*/ 2147483646 w 428"/>
              <a:gd name="T113" fmla="*/ 2147483646 h 350"/>
              <a:gd name="T114" fmla="*/ 2147483646 w 428"/>
              <a:gd name="T115" fmla="*/ 2147483646 h 350"/>
              <a:gd name="T116" fmla="*/ 2147483646 w 428"/>
              <a:gd name="T117" fmla="*/ 2147483646 h 350"/>
              <a:gd name="T118" fmla="*/ 2147483646 w 428"/>
              <a:gd name="T119" fmla="*/ 2147483646 h 350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w 428"/>
              <a:gd name="T181" fmla="*/ 0 h 350"/>
              <a:gd name="T182" fmla="*/ 428 w 428"/>
              <a:gd name="T183" fmla="*/ 350 h 350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T180" t="T181" r="T182" b="T183"/>
            <a:pathLst>
              <a:path w="428" h="350">
                <a:moveTo>
                  <a:pt x="12" y="162"/>
                </a:moveTo>
                <a:lnTo>
                  <a:pt x="12" y="166"/>
                </a:lnTo>
                <a:lnTo>
                  <a:pt x="12" y="168"/>
                </a:lnTo>
                <a:lnTo>
                  <a:pt x="16" y="168"/>
                </a:lnTo>
                <a:lnTo>
                  <a:pt x="20" y="164"/>
                </a:lnTo>
                <a:lnTo>
                  <a:pt x="26" y="158"/>
                </a:lnTo>
                <a:lnTo>
                  <a:pt x="34" y="154"/>
                </a:lnTo>
                <a:lnTo>
                  <a:pt x="38" y="158"/>
                </a:lnTo>
                <a:lnTo>
                  <a:pt x="48" y="160"/>
                </a:lnTo>
                <a:lnTo>
                  <a:pt x="52" y="158"/>
                </a:lnTo>
                <a:lnTo>
                  <a:pt x="52" y="152"/>
                </a:lnTo>
                <a:lnTo>
                  <a:pt x="46" y="148"/>
                </a:lnTo>
                <a:lnTo>
                  <a:pt x="46" y="146"/>
                </a:lnTo>
                <a:lnTo>
                  <a:pt x="48" y="146"/>
                </a:lnTo>
                <a:lnTo>
                  <a:pt x="50" y="146"/>
                </a:lnTo>
                <a:lnTo>
                  <a:pt x="54" y="148"/>
                </a:lnTo>
                <a:lnTo>
                  <a:pt x="60" y="152"/>
                </a:lnTo>
                <a:lnTo>
                  <a:pt x="68" y="152"/>
                </a:lnTo>
                <a:lnTo>
                  <a:pt x="72" y="154"/>
                </a:lnTo>
                <a:lnTo>
                  <a:pt x="74" y="158"/>
                </a:lnTo>
                <a:lnTo>
                  <a:pt x="78" y="162"/>
                </a:lnTo>
                <a:lnTo>
                  <a:pt x="86" y="226"/>
                </a:lnTo>
                <a:lnTo>
                  <a:pt x="90" y="288"/>
                </a:lnTo>
                <a:lnTo>
                  <a:pt x="98" y="298"/>
                </a:lnTo>
                <a:lnTo>
                  <a:pt x="100" y="298"/>
                </a:lnTo>
                <a:lnTo>
                  <a:pt x="102" y="298"/>
                </a:lnTo>
                <a:lnTo>
                  <a:pt x="108" y="292"/>
                </a:lnTo>
                <a:lnTo>
                  <a:pt x="116" y="294"/>
                </a:lnTo>
                <a:lnTo>
                  <a:pt x="124" y="296"/>
                </a:lnTo>
                <a:lnTo>
                  <a:pt x="130" y="296"/>
                </a:lnTo>
                <a:lnTo>
                  <a:pt x="134" y="298"/>
                </a:lnTo>
                <a:lnTo>
                  <a:pt x="136" y="294"/>
                </a:lnTo>
                <a:lnTo>
                  <a:pt x="140" y="290"/>
                </a:lnTo>
                <a:lnTo>
                  <a:pt x="142" y="286"/>
                </a:lnTo>
                <a:lnTo>
                  <a:pt x="146" y="280"/>
                </a:lnTo>
                <a:lnTo>
                  <a:pt x="150" y="270"/>
                </a:lnTo>
                <a:lnTo>
                  <a:pt x="148" y="262"/>
                </a:lnTo>
                <a:lnTo>
                  <a:pt x="152" y="252"/>
                </a:lnTo>
                <a:lnTo>
                  <a:pt x="152" y="244"/>
                </a:lnTo>
                <a:lnTo>
                  <a:pt x="156" y="244"/>
                </a:lnTo>
                <a:lnTo>
                  <a:pt x="158" y="248"/>
                </a:lnTo>
                <a:lnTo>
                  <a:pt x="160" y="248"/>
                </a:lnTo>
                <a:lnTo>
                  <a:pt x="166" y="250"/>
                </a:lnTo>
                <a:lnTo>
                  <a:pt x="172" y="256"/>
                </a:lnTo>
                <a:lnTo>
                  <a:pt x="176" y="258"/>
                </a:lnTo>
                <a:lnTo>
                  <a:pt x="182" y="256"/>
                </a:lnTo>
                <a:lnTo>
                  <a:pt x="182" y="260"/>
                </a:lnTo>
                <a:lnTo>
                  <a:pt x="186" y="262"/>
                </a:lnTo>
                <a:lnTo>
                  <a:pt x="190" y="270"/>
                </a:lnTo>
                <a:lnTo>
                  <a:pt x="198" y="276"/>
                </a:lnTo>
                <a:lnTo>
                  <a:pt x="202" y="280"/>
                </a:lnTo>
                <a:lnTo>
                  <a:pt x="198" y="286"/>
                </a:lnTo>
                <a:lnTo>
                  <a:pt x="200" y="290"/>
                </a:lnTo>
                <a:lnTo>
                  <a:pt x="200" y="294"/>
                </a:lnTo>
                <a:lnTo>
                  <a:pt x="200" y="296"/>
                </a:lnTo>
                <a:lnTo>
                  <a:pt x="200" y="298"/>
                </a:lnTo>
                <a:lnTo>
                  <a:pt x="200" y="306"/>
                </a:lnTo>
                <a:lnTo>
                  <a:pt x="192" y="314"/>
                </a:lnTo>
                <a:lnTo>
                  <a:pt x="192" y="316"/>
                </a:lnTo>
                <a:lnTo>
                  <a:pt x="192" y="322"/>
                </a:lnTo>
                <a:lnTo>
                  <a:pt x="192" y="328"/>
                </a:lnTo>
                <a:lnTo>
                  <a:pt x="198" y="332"/>
                </a:lnTo>
                <a:lnTo>
                  <a:pt x="198" y="338"/>
                </a:lnTo>
                <a:lnTo>
                  <a:pt x="194" y="344"/>
                </a:lnTo>
                <a:lnTo>
                  <a:pt x="192" y="346"/>
                </a:lnTo>
                <a:lnTo>
                  <a:pt x="194" y="350"/>
                </a:lnTo>
                <a:lnTo>
                  <a:pt x="246" y="294"/>
                </a:lnTo>
                <a:lnTo>
                  <a:pt x="256" y="288"/>
                </a:lnTo>
                <a:lnTo>
                  <a:pt x="330" y="236"/>
                </a:lnTo>
                <a:lnTo>
                  <a:pt x="346" y="200"/>
                </a:lnTo>
                <a:lnTo>
                  <a:pt x="360" y="198"/>
                </a:lnTo>
                <a:lnTo>
                  <a:pt x="362" y="196"/>
                </a:lnTo>
                <a:lnTo>
                  <a:pt x="364" y="198"/>
                </a:lnTo>
                <a:lnTo>
                  <a:pt x="364" y="202"/>
                </a:lnTo>
                <a:lnTo>
                  <a:pt x="368" y="202"/>
                </a:lnTo>
                <a:lnTo>
                  <a:pt x="368" y="198"/>
                </a:lnTo>
                <a:lnTo>
                  <a:pt x="372" y="198"/>
                </a:lnTo>
                <a:lnTo>
                  <a:pt x="376" y="200"/>
                </a:lnTo>
                <a:lnTo>
                  <a:pt x="380" y="200"/>
                </a:lnTo>
                <a:lnTo>
                  <a:pt x="382" y="198"/>
                </a:lnTo>
                <a:lnTo>
                  <a:pt x="384" y="196"/>
                </a:lnTo>
                <a:lnTo>
                  <a:pt x="386" y="196"/>
                </a:lnTo>
                <a:lnTo>
                  <a:pt x="392" y="196"/>
                </a:lnTo>
                <a:lnTo>
                  <a:pt x="394" y="190"/>
                </a:lnTo>
                <a:lnTo>
                  <a:pt x="396" y="186"/>
                </a:lnTo>
                <a:lnTo>
                  <a:pt x="398" y="184"/>
                </a:lnTo>
                <a:lnTo>
                  <a:pt x="408" y="184"/>
                </a:lnTo>
                <a:lnTo>
                  <a:pt x="414" y="180"/>
                </a:lnTo>
                <a:lnTo>
                  <a:pt x="418" y="182"/>
                </a:lnTo>
                <a:lnTo>
                  <a:pt x="426" y="178"/>
                </a:lnTo>
                <a:lnTo>
                  <a:pt x="428" y="176"/>
                </a:lnTo>
                <a:lnTo>
                  <a:pt x="426" y="172"/>
                </a:lnTo>
                <a:lnTo>
                  <a:pt x="420" y="170"/>
                </a:lnTo>
                <a:lnTo>
                  <a:pt x="416" y="164"/>
                </a:lnTo>
                <a:lnTo>
                  <a:pt x="414" y="164"/>
                </a:lnTo>
                <a:lnTo>
                  <a:pt x="412" y="160"/>
                </a:lnTo>
                <a:lnTo>
                  <a:pt x="408" y="158"/>
                </a:lnTo>
                <a:lnTo>
                  <a:pt x="402" y="154"/>
                </a:lnTo>
                <a:lnTo>
                  <a:pt x="398" y="154"/>
                </a:lnTo>
                <a:lnTo>
                  <a:pt x="394" y="158"/>
                </a:lnTo>
                <a:lnTo>
                  <a:pt x="390" y="160"/>
                </a:lnTo>
                <a:lnTo>
                  <a:pt x="384" y="160"/>
                </a:lnTo>
                <a:lnTo>
                  <a:pt x="384" y="150"/>
                </a:lnTo>
                <a:lnTo>
                  <a:pt x="380" y="144"/>
                </a:lnTo>
                <a:lnTo>
                  <a:pt x="376" y="146"/>
                </a:lnTo>
                <a:lnTo>
                  <a:pt x="366" y="150"/>
                </a:lnTo>
                <a:lnTo>
                  <a:pt x="360" y="150"/>
                </a:lnTo>
                <a:lnTo>
                  <a:pt x="350" y="148"/>
                </a:lnTo>
                <a:lnTo>
                  <a:pt x="344" y="148"/>
                </a:lnTo>
                <a:lnTo>
                  <a:pt x="344" y="144"/>
                </a:lnTo>
                <a:lnTo>
                  <a:pt x="342" y="136"/>
                </a:lnTo>
                <a:lnTo>
                  <a:pt x="338" y="128"/>
                </a:lnTo>
                <a:lnTo>
                  <a:pt x="332" y="130"/>
                </a:lnTo>
                <a:lnTo>
                  <a:pt x="328" y="126"/>
                </a:lnTo>
                <a:lnTo>
                  <a:pt x="326" y="114"/>
                </a:lnTo>
                <a:lnTo>
                  <a:pt x="324" y="106"/>
                </a:lnTo>
                <a:lnTo>
                  <a:pt x="322" y="100"/>
                </a:lnTo>
                <a:lnTo>
                  <a:pt x="312" y="96"/>
                </a:lnTo>
                <a:lnTo>
                  <a:pt x="308" y="90"/>
                </a:lnTo>
                <a:lnTo>
                  <a:pt x="298" y="90"/>
                </a:lnTo>
                <a:lnTo>
                  <a:pt x="294" y="82"/>
                </a:lnTo>
                <a:lnTo>
                  <a:pt x="288" y="78"/>
                </a:lnTo>
                <a:lnTo>
                  <a:pt x="288" y="64"/>
                </a:lnTo>
                <a:lnTo>
                  <a:pt x="280" y="58"/>
                </a:lnTo>
                <a:lnTo>
                  <a:pt x="276" y="56"/>
                </a:lnTo>
                <a:lnTo>
                  <a:pt x="268" y="56"/>
                </a:lnTo>
                <a:lnTo>
                  <a:pt x="268" y="50"/>
                </a:lnTo>
                <a:lnTo>
                  <a:pt x="264" y="46"/>
                </a:lnTo>
                <a:lnTo>
                  <a:pt x="260" y="52"/>
                </a:lnTo>
                <a:lnTo>
                  <a:pt x="254" y="58"/>
                </a:lnTo>
                <a:lnTo>
                  <a:pt x="254" y="52"/>
                </a:lnTo>
                <a:lnTo>
                  <a:pt x="252" y="50"/>
                </a:lnTo>
                <a:lnTo>
                  <a:pt x="250" y="46"/>
                </a:lnTo>
                <a:lnTo>
                  <a:pt x="246" y="42"/>
                </a:lnTo>
                <a:lnTo>
                  <a:pt x="250" y="38"/>
                </a:lnTo>
                <a:lnTo>
                  <a:pt x="250" y="32"/>
                </a:lnTo>
                <a:lnTo>
                  <a:pt x="244" y="28"/>
                </a:lnTo>
                <a:lnTo>
                  <a:pt x="234" y="22"/>
                </a:lnTo>
                <a:lnTo>
                  <a:pt x="230" y="18"/>
                </a:lnTo>
                <a:lnTo>
                  <a:pt x="230" y="10"/>
                </a:lnTo>
                <a:lnTo>
                  <a:pt x="234" y="8"/>
                </a:lnTo>
                <a:lnTo>
                  <a:pt x="234" y="6"/>
                </a:lnTo>
                <a:lnTo>
                  <a:pt x="230" y="4"/>
                </a:lnTo>
                <a:lnTo>
                  <a:pt x="228" y="4"/>
                </a:lnTo>
                <a:lnTo>
                  <a:pt x="194" y="28"/>
                </a:lnTo>
                <a:lnTo>
                  <a:pt x="148" y="0"/>
                </a:lnTo>
                <a:lnTo>
                  <a:pt x="146" y="0"/>
                </a:lnTo>
                <a:lnTo>
                  <a:pt x="138" y="6"/>
                </a:lnTo>
                <a:lnTo>
                  <a:pt x="132" y="10"/>
                </a:lnTo>
                <a:lnTo>
                  <a:pt x="130" y="16"/>
                </a:lnTo>
                <a:lnTo>
                  <a:pt x="120" y="22"/>
                </a:lnTo>
                <a:lnTo>
                  <a:pt x="116" y="26"/>
                </a:lnTo>
                <a:lnTo>
                  <a:pt x="112" y="28"/>
                </a:lnTo>
                <a:lnTo>
                  <a:pt x="106" y="36"/>
                </a:lnTo>
                <a:lnTo>
                  <a:pt x="102" y="38"/>
                </a:lnTo>
                <a:lnTo>
                  <a:pt x="100" y="40"/>
                </a:lnTo>
                <a:lnTo>
                  <a:pt x="90" y="50"/>
                </a:lnTo>
                <a:lnTo>
                  <a:pt x="88" y="54"/>
                </a:lnTo>
                <a:lnTo>
                  <a:pt x="82" y="58"/>
                </a:lnTo>
                <a:lnTo>
                  <a:pt x="80" y="62"/>
                </a:lnTo>
                <a:lnTo>
                  <a:pt x="70" y="72"/>
                </a:lnTo>
                <a:lnTo>
                  <a:pt x="68" y="72"/>
                </a:lnTo>
                <a:lnTo>
                  <a:pt x="64" y="76"/>
                </a:lnTo>
                <a:lnTo>
                  <a:pt x="62" y="80"/>
                </a:lnTo>
                <a:lnTo>
                  <a:pt x="60" y="82"/>
                </a:lnTo>
                <a:lnTo>
                  <a:pt x="54" y="90"/>
                </a:lnTo>
                <a:lnTo>
                  <a:pt x="50" y="92"/>
                </a:lnTo>
                <a:lnTo>
                  <a:pt x="48" y="94"/>
                </a:lnTo>
                <a:lnTo>
                  <a:pt x="44" y="98"/>
                </a:lnTo>
                <a:lnTo>
                  <a:pt x="36" y="106"/>
                </a:lnTo>
                <a:lnTo>
                  <a:pt x="32" y="110"/>
                </a:lnTo>
                <a:lnTo>
                  <a:pt x="28" y="114"/>
                </a:lnTo>
                <a:lnTo>
                  <a:pt x="26" y="118"/>
                </a:lnTo>
                <a:lnTo>
                  <a:pt x="20" y="124"/>
                </a:lnTo>
                <a:lnTo>
                  <a:pt x="14" y="132"/>
                </a:lnTo>
                <a:lnTo>
                  <a:pt x="8" y="144"/>
                </a:lnTo>
                <a:lnTo>
                  <a:pt x="2" y="154"/>
                </a:lnTo>
                <a:lnTo>
                  <a:pt x="0" y="154"/>
                </a:lnTo>
                <a:lnTo>
                  <a:pt x="8" y="158"/>
                </a:lnTo>
                <a:lnTo>
                  <a:pt x="12" y="162"/>
                </a:lnTo>
                <a:close/>
              </a:path>
            </a:pathLst>
          </a:custGeom>
          <a:solidFill>
            <a:srgbClr val="F1B728"/>
          </a:solidFill>
          <a:ln w="6350">
            <a:solidFill>
              <a:schemeClr val="tx1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457200"/>
            <a:endParaRPr lang="en-US" kern="0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86" name="Freeform 64">
            <a:extLst>
              <a:ext uri="{FF2B5EF4-FFF2-40B4-BE49-F238E27FC236}">
                <a16:creationId xmlns:a16="http://schemas.microsoft.com/office/drawing/2014/main" id="{FFABA91B-C4A9-F60C-B1D5-B00C6BD884B0}"/>
              </a:ext>
            </a:extLst>
          </p:cNvPr>
          <p:cNvSpPr>
            <a:spLocks/>
          </p:cNvSpPr>
          <p:nvPr/>
        </p:nvSpPr>
        <p:spPr bwMode="auto">
          <a:xfrm>
            <a:off x="2392680" y="3294380"/>
            <a:ext cx="492760" cy="795020"/>
          </a:xfrm>
          <a:custGeom>
            <a:avLst/>
            <a:gdLst>
              <a:gd name="T0" fmla="*/ 2147483646 w 388"/>
              <a:gd name="T1" fmla="*/ 2147483646 h 626"/>
              <a:gd name="T2" fmla="*/ 2147483646 w 388"/>
              <a:gd name="T3" fmla="*/ 2147483646 h 626"/>
              <a:gd name="T4" fmla="*/ 2147483646 w 388"/>
              <a:gd name="T5" fmla="*/ 2147483646 h 626"/>
              <a:gd name="T6" fmla="*/ 2147483646 w 388"/>
              <a:gd name="T7" fmla="*/ 2147483646 h 626"/>
              <a:gd name="T8" fmla="*/ 2147483646 w 388"/>
              <a:gd name="T9" fmla="*/ 2147483646 h 626"/>
              <a:gd name="T10" fmla="*/ 2147483646 w 388"/>
              <a:gd name="T11" fmla="*/ 2147483646 h 626"/>
              <a:gd name="T12" fmla="*/ 2147483646 w 388"/>
              <a:gd name="T13" fmla="*/ 2147483646 h 626"/>
              <a:gd name="T14" fmla="*/ 2147483646 w 388"/>
              <a:gd name="T15" fmla="*/ 2147483646 h 626"/>
              <a:gd name="T16" fmla="*/ 2147483646 w 388"/>
              <a:gd name="T17" fmla="*/ 2147483646 h 626"/>
              <a:gd name="T18" fmla="*/ 2147483646 w 388"/>
              <a:gd name="T19" fmla="*/ 2147483646 h 626"/>
              <a:gd name="T20" fmla="*/ 2147483646 w 388"/>
              <a:gd name="T21" fmla="*/ 2147483646 h 626"/>
              <a:gd name="T22" fmla="*/ 2147483646 w 388"/>
              <a:gd name="T23" fmla="*/ 2147483646 h 626"/>
              <a:gd name="T24" fmla="*/ 2147483646 w 388"/>
              <a:gd name="T25" fmla="*/ 2147483646 h 626"/>
              <a:gd name="T26" fmla="*/ 2147483646 w 388"/>
              <a:gd name="T27" fmla="*/ 2147483646 h 626"/>
              <a:gd name="T28" fmla="*/ 2147483646 w 388"/>
              <a:gd name="T29" fmla="*/ 2147483646 h 626"/>
              <a:gd name="T30" fmla="*/ 2147483646 w 388"/>
              <a:gd name="T31" fmla="*/ 2147483646 h 626"/>
              <a:gd name="T32" fmla="*/ 2147483646 w 388"/>
              <a:gd name="T33" fmla="*/ 0 h 626"/>
              <a:gd name="T34" fmla="*/ 2147483646 w 388"/>
              <a:gd name="T35" fmla="*/ 0 h 626"/>
              <a:gd name="T36" fmla="*/ 2147483646 w 388"/>
              <a:gd name="T37" fmla="*/ 2147483646 h 626"/>
              <a:gd name="T38" fmla="*/ 2147483646 w 388"/>
              <a:gd name="T39" fmla="*/ 2147483646 h 626"/>
              <a:gd name="T40" fmla="*/ 2147483646 w 388"/>
              <a:gd name="T41" fmla="*/ 2147483646 h 626"/>
              <a:gd name="T42" fmla="*/ 2147483646 w 388"/>
              <a:gd name="T43" fmla="*/ 2147483646 h 626"/>
              <a:gd name="T44" fmla="*/ 2147483646 w 388"/>
              <a:gd name="T45" fmla="*/ 2147483646 h 626"/>
              <a:gd name="T46" fmla="*/ 2147483646 w 388"/>
              <a:gd name="T47" fmla="*/ 2147483646 h 626"/>
              <a:gd name="T48" fmla="*/ 2147483646 w 388"/>
              <a:gd name="T49" fmla="*/ 2147483646 h 626"/>
              <a:gd name="T50" fmla="*/ 2147483646 w 388"/>
              <a:gd name="T51" fmla="*/ 2147483646 h 626"/>
              <a:gd name="T52" fmla="*/ 2147483646 w 388"/>
              <a:gd name="T53" fmla="*/ 2147483646 h 626"/>
              <a:gd name="T54" fmla="*/ 2147483646 w 388"/>
              <a:gd name="T55" fmla="*/ 2147483646 h 626"/>
              <a:gd name="T56" fmla="*/ 2147483646 w 388"/>
              <a:gd name="T57" fmla="*/ 2147483646 h 626"/>
              <a:gd name="T58" fmla="*/ 2147483646 w 388"/>
              <a:gd name="T59" fmla="*/ 2147483646 h 626"/>
              <a:gd name="T60" fmla="*/ 2147483646 w 388"/>
              <a:gd name="T61" fmla="*/ 2147483646 h 626"/>
              <a:gd name="T62" fmla="*/ 2147483646 w 388"/>
              <a:gd name="T63" fmla="*/ 2147483646 h 626"/>
              <a:gd name="T64" fmla="*/ 2147483646 w 388"/>
              <a:gd name="T65" fmla="*/ 2147483646 h 626"/>
              <a:gd name="T66" fmla="*/ 2147483646 w 388"/>
              <a:gd name="T67" fmla="*/ 2147483646 h 626"/>
              <a:gd name="T68" fmla="*/ 2147483646 w 388"/>
              <a:gd name="T69" fmla="*/ 2147483646 h 626"/>
              <a:gd name="T70" fmla="*/ 2147483646 w 388"/>
              <a:gd name="T71" fmla="*/ 2147483646 h 626"/>
              <a:gd name="T72" fmla="*/ 2147483646 w 388"/>
              <a:gd name="T73" fmla="*/ 2147483646 h 626"/>
              <a:gd name="T74" fmla="*/ 0 w 388"/>
              <a:gd name="T75" fmla="*/ 2147483646 h 626"/>
              <a:gd name="T76" fmla="*/ 2147483646 w 388"/>
              <a:gd name="T77" fmla="*/ 2147483646 h 626"/>
              <a:gd name="T78" fmla="*/ 2147483646 w 388"/>
              <a:gd name="T79" fmla="*/ 2147483646 h 626"/>
              <a:gd name="T80" fmla="*/ 2147483646 w 388"/>
              <a:gd name="T81" fmla="*/ 2147483646 h 626"/>
              <a:gd name="T82" fmla="*/ 2147483646 w 388"/>
              <a:gd name="T83" fmla="*/ 2147483646 h 626"/>
              <a:gd name="T84" fmla="*/ 2147483646 w 388"/>
              <a:gd name="T85" fmla="*/ 2147483646 h 626"/>
              <a:gd name="T86" fmla="*/ 2147483646 w 388"/>
              <a:gd name="T87" fmla="*/ 2147483646 h 626"/>
              <a:gd name="T88" fmla="*/ 2147483646 w 388"/>
              <a:gd name="T89" fmla="*/ 2147483646 h 626"/>
              <a:gd name="T90" fmla="*/ 2147483646 w 388"/>
              <a:gd name="T91" fmla="*/ 2147483646 h 626"/>
              <a:gd name="T92" fmla="*/ 2147483646 w 388"/>
              <a:gd name="T93" fmla="*/ 2147483646 h 626"/>
              <a:gd name="T94" fmla="*/ 2147483646 w 388"/>
              <a:gd name="T95" fmla="*/ 2147483646 h 626"/>
              <a:gd name="T96" fmla="*/ 2147483646 w 388"/>
              <a:gd name="T97" fmla="*/ 2147483646 h 626"/>
              <a:gd name="T98" fmla="*/ 2147483646 w 388"/>
              <a:gd name="T99" fmla="*/ 2147483646 h 626"/>
              <a:gd name="T100" fmla="*/ 2147483646 w 388"/>
              <a:gd name="T101" fmla="*/ 2147483646 h 626"/>
              <a:gd name="T102" fmla="*/ 2147483646 w 388"/>
              <a:gd name="T103" fmla="*/ 2147483646 h 62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w 388"/>
              <a:gd name="T157" fmla="*/ 0 h 626"/>
              <a:gd name="T158" fmla="*/ 388 w 388"/>
              <a:gd name="T159" fmla="*/ 626 h 626"/>
            </a:gdLst>
            <a:ahLst/>
            <a:cxnLst>
              <a:cxn ang="T104">
                <a:pos x="T0" y="T1"/>
              </a:cxn>
              <a:cxn ang="T105">
                <a:pos x="T2" y="T3"/>
              </a:cxn>
              <a:cxn ang="T106">
                <a:pos x="T4" y="T5"/>
              </a:cxn>
              <a:cxn ang="T107">
                <a:pos x="T6" y="T7"/>
              </a:cxn>
              <a:cxn ang="T108">
                <a:pos x="T8" y="T9"/>
              </a:cxn>
              <a:cxn ang="T109">
                <a:pos x="T10" y="T11"/>
              </a:cxn>
              <a:cxn ang="T110">
                <a:pos x="T12" y="T13"/>
              </a:cxn>
              <a:cxn ang="T111">
                <a:pos x="T14" y="T15"/>
              </a:cxn>
              <a:cxn ang="T112">
                <a:pos x="T16" y="T17"/>
              </a:cxn>
              <a:cxn ang="T113">
                <a:pos x="T18" y="T19"/>
              </a:cxn>
              <a:cxn ang="T114">
                <a:pos x="T20" y="T21"/>
              </a:cxn>
              <a:cxn ang="T115">
                <a:pos x="T22" y="T23"/>
              </a:cxn>
              <a:cxn ang="T116">
                <a:pos x="T24" y="T25"/>
              </a:cxn>
              <a:cxn ang="T117">
                <a:pos x="T26" y="T27"/>
              </a:cxn>
              <a:cxn ang="T118">
                <a:pos x="T28" y="T29"/>
              </a:cxn>
              <a:cxn ang="T119">
                <a:pos x="T30" y="T31"/>
              </a:cxn>
              <a:cxn ang="T120">
                <a:pos x="T32" y="T33"/>
              </a:cxn>
              <a:cxn ang="T121">
                <a:pos x="T34" y="T35"/>
              </a:cxn>
              <a:cxn ang="T122">
                <a:pos x="T36" y="T37"/>
              </a:cxn>
              <a:cxn ang="T123">
                <a:pos x="T38" y="T39"/>
              </a:cxn>
              <a:cxn ang="T124">
                <a:pos x="T40" y="T41"/>
              </a:cxn>
              <a:cxn ang="T125">
                <a:pos x="T42" y="T43"/>
              </a:cxn>
              <a:cxn ang="T126">
                <a:pos x="T44" y="T45"/>
              </a:cxn>
              <a:cxn ang="T127">
                <a:pos x="T46" y="T47"/>
              </a:cxn>
              <a:cxn ang="T128">
                <a:pos x="T48" y="T49"/>
              </a:cxn>
              <a:cxn ang="T129">
                <a:pos x="T50" y="T51"/>
              </a:cxn>
              <a:cxn ang="T130">
                <a:pos x="T52" y="T53"/>
              </a:cxn>
              <a:cxn ang="T131">
                <a:pos x="T54" y="T55"/>
              </a:cxn>
              <a:cxn ang="T132">
                <a:pos x="T56" y="T57"/>
              </a:cxn>
              <a:cxn ang="T133">
                <a:pos x="T58" y="T59"/>
              </a:cxn>
              <a:cxn ang="T134">
                <a:pos x="T60" y="T61"/>
              </a:cxn>
              <a:cxn ang="T135">
                <a:pos x="T62" y="T63"/>
              </a:cxn>
              <a:cxn ang="T136">
                <a:pos x="T64" y="T65"/>
              </a:cxn>
              <a:cxn ang="T137">
                <a:pos x="T66" y="T67"/>
              </a:cxn>
              <a:cxn ang="T138">
                <a:pos x="T68" y="T69"/>
              </a:cxn>
              <a:cxn ang="T139">
                <a:pos x="T70" y="T71"/>
              </a:cxn>
              <a:cxn ang="T140">
                <a:pos x="T72" y="T73"/>
              </a:cxn>
              <a:cxn ang="T141">
                <a:pos x="T74" y="T75"/>
              </a:cxn>
              <a:cxn ang="T142">
                <a:pos x="T76" y="T77"/>
              </a:cxn>
              <a:cxn ang="T143">
                <a:pos x="T78" y="T79"/>
              </a:cxn>
              <a:cxn ang="T144">
                <a:pos x="T80" y="T81"/>
              </a:cxn>
              <a:cxn ang="T145">
                <a:pos x="T82" y="T83"/>
              </a:cxn>
              <a:cxn ang="T146">
                <a:pos x="T84" y="T85"/>
              </a:cxn>
              <a:cxn ang="T147">
                <a:pos x="T86" y="T87"/>
              </a:cxn>
              <a:cxn ang="T148">
                <a:pos x="T88" y="T89"/>
              </a:cxn>
              <a:cxn ang="T149">
                <a:pos x="T90" y="T91"/>
              </a:cxn>
              <a:cxn ang="T150">
                <a:pos x="T92" y="T93"/>
              </a:cxn>
              <a:cxn ang="T151">
                <a:pos x="T94" y="T95"/>
              </a:cxn>
              <a:cxn ang="T152">
                <a:pos x="T96" y="T97"/>
              </a:cxn>
              <a:cxn ang="T153">
                <a:pos x="T98" y="T99"/>
              </a:cxn>
              <a:cxn ang="T154">
                <a:pos x="T100" y="T101"/>
              </a:cxn>
              <a:cxn ang="T155">
                <a:pos x="T102" y="T103"/>
              </a:cxn>
            </a:cxnLst>
            <a:rect l="T156" t="T157" r="T158" b="T159"/>
            <a:pathLst>
              <a:path w="388" h="626">
                <a:moveTo>
                  <a:pt x="138" y="626"/>
                </a:moveTo>
                <a:lnTo>
                  <a:pt x="134" y="476"/>
                </a:lnTo>
                <a:lnTo>
                  <a:pt x="226" y="420"/>
                </a:lnTo>
                <a:lnTo>
                  <a:pt x="388" y="394"/>
                </a:lnTo>
                <a:lnTo>
                  <a:pt x="354" y="356"/>
                </a:lnTo>
                <a:lnTo>
                  <a:pt x="374" y="336"/>
                </a:lnTo>
                <a:lnTo>
                  <a:pt x="286" y="198"/>
                </a:lnTo>
                <a:lnTo>
                  <a:pt x="276" y="186"/>
                </a:lnTo>
                <a:lnTo>
                  <a:pt x="270" y="168"/>
                </a:lnTo>
                <a:lnTo>
                  <a:pt x="268" y="166"/>
                </a:lnTo>
                <a:lnTo>
                  <a:pt x="260" y="158"/>
                </a:lnTo>
                <a:lnTo>
                  <a:pt x="258" y="154"/>
                </a:lnTo>
                <a:lnTo>
                  <a:pt x="256" y="152"/>
                </a:lnTo>
                <a:lnTo>
                  <a:pt x="256" y="150"/>
                </a:lnTo>
                <a:lnTo>
                  <a:pt x="256" y="146"/>
                </a:lnTo>
                <a:lnTo>
                  <a:pt x="258" y="144"/>
                </a:lnTo>
                <a:lnTo>
                  <a:pt x="260" y="138"/>
                </a:lnTo>
                <a:lnTo>
                  <a:pt x="262" y="138"/>
                </a:lnTo>
                <a:lnTo>
                  <a:pt x="266" y="136"/>
                </a:lnTo>
                <a:lnTo>
                  <a:pt x="268" y="132"/>
                </a:lnTo>
                <a:lnTo>
                  <a:pt x="272" y="128"/>
                </a:lnTo>
                <a:lnTo>
                  <a:pt x="274" y="126"/>
                </a:lnTo>
                <a:lnTo>
                  <a:pt x="276" y="122"/>
                </a:lnTo>
                <a:lnTo>
                  <a:pt x="278" y="118"/>
                </a:lnTo>
                <a:lnTo>
                  <a:pt x="280" y="114"/>
                </a:lnTo>
                <a:lnTo>
                  <a:pt x="280" y="110"/>
                </a:lnTo>
                <a:lnTo>
                  <a:pt x="280" y="108"/>
                </a:lnTo>
                <a:lnTo>
                  <a:pt x="278" y="102"/>
                </a:lnTo>
                <a:lnTo>
                  <a:pt x="276" y="96"/>
                </a:lnTo>
                <a:lnTo>
                  <a:pt x="274" y="90"/>
                </a:lnTo>
                <a:lnTo>
                  <a:pt x="272" y="84"/>
                </a:lnTo>
                <a:lnTo>
                  <a:pt x="270" y="84"/>
                </a:lnTo>
                <a:lnTo>
                  <a:pt x="270" y="82"/>
                </a:lnTo>
                <a:lnTo>
                  <a:pt x="270" y="78"/>
                </a:lnTo>
                <a:lnTo>
                  <a:pt x="268" y="76"/>
                </a:lnTo>
                <a:lnTo>
                  <a:pt x="268" y="72"/>
                </a:lnTo>
                <a:lnTo>
                  <a:pt x="266" y="66"/>
                </a:lnTo>
                <a:lnTo>
                  <a:pt x="262" y="62"/>
                </a:lnTo>
                <a:lnTo>
                  <a:pt x="258" y="58"/>
                </a:lnTo>
                <a:lnTo>
                  <a:pt x="258" y="56"/>
                </a:lnTo>
                <a:lnTo>
                  <a:pt x="256" y="54"/>
                </a:lnTo>
                <a:lnTo>
                  <a:pt x="256" y="46"/>
                </a:lnTo>
                <a:lnTo>
                  <a:pt x="252" y="44"/>
                </a:lnTo>
                <a:lnTo>
                  <a:pt x="250" y="40"/>
                </a:lnTo>
                <a:lnTo>
                  <a:pt x="248" y="38"/>
                </a:lnTo>
                <a:lnTo>
                  <a:pt x="244" y="38"/>
                </a:lnTo>
                <a:lnTo>
                  <a:pt x="242" y="38"/>
                </a:lnTo>
                <a:lnTo>
                  <a:pt x="240" y="38"/>
                </a:lnTo>
                <a:lnTo>
                  <a:pt x="238" y="38"/>
                </a:lnTo>
                <a:lnTo>
                  <a:pt x="236" y="38"/>
                </a:lnTo>
                <a:lnTo>
                  <a:pt x="234" y="40"/>
                </a:lnTo>
                <a:lnTo>
                  <a:pt x="232" y="40"/>
                </a:lnTo>
                <a:lnTo>
                  <a:pt x="226" y="42"/>
                </a:lnTo>
                <a:lnTo>
                  <a:pt x="222" y="42"/>
                </a:lnTo>
                <a:lnTo>
                  <a:pt x="220" y="42"/>
                </a:lnTo>
                <a:lnTo>
                  <a:pt x="218" y="40"/>
                </a:lnTo>
                <a:lnTo>
                  <a:pt x="216" y="40"/>
                </a:lnTo>
                <a:lnTo>
                  <a:pt x="216" y="38"/>
                </a:lnTo>
                <a:lnTo>
                  <a:pt x="214" y="36"/>
                </a:lnTo>
                <a:lnTo>
                  <a:pt x="210" y="32"/>
                </a:lnTo>
                <a:lnTo>
                  <a:pt x="208" y="28"/>
                </a:lnTo>
                <a:lnTo>
                  <a:pt x="206" y="22"/>
                </a:lnTo>
                <a:lnTo>
                  <a:pt x="206" y="18"/>
                </a:lnTo>
                <a:lnTo>
                  <a:pt x="206" y="14"/>
                </a:lnTo>
                <a:lnTo>
                  <a:pt x="202" y="10"/>
                </a:lnTo>
                <a:lnTo>
                  <a:pt x="198" y="6"/>
                </a:lnTo>
                <a:lnTo>
                  <a:pt x="192" y="2"/>
                </a:lnTo>
                <a:lnTo>
                  <a:pt x="188" y="0"/>
                </a:lnTo>
                <a:lnTo>
                  <a:pt x="186" y="0"/>
                </a:lnTo>
                <a:lnTo>
                  <a:pt x="180" y="0"/>
                </a:lnTo>
                <a:lnTo>
                  <a:pt x="174" y="0"/>
                </a:lnTo>
                <a:lnTo>
                  <a:pt x="172" y="0"/>
                </a:lnTo>
                <a:lnTo>
                  <a:pt x="170" y="0"/>
                </a:lnTo>
                <a:lnTo>
                  <a:pt x="170" y="2"/>
                </a:lnTo>
                <a:lnTo>
                  <a:pt x="168" y="2"/>
                </a:lnTo>
                <a:lnTo>
                  <a:pt x="164" y="4"/>
                </a:lnTo>
                <a:lnTo>
                  <a:pt x="162" y="8"/>
                </a:lnTo>
                <a:lnTo>
                  <a:pt x="158" y="10"/>
                </a:lnTo>
                <a:lnTo>
                  <a:pt x="158" y="12"/>
                </a:lnTo>
                <a:lnTo>
                  <a:pt x="158" y="14"/>
                </a:lnTo>
                <a:lnTo>
                  <a:pt x="158" y="18"/>
                </a:lnTo>
                <a:lnTo>
                  <a:pt x="158" y="24"/>
                </a:lnTo>
                <a:lnTo>
                  <a:pt x="156" y="28"/>
                </a:lnTo>
                <a:lnTo>
                  <a:pt x="154" y="32"/>
                </a:lnTo>
                <a:lnTo>
                  <a:pt x="154" y="36"/>
                </a:lnTo>
                <a:lnTo>
                  <a:pt x="152" y="38"/>
                </a:lnTo>
                <a:lnTo>
                  <a:pt x="150" y="42"/>
                </a:lnTo>
                <a:lnTo>
                  <a:pt x="148" y="42"/>
                </a:lnTo>
                <a:lnTo>
                  <a:pt x="140" y="46"/>
                </a:lnTo>
                <a:lnTo>
                  <a:pt x="136" y="48"/>
                </a:lnTo>
                <a:lnTo>
                  <a:pt x="132" y="50"/>
                </a:lnTo>
                <a:lnTo>
                  <a:pt x="128" y="54"/>
                </a:lnTo>
                <a:lnTo>
                  <a:pt x="122" y="56"/>
                </a:lnTo>
                <a:lnTo>
                  <a:pt x="120" y="58"/>
                </a:lnTo>
                <a:lnTo>
                  <a:pt x="120" y="60"/>
                </a:lnTo>
                <a:lnTo>
                  <a:pt x="118" y="62"/>
                </a:lnTo>
                <a:lnTo>
                  <a:pt x="116" y="66"/>
                </a:lnTo>
                <a:lnTo>
                  <a:pt x="114" y="72"/>
                </a:lnTo>
                <a:lnTo>
                  <a:pt x="114" y="74"/>
                </a:lnTo>
                <a:lnTo>
                  <a:pt x="112" y="74"/>
                </a:lnTo>
                <a:lnTo>
                  <a:pt x="112" y="78"/>
                </a:lnTo>
                <a:lnTo>
                  <a:pt x="110" y="80"/>
                </a:lnTo>
                <a:lnTo>
                  <a:pt x="110" y="84"/>
                </a:lnTo>
                <a:lnTo>
                  <a:pt x="106" y="84"/>
                </a:lnTo>
                <a:lnTo>
                  <a:pt x="106" y="86"/>
                </a:lnTo>
                <a:lnTo>
                  <a:pt x="104" y="90"/>
                </a:lnTo>
                <a:lnTo>
                  <a:pt x="104" y="94"/>
                </a:lnTo>
                <a:lnTo>
                  <a:pt x="102" y="96"/>
                </a:lnTo>
                <a:lnTo>
                  <a:pt x="100" y="102"/>
                </a:lnTo>
                <a:lnTo>
                  <a:pt x="98" y="108"/>
                </a:lnTo>
                <a:lnTo>
                  <a:pt x="94" y="114"/>
                </a:lnTo>
                <a:lnTo>
                  <a:pt x="88" y="120"/>
                </a:lnTo>
                <a:lnTo>
                  <a:pt x="88" y="122"/>
                </a:lnTo>
                <a:lnTo>
                  <a:pt x="86" y="130"/>
                </a:lnTo>
                <a:lnTo>
                  <a:pt x="82" y="134"/>
                </a:lnTo>
                <a:lnTo>
                  <a:pt x="80" y="136"/>
                </a:lnTo>
                <a:lnTo>
                  <a:pt x="76" y="140"/>
                </a:lnTo>
                <a:lnTo>
                  <a:pt x="72" y="144"/>
                </a:lnTo>
                <a:lnTo>
                  <a:pt x="72" y="146"/>
                </a:lnTo>
                <a:lnTo>
                  <a:pt x="70" y="150"/>
                </a:lnTo>
                <a:lnTo>
                  <a:pt x="70" y="152"/>
                </a:lnTo>
                <a:lnTo>
                  <a:pt x="68" y="154"/>
                </a:lnTo>
                <a:lnTo>
                  <a:pt x="68" y="158"/>
                </a:lnTo>
                <a:lnTo>
                  <a:pt x="68" y="166"/>
                </a:lnTo>
                <a:lnTo>
                  <a:pt x="70" y="166"/>
                </a:lnTo>
                <a:lnTo>
                  <a:pt x="70" y="170"/>
                </a:lnTo>
                <a:lnTo>
                  <a:pt x="72" y="176"/>
                </a:lnTo>
                <a:lnTo>
                  <a:pt x="72" y="182"/>
                </a:lnTo>
                <a:lnTo>
                  <a:pt x="72" y="188"/>
                </a:lnTo>
                <a:lnTo>
                  <a:pt x="70" y="194"/>
                </a:lnTo>
                <a:lnTo>
                  <a:pt x="70" y="204"/>
                </a:lnTo>
                <a:lnTo>
                  <a:pt x="68" y="206"/>
                </a:lnTo>
                <a:lnTo>
                  <a:pt x="68" y="210"/>
                </a:lnTo>
                <a:lnTo>
                  <a:pt x="64" y="218"/>
                </a:lnTo>
                <a:lnTo>
                  <a:pt x="62" y="222"/>
                </a:lnTo>
                <a:lnTo>
                  <a:pt x="60" y="222"/>
                </a:lnTo>
                <a:lnTo>
                  <a:pt x="54" y="226"/>
                </a:lnTo>
                <a:lnTo>
                  <a:pt x="52" y="228"/>
                </a:lnTo>
                <a:lnTo>
                  <a:pt x="46" y="232"/>
                </a:lnTo>
                <a:lnTo>
                  <a:pt x="42" y="236"/>
                </a:lnTo>
                <a:lnTo>
                  <a:pt x="40" y="236"/>
                </a:lnTo>
                <a:lnTo>
                  <a:pt x="34" y="238"/>
                </a:lnTo>
                <a:lnTo>
                  <a:pt x="30" y="240"/>
                </a:lnTo>
                <a:lnTo>
                  <a:pt x="26" y="242"/>
                </a:lnTo>
                <a:lnTo>
                  <a:pt x="20" y="244"/>
                </a:lnTo>
                <a:lnTo>
                  <a:pt x="18" y="246"/>
                </a:lnTo>
                <a:lnTo>
                  <a:pt x="12" y="252"/>
                </a:lnTo>
                <a:lnTo>
                  <a:pt x="10" y="256"/>
                </a:lnTo>
                <a:lnTo>
                  <a:pt x="6" y="262"/>
                </a:lnTo>
                <a:lnTo>
                  <a:pt x="2" y="264"/>
                </a:lnTo>
                <a:lnTo>
                  <a:pt x="2" y="268"/>
                </a:lnTo>
                <a:lnTo>
                  <a:pt x="0" y="274"/>
                </a:lnTo>
                <a:lnTo>
                  <a:pt x="0" y="280"/>
                </a:lnTo>
                <a:lnTo>
                  <a:pt x="0" y="284"/>
                </a:lnTo>
                <a:lnTo>
                  <a:pt x="2" y="286"/>
                </a:lnTo>
                <a:lnTo>
                  <a:pt x="2" y="290"/>
                </a:lnTo>
                <a:lnTo>
                  <a:pt x="6" y="290"/>
                </a:lnTo>
                <a:lnTo>
                  <a:pt x="8" y="292"/>
                </a:lnTo>
                <a:lnTo>
                  <a:pt x="10" y="294"/>
                </a:lnTo>
                <a:lnTo>
                  <a:pt x="14" y="296"/>
                </a:lnTo>
                <a:lnTo>
                  <a:pt x="16" y="298"/>
                </a:lnTo>
                <a:lnTo>
                  <a:pt x="18" y="302"/>
                </a:lnTo>
                <a:lnTo>
                  <a:pt x="20" y="308"/>
                </a:lnTo>
                <a:lnTo>
                  <a:pt x="24" y="312"/>
                </a:lnTo>
                <a:lnTo>
                  <a:pt x="24" y="314"/>
                </a:lnTo>
                <a:lnTo>
                  <a:pt x="24" y="320"/>
                </a:lnTo>
                <a:lnTo>
                  <a:pt x="24" y="324"/>
                </a:lnTo>
                <a:lnTo>
                  <a:pt x="24" y="326"/>
                </a:lnTo>
                <a:lnTo>
                  <a:pt x="24" y="330"/>
                </a:lnTo>
                <a:lnTo>
                  <a:pt x="24" y="332"/>
                </a:lnTo>
                <a:lnTo>
                  <a:pt x="28" y="340"/>
                </a:lnTo>
                <a:lnTo>
                  <a:pt x="28" y="344"/>
                </a:lnTo>
                <a:lnTo>
                  <a:pt x="28" y="346"/>
                </a:lnTo>
                <a:lnTo>
                  <a:pt x="30" y="350"/>
                </a:lnTo>
                <a:lnTo>
                  <a:pt x="30" y="352"/>
                </a:lnTo>
                <a:lnTo>
                  <a:pt x="32" y="356"/>
                </a:lnTo>
                <a:lnTo>
                  <a:pt x="32" y="366"/>
                </a:lnTo>
                <a:lnTo>
                  <a:pt x="30" y="370"/>
                </a:lnTo>
                <a:lnTo>
                  <a:pt x="28" y="374"/>
                </a:lnTo>
                <a:lnTo>
                  <a:pt x="26" y="380"/>
                </a:lnTo>
                <a:lnTo>
                  <a:pt x="26" y="386"/>
                </a:lnTo>
                <a:lnTo>
                  <a:pt x="26" y="388"/>
                </a:lnTo>
                <a:lnTo>
                  <a:pt x="26" y="390"/>
                </a:lnTo>
                <a:lnTo>
                  <a:pt x="26" y="394"/>
                </a:lnTo>
                <a:lnTo>
                  <a:pt x="26" y="398"/>
                </a:lnTo>
                <a:lnTo>
                  <a:pt x="28" y="406"/>
                </a:lnTo>
                <a:lnTo>
                  <a:pt x="30" y="418"/>
                </a:lnTo>
                <a:lnTo>
                  <a:pt x="34" y="428"/>
                </a:lnTo>
                <a:lnTo>
                  <a:pt x="34" y="430"/>
                </a:lnTo>
                <a:lnTo>
                  <a:pt x="40" y="438"/>
                </a:lnTo>
                <a:lnTo>
                  <a:pt x="40" y="448"/>
                </a:lnTo>
                <a:lnTo>
                  <a:pt x="42" y="454"/>
                </a:lnTo>
                <a:lnTo>
                  <a:pt x="42" y="458"/>
                </a:lnTo>
                <a:lnTo>
                  <a:pt x="40" y="462"/>
                </a:lnTo>
                <a:lnTo>
                  <a:pt x="40" y="466"/>
                </a:lnTo>
                <a:lnTo>
                  <a:pt x="36" y="474"/>
                </a:lnTo>
                <a:lnTo>
                  <a:pt x="34" y="478"/>
                </a:lnTo>
                <a:lnTo>
                  <a:pt x="30" y="482"/>
                </a:lnTo>
                <a:lnTo>
                  <a:pt x="28" y="484"/>
                </a:lnTo>
                <a:lnTo>
                  <a:pt x="26" y="484"/>
                </a:lnTo>
                <a:lnTo>
                  <a:pt x="26" y="488"/>
                </a:lnTo>
                <a:lnTo>
                  <a:pt x="20" y="490"/>
                </a:lnTo>
                <a:lnTo>
                  <a:pt x="18" y="490"/>
                </a:lnTo>
                <a:lnTo>
                  <a:pt x="16" y="492"/>
                </a:lnTo>
                <a:lnTo>
                  <a:pt x="10" y="492"/>
                </a:lnTo>
                <a:lnTo>
                  <a:pt x="2" y="492"/>
                </a:lnTo>
                <a:lnTo>
                  <a:pt x="0" y="492"/>
                </a:lnTo>
                <a:lnTo>
                  <a:pt x="2" y="496"/>
                </a:lnTo>
                <a:lnTo>
                  <a:pt x="138" y="626"/>
                </a:lnTo>
                <a:close/>
              </a:path>
            </a:pathLst>
          </a:custGeom>
          <a:solidFill>
            <a:srgbClr val="F1B728"/>
          </a:solidFill>
          <a:ln w="6350">
            <a:solidFill>
              <a:schemeClr val="tx1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457200">
              <a:defRPr/>
            </a:pPr>
            <a:endParaRPr lang="en-US" kern="0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87" name="Freeform 65">
            <a:extLst>
              <a:ext uri="{FF2B5EF4-FFF2-40B4-BE49-F238E27FC236}">
                <a16:creationId xmlns:a16="http://schemas.microsoft.com/office/drawing/2014/main" id="{FE97B449-471A-7329-4E34-00BF474A7A93}"/>
              </a:ext>
            </a:extLst>
          </p:cNvPr>
          <p:cNvSpPr>
            <a:spLocks/>
          </p:cNvSpPr>
          <p:nvPr/>
        </p:nvSpPr>
        <p:spPr bwMode="auto">
          <a:xfrm>
            <a:off x="3812540" y="2306320"/>
            <a:ext cx="604520" cy="421640"/>
          </a:xfrm>
          <a:custGeom>
            <a:avLst/>
            <a:gdLst>
              <a:gd name="T0" fmla="*/ 2147483646 w 476"/>
              <a:gd name="T1" fmla="*/ 2147483646 h 332"/>
              <a:gd name="T2" fmla="*/ 2147483646 w 476"/>
              <a:gd name="T3" fmla="*/ 2147483646 h 332"/>
              <a:gd name="T4" fmla="*/ 2147483646 w 476"/>
              <a:gd name="T5" fmla="*/ 2147483646 h 332"/>
              <a:gd name="T6" fmla="*/ 2147483646 w 476"/>
              <a:gd name="T7" fmla="*/ 2147483646 h 332"/>
              <a:gd name="T8" fmla="*/ 2147483646 w 476"/>
              <a:gd name="T9" fmla="*/ 2147483646 h 332"/>
              <a:gd name="T10" fmla="*/ 2147483646 w 476"/>
              <a:gd name="T11" fmla="*/ 2147483646 h 332"/>
              <a:gd name="T12" fmla="*/ 2147483646 w 476"/>
              <a:gd name="T13" fmla="*/ 2147483646 h 332"/>
              <a:gd name="T14" fmla="*/ 2147483646 w 476"/>
              <a:gd name="T15" fmla="*/ 2147483646 h 332"/>
              <a:gd name="T16" fmla="*/ 2147483646 w 476"/>
              <a:gd name="T17" fmla="*/ 2147483646 h 332"/>
              <a:gd name="T18" fmla="*/ 2147483646 w 476"/>
              <a:gd name="T19" fmla="*/ 2147483646 h 332"/>
              <a:gd name="T20" fmla="*/ 2147483646 w 476"/>
              <a:gd name="T21" fmla="*/ 2147483646 h 332"/>
              <a:gd name="T22" fmla="*/ 2147483646 w 476"/>
              <a:gd name="T23" fmla="*/ 2147483646 h 332"/>
              <a:gd name="T24" fmla="*/ 2147483646 w 476"/>
              <a:gd name="T25" fmla="*/ 2147483646 h 332"/>
              <a:gd name="T26" fmla="*/ 2147483646 w 476"/>
              <a:gd name="T27" fmla="*/ 2147483646 h 332"/>
              <a:gd name="T28" fmla="*/ 2147483646 w 476"/>
              <a:gd name="T29" fmla="*/ 2147483646 h 332"/>
              <a:gd name="T30" fmla="*/ 2147483646 w 476"/>
              <a:gd name="T31" fmla="*/ 2147483646 h 332"/>
              <a:gd name="T32" fmla="*/ 2147483646 w 476"/>
              <a:gd name="T33" fmla="*/ 2147483646 h 332"/>
              <a:gd name="T34" fmla="*/ 2147483646 w 476"/>
              <a:gd name="T35" fmla="*/ 2147483646 h 332"/>
              <a:gd name="T36" fmla="*/ 2147483646 w 476"/>
              <a:gd name="T37" fmla="*/ 2147483646 h 332"/>
              <a:gd name="T38" fmla="*/ 2147483646 w 476"/>
              <a:gd name="T39" fmla="*/ 2147483646 h 332"/>
              <a:gd name="T40" fmla="*/ 2147483646 w 476"/>
              <a:gd name="T41" fmla="*/ 2147483646 h 332"/>
              <a:gd name="T42" fmla="*/ 2147483646 w 476"/>
              <a:gd name="T43" fmla="*/ 2147483646 h 332"/>
              <a:gd name="T44" fmla="*/ 2147483646 w 476"/>
              <a:gd name="T45" fmla="*/ 2147483646 h 332"/>
              <a:gd name="T46" fmla="*/ 2147483646 w 476"/>
              <a:gd name="T47" fmla="*/ 2147483646 h 332"/>
              <a:gd name="T48" fmla="*/ 2147483646 w 476"/>
              <a:gd name="T49" fmla="*/ 2147483646 h 332"/>
              <a:gd name="T50" fmla="*/ 2147483646 w 476"/>
              <a:gd name="T51" fmla="*/ 2147483646 h 332"/>
              <a:gd name="T52" fmla="*/ 2147483646 w 476"/>
              <a:gd name="T53" fmla="*/ 2147483646 h 332"/>
              <a:gd name="T54" fmla="*/ 2147483646 w 476"/>
              <a:gd name="T55" fmla="*/ 2147483646 h 332"/>
              <a:gd name="T56" fmla="*/ 2147483646 w 476"/>
              <a:gd name="T57" fmla="*/ 2147483646 h 332"/>
              <a:gd name="T58" fmla="*/ 2147483646 w 476"/>
              <a:gd name="T59" fmla="*/ 2147483646 h 332"/>
              <a:gd name="T60" fmla="*/ 2147483646 w 476"/>
              <a:gd name="T61" fmla="*/ 2147483646 h 332"/>
              <a:gd name="T62" fmla="*/ 2147483646 w 476"/>
              <a:gd name="T63" fmla="*/ 2147483646 h 332"/>
              <a:gd name="T64" fmla="*/ 2147483646 w 476"/>
              <a:gd name="T65" fmla="*/ 2147483646 h 332"/>
              <a:gd name="T66" fmla="*/ 2147483646 w 476"/>
              <a:gd name="T67" fmla="*/ 2147483646 h 332"/>
              <a:gd name="T68" fmla="*/ 2147483646 w 476"/>
              <a:gd name="T69" fmla="*/ 2147483646 h 332"/>
              <a:gd name="T70" fmla="*/ 2147483646 w 476"/>
              <a:gd name="T71" fmla="*/ 2147483646 h 332"/>
              <a:gd name="T72" fmla="*/ 2147483646 w 476"/>
              <a:gd name="T73" fmla="*/ 2147483646 h 332"/>
              <a:gd name="T74" fmla="*/ 2147483646 w 476"/>
              <a:gd name="T75" fmla="*/ 2147483646 h 332"/>
              <a:gd name="T76" fmla="*/ 2147483646 w 476"/>
              <a:gd name="T77" fmla="*/ 2147483646 h 332"/>
              <a:gd name="T78" fmla="*/ 2147483646 w 476"/>
              <a:gd name="T79" fmla="*/ 2147483646 h 332"/>
              <a:gd name="T80" fmla="*/ 2147483646 w 476"/>
              <a:gd name="T81" fmla="*/ 2147483646 h 332"/>
              <a:gd name="T82" fmla="*/ 2147483646 w 476"/>
              <a:gd name="T83" fmla="*/ 2147483646 h 332"/>
              <a:gd name="T84" fmla="*/ 2147483646 w 476"/>
              <a:gd name="T85" fmla="*/ 2147483646 h 332"/>
              <a:gd name="T86" fmla="*/ 2147483646 w 476"/>
              <a:gd name="T87" fmla="*/ 2147483646 h 332"/>
              <a:gd name="T88" fmla="*/ 2147483646 w 476"/>
              <a:gd name="T89" fmla="*/ 2147483646 h 332"/>
              <a:gd name="T90" fmla="*/ 2147483646 w 476"/>
              <a:gd name="T91" fmla="*/ 2147483646 h 332"/>
              <a:gd name="T92" fmla="*/ 2147483646 w 476"/>
              <a:gd name="T93" fmla="*/ 2147483646 h 332"/>
              <a:gd name="T94" fmla="*/ 2147483646 w 476"/>
              <a:gd name="T95" fmla="*/ 2147483646 h 332"/>
              <a:gd name="T96" fmla="*/ 2147483646 w 476"/>
              <a:gd name="T97" fmla="*/ 2147483646 h 332"/>
              <a:gd name="T98" fmla="*/ 2147483646 w 476"/>
              <a:gd name="T99" fmla="*/ 2147483646 h 332"/>
              <a:gd name="T100" fmla="*/ 0 w 476"/>
              <a:gd name="T101" fmla="*/ 2147483646 h 332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w 476"/>
              <a:gd name="T154" fmla="*/ 0 h 332"/>
              <a:gd name="T155" fmla="*/ 476 w 476"/>
              <a:gd name="T156" fmla="*/ 332 h 332"/>
            </a:gdLst>
            <a:ahLst/>
            <a:cxnLst>
              <a:cxn ang="T102">
                <a:pos x="T0" y="T1"/>
              </a:cxn>
              <a:cxn ang="T103">
                <a:pos x="T2" y="T3"/>
              </a:cxn>
              <a:cxn ang="T104">
                <a:pos x="T4" y="T5"/>
              </a:cxn>
              <a:cxn ang="T105">
                <a:pos x="T6" y="T7"/>
              </a:cxn>
              <a:cxn ang="T106">
                <a:pos x="T8" y="T9"/>
              </a:cxn>
              <a:cxn ang="T107">
                <a:pos x="T10" y="T11"/>
              </a:cxn>
              <a:cxn ang="T108">
                <a:pos x="T12" y="T13"/>
              </a:cxn>
              <a:cxn ang="T109">
                <a:pos x="T14" y="T15"/>
              </a:cxn>
              <a:cxn ang="T110">
                <a:pos x="T16" y="T17"/>
              </a:cxn>
              <a:cxn ang="T111">
                <a:pos x="T18" y="T19"/>
              </a:cxn>
              <a:cxn ang="T112">
                <a:pos x="T20" y="T21"/>
              </a:cxn>
              <a:cxn ang="T113">
                <a:pos x="T22" y="T23"/>
              </a:cxn>
              <a:cxn ang="T114">
                <a:pos x="T24" y="T25"/>
              </a:cxn>
              <a:cxn ang="T115">
                <a:pos x="T26" y="T27"/>
              </a:cxn>
              <a:cxn ang="T116">
                <a:pos x="T28" y="T29"/>
              </a:cxn>
              <a:cxn ang="T117">
                <a:pos x="T30" y="T31"/>
              </a:cxn>
              <a:cxn ang="T118">
                <a:pos x="T32" y="T33"/>
              </a:cxn>
              <a:cxn ang="T119">
                <a:pos x="T34" y="T35"/>
              </a:cxn>
              <a:cxn ang="T120">
                <a:pos x="T36" y="T37"/>
              </a:cxn>
              <a:cxn ang="T121">
                <a:pos x="T38" y="T39"/>
              </a:cxn>
              <a:cxn ang="T122">
                <a:pos x="T40" y="T41"/>
              </a:cxn>
              <a:cxn ang="T123">
                <a:pos x="T42" y="T43"/>
              </a:cxn>
              <a:cxn ang="T124">
                <a:pos x="T44" y="T45"/>
              </a:cxn>
              <a:cxn ang="T125">
                <a:pos x="T46" y="T47"/>
              </a:cxn>
              <a:cxn ang="T126">
                <a:pos x="T48" y="T49"/>
              </a:cxn>
              <a:cxn ang="T127">
                <a:pos x="T50" y="T51"/>
              </a:cxn>
              <a:cxn ang="T128">
                <a:pos x="T52" y="T53"/>
              </a:cxn>
              <a:cxn ang="T129">
                <a:pos x="T54" y="T55"/>
              </a:cxn>
              <a:cxn ang="T130">
                <a:pos x="T56" y="T57"/>
              </a:cxn>
              <a:cxn ang="T131">
                <a:pos x="T58" y="T59"/>
              </a:cxn>
              <a:cxn ang="T132">
                <a:pos x="T60" y="T61"/>
              </a:cxn>
              <a:cxn ang="T133">
                <a:pos x="T62" y="T63"/>
              </a:cxn>
              <a:cxn ang="T134">
                <a:pos x="T64" y="T65"/>
              </a:cxn>
              <a:cxn ang="T135">
                <a:pos x="T66" y="T67"/>
              </a:cxn>
              <a:cxn ang="T136">
                <a:pos x="T68" y="T69"/>
              </a:cxn>
              <a:cxn ang="T137">
                <a:pos x="T70" y="T71"/>
              </a:cxn>
              <a:cxn ang="T138">
                <a:pos x="T72" y="T73"/>
              </a:cxn>
              <a:cxn ang="T139">
                <a:pos x="T74" y="T75"/>
              </a:cxn>
              <a:cxn ang="T140">
                <a:pos x="T76" y="T77"/>
              </a:cxn>
              <a:cxn ang="T141">
                <a:pos x="T78" y="T79"/>
              </a:cxn>
              <a:cxn ang="T142">
                <a:pos x="T80" y="T81"/>
              </a:cxn>
              <a:cxn ang="T143">
                <a:pos x="T82" y="T83"/>
              </a:cxn>
              <a:cxn ang="T144">
                <a:pos x="T84" y="T85"/>
              </a:cxn>
              <a:cxn ang="T145">
                <a:pos x="T86" y="T87"/>
              </a:cxn>
              <a:cxn ang="T146">
                <a:pos x="T88" y="T89"/>
              </a:cxn>
              <a:cxn ang="T147">
                <a:pos x="T90" y="T91"/>
              </a:cxn>
              <a:cxn ang="T148">
                <a:pos x="T92" y="T93"/>
              </a:cxn>
              <a:cxn ang="T149">
                <a:pos x="T94" y="T95"/>
              </a:cxn>
              <a:cxn ang="T150">
                <a:pos x="T96" y="T97"/>
              </a:cxn>
              <a:cxn ang="T151">
                <a:pos x="T98" y="T99"/>
              </a:cxn>
              <a:cxn ang="T152">
                <a:pos x="T100" y="T101"/>
              </a:cxn>
            </a:cxnLst>
            <a:rect l="T153" t="T154" r="T155" b="T156"/>
            <a:pathLst>
              <a:path w="476" h="332">
                <a:moveTo>
                  <a:pt x="80" y="138"/>
                </a:moveTo>
                <a:lnTo>
                  <a:pt x="82" y="138"/>
                </a:lnTo>
                <a:lnTo>
                  <a:pt x="86" y="140"/>
                </a:lnTo>
                <a:lnTo>
                  <a:pt x="86" y="142"/>
                </a:lnTo>
                <a:lnTo>
                  <a:pt x="82" y="144"/>
                </a:lnTo>
                <a:lnTo>
                  <a:pt x="82" y="152"/>
                </a:lnTo>
                <a:lnTo>
                  <a:pt x="86" y="156"/>
                </a:lnTo>
                <a:lnTo>
                  <a:pt x="96" y="162"/>
                </a:lnTo>
                <a:lnTo>
                  <a:pt x="102" y="166"/>
                </a:lnTo>
                <a:lnTo>
                  <a:pt x="102" y="172"/>
                </a:lnTo>
                <a:lnTo>
                  <a:pt x="98" y="176"/>
                </a:lnTo>
                <a:lnTo>
                  <a:pt x="102" y="180"/>
                </a:lnTo>
                <a:lnTo>
                  <a:pt x="104" y="184"/>
                </a:lnTo>
                <a:lnTo>
                  <a:pt x="106" y="186"/>
                </a:lnTo>
                <a:lnTo>
                  <a:pt x="106" y="192"/>
                </a:lnTo>
                <a:lnTo>
                  <a:pt x="112" y="186"/>
                </a:lnTo>
                <a:lnTo>
                  <a:pt x="116" y="180"/>
                </a:lnTo>
                <a:lnTo>
                  <a:pt x="120" y="184"/>
                </a:lnTo>
                <a:lnTo>
                  <a:pt x="120" y="190"/>
                </a:lnTo>
                <a:lnTo>
                  <a:pt x="128" y="190"/>
                </a:lnTo>
                <a:lnTo>
                  <a:pt x="132" y="192"/>
                </a:lnTo>
                <a:lnTo>
                  <a:pt x="140" y="198"/>
                </a:lnTo>
                <a:lnTo>
                  <a:pt x="140" y="212"/>
                </a:lnTo>
                <a:lnTo>
                  <a:pt x="146" y="216"/>
                </a:lnTo>
                <a:lnTo>
                  <a:pt x="150" y="224"/>
                </a:lnTo>
                <a:lnTo>
                  <a:pt x="160" y="224"/>
                </a:lnTo>
                <a:lnTo>
                  <a:pt x="164" y="230"/>
                </a:lnTo>
                <a:lnTo>
                  <a:pt x="174" y="234"/>
                </a:lnTo>
                <a:lnTo>
                  <a:pt x="176" y="240"/>
                </a:lnTo>
                <a:lnTo>
                  <a:pt x="178" y="248"/>
                </a:lnTo>
                <a:lnTo>
                  <a:pt x="180" y="260"/>
                </a:lnTo>
                <a:lnTo>
                  <a:pt x="184" y="264"/>
                </a:lnTo>
                <a:lnTo>
                  <a:pt x="190" y="262"/>
                </a:lnTo>
                <a:lnTo>
                  <a:pt x="194" y="270"/>
                </a:lnTo>
                <a:lnTo>
                  <a:pt x="196" y="278"/>
                </a:lnTo>
                <a:lnTo>
                  <a:pt x="196" y="282"/>
                </a:lnTo>
                <a:lnTo>
                  <a:pt x="202" y="282"/>
                </a:lnTo>
                <a:lnTo>
                  <a:pt x="212" y="284"/>
                </a:lnTo>
                <a:lnTo>
                  <a:pt x="218" y="284"/>
                </a:lnTo>
                <a:lnTo>
                  <a:pt x="228" y="280"/>
                </a:lnTo>
                <a:lnTo>
                  <a:pt x="232" y="278"/>
                </a:lnTo>
                <a:lnTo>
                  <a:pt x="236" y="284"/>
                </a:lnTo>
                <a:lnTo>
                  <a:pt x="236" y="294"/>
                </a:lnTo>
                <a:lnTo>
                  <a:pt x="242" y="294"/>
                </a:lnTo>
                <a:lnTo>
                  <a:pt x="246" y="292"/>
                </a:lnTo>
                <a:lnTo>
                  <a:pt x="250" y="288"/>
                </a:lnTo>
                <a:lnTo>
                  <a:pt x="254" y="288"/>
                </a:lnTo>
                <a:lnTo>
                  <a:pt x="260" y="292"/>
                </a:lnTo>
                <a:lnTo>
                  <a:pt x="264" y="294"/>
                </a:lnTo>
                <a:lnTo>
                  <a:pt x="266" y="298"/>
                </a:lnTo>
                <a:lnTo>
                  <a:pt x="268" y="298"/>
                </a:lnTo>
                <a:lnTo>
                  <a:pt x="272" y="304"/>
                </a:lnTo>
                <a:lnTo>
                  <a:pt x="278" y="306"/>
                </a:lnTo>
                <a:lnTo>
                  <a:pt x="280" y="310"/>
                </a:lnTo>
                <a:lnTo>
                  <a:pt x="284" y="310"/>
                </a:lnTo>
                <a:lnTo>
                  <a:pt x="288" y="314"/>
                </a:lnTo>
                <a:lnTo>
                  <a:pt x="290" y="318"/>
                </a:lnTo>
                <a:lnTo>
                  <a:pt x="296" y="320"/>
                </a:lnTo>
                <a:lnTo>
                  <a:pt x="298" y="318"/>
                </a:lnTo>
                <a:lnTo>
                  <a:pt x="298" y="314"/>
                </a:lnTo>
                <a:lnTo>
                  <a:pt x="300" y="312"/>
                </a:lnTo>
                <a:lnTo>
                  <a:pt x="306" y="310"/>
                </a:lnTo>
                <a:lnTo>
                  <a:pt x="312" y="310"/>
                </a:lnTo>
                <a:lnTo>
                  <a:pt x="316" y="312"/>
                </a:lnTo>
                <a:lnTo>
                  <a:pt x="316" y="316"/>
                </a:lnTo>
                <a:lnTo>
                  <a:pt x="316" y="322"/>
                </a:lnTo>
                <a:lnTo>
                  <a:pt x="318" y="328"/>
                </a:lnTo>
                <a:lnTo>
                  <a:pt x="322" y="324"/>
                </a:lnTo>
                <a:lnTo>
                  <a:pt x="324" y="322"/>
                </a:lnTo>
                <a:lnTo>
                  <a:pt x="330" y="322"/>
                </a:lnTo>
                <a:lnTo>
                  <a:pt x="334" y="322"/>
                </a:lnTo>
                <a:lnTo>
                  <a:pt x="334" y="328"/>
                </a:lnTo>
                <a:lnTo>
                  <a:pt x="334" y="330"/>
                </a:lnTo>
                <a:lnTo>
                  <a:pt x="342" y="330"/>
                </a:lnTo>
                <a:lnTo>
                  <a:pt x="346" y="332"/>
                </a:lnTo>
                <a:lnTo>
                  <a:pt x="352" y="332"/>
                </a:lnTo>
                <a:lnTo>
                  <a:pt x="360" y="330"/>
                </a:lnTo>
                <a:lnTo>
                  <a:pt x="366" y="328"/>
                </a:lnTo>
                <a:lnTo>
                  <a:pt x="368" y="324"/>
                </a:lnTo>
                <a:lnTo>
                  <a:pt x="370" y="322"/>
                </a:lnTo>
                <a:lnTo>
                  <a:pt x="368" y="318"/>
                </a:lnTo>
                <a:lnTo>
                  <a:pt x="368" y="312"/>
                </a:lnTo>
                <a:lnTo>
                  <a:pt x="370" y="306"/>
                </a:lnTo>
                <a:lnTo>
                  <a:pt x="372" y="300"/>
                </a:lnTo>
                <a:lnTo>
                  <a:pt x="376" y="298"/>
                </a:lnTo>
                <a:lnTo>
                  <a:pt x="386" y="298"/>
                </a:lnTo>
                <a:lnTo>
                  <a:pt x="388" y="294"/>
                </a:lnTo>
                <a:lnTo>
                  <a:pt x="388" y="288"/>
                </a:lnTo>
                <a:lnTo>
                  <a:pt x="390" y="282"/>
                </a:lnTo>
                <a:lnTo>
                  <a:pt x="390" y="276"/>
                </a:lnTo>
                <a:lnTo>
                  <a:pt x="394" y="270"/>
                </a:lnTo>
                <a:lnTo>
                  <a:pt x="406" y="270"/>
                </a:lnTo>
                <a:lnTo>
                  <a:pt x="408" y="266"/>
                </a:lnTo>
                <a:lnTo>
                  <a:pt x="408" y="256"/>
                </a:lnTo>
                <a:lnTo>
                  <a:pt x="410" y="248"/>
                </a:lnTo>
                <a:lnTo>
                  <a:pt x="404" y="240"/>
                </a:lnTo>
                <a:lnTo>
                  <a:pt x="400" y="238"/>
                </a:lnTo>
                <a:lnTo>
                  <a:pt x="400" y="232"/>
                </a:lnTo>
                <a:lnTo>
                  <a:pt x="394" y="230"/>
                </a:lnTo>
                <a:lnTo>
                  <a:pt x="398" y="216"/>
                </a:lnTo>
                <a:lnTo>
                  <a:pt x="398" y="212"/>
                </a:lnTo>
                <a:lnTo>
                  <a:pt x="390" y="206"/>
                </a:lnTo>
                <a:lnTo>
                  <a:pt x="388" y="198"/>
                </a:lnTo>
                <a:lnTo>
                  <a:pt x="388" y="192"/>
                </a:lnTo>
                <a:lnTo>
                  <a:pt x="386" y="188"/>
                </a:lnTo>
                <a:lnTo>
                  <a:pt x="386" y="184"/>
                </a:lnTo>
                <a:lnTo>
                  <a:pt x="388" y="176"/>
                </a:lnTo>
                <a:lnTo>
                  <a:pt x="392" y="172"/>
                </a:lnTo>
                <a:lnTo>
                  <a:pt x="394" y="168"/>
                </a:lnTo>
                <a:lnTo>
                  <a:pt x="398" y="166"/>
                </a:lnTo>
                <a:lnTo>
                  <a:pt x="402" y="158"/>
                </a:lnTo>
                <a:lnTo>
                  <a:pt x="400" y="150"/>
                </a:lnTo>
                <a:lnTo>
                  <a:pt x="402" y="144"/>
                </a:lnTo>
                <a:lnTo>
                  <a:pt x="406" y="142"/>
                </a:lnTo>
                <a:lnTo>
                  <a:pt x="412" y="140"/>
                </a:lnTo>
                <a:lnTo>
                  <a:pt x="422" y="142"/>
                </a:lnTo>
                <a:lnTo>
                  <a:pt x="426" y="142"/>
                </a:lnTo>
                <a:lnTo>
                  <a:pt x="428" y="142"/>
                </a:lnTo>
                <a:lnTo>
                  <a:pt x="426" y="136"/>
                </a:lnTo>
                <a:lnTo>
                  <a:pt x="428" y="126"/>
                </a:lnTo>
                <a:lnTo>
                  <a:pt x="432" y="124"/>
                </a:lnTo>
                <a:lnTo>
                  <a:pt x="438" y="124"/>
                </a:lnTo>
                <a:lnTo>
                  <a:pt x="440" y="120"/>
                </a:lnTo>
                <a:lnTo>
                  <a:pt x="438" y="114"/>
                </a:lnTo>
                <a:lnTo>
                  <a:pt x="434" y="108"/>
                </a:lnTo>
                <a:lnTo>
                  <a:pt x="434" y="106"/>
                </a:lnTo>
                <a:lnTo>
                  <a:pt x="434" y="104"/>
                </a:lnTo>
                <a:lnTo>
                  <a:pt x="438" y="102"/>
                </a:lnTo>
                <a:lnTo>
                  <a:pt x="440" y="100"/>
                </a:lnTo>
                <a:lnTo>
                  <a:pt x="446" y="96"/>
                </a:lnTo>
                <a:lnTo>
                  <a:pt x="452" y="96"/>
                </a:lnTo>
                <a:lnTo>
                  <a:pt x="456" y="90"/>
                </a:lnTo>
                <a:lnTo>
                  <a:pt x="460" y="96"/>
                </a:lnTo>
                <a:lnTo>
                  <a:pt x="462" y="100"/>
                </a:lnTo>
                <a:lnTo>
                  <a:pt x="464" y="104"/>
                </a:lnTo>
                <a:lnTo>
                  <a:pt x="472" y="98"/>
                </a:lnTo>
                <a:lnTo>
                  <a:pt x="476" y="94"/>
                </a:lnTo>
                <a:lnTo>
                  <a:pt x="476" y="86"/>
                </a:lnTo>
                <a:lnTo>
                  <a:pt x="472" y="80"/>
                </a:lnTo>
                <a:lnTo>
                  <a:pt x="468" y="76"/>
                </a:lnTo>
                <a:lnTo>
                  <a:pt x="468" y="66"/>
                </a:lnTo>
                <a:lnTo>
                  <a:pt x="464" y="64"/>
                </a:lnTo>
                <a:lnTo>
                  <a:pt x="470" y="60"/>
                </a:lnTo>
                <a:lnTo>
                  <a:pt x="472" y="52"/>
                </a:lnTo>
                <a:lnTo>
                  <a:pt x="474" y="50"/>
                </a:lnTo>
                <a:lnTo>
                  <a:pt x="472" y="42"/>
                </a:lnTo>
                <a:lnTo>
                  <a:pt x="468" y="40"/>
                </a:lnTo>
                <a:lnTo>
                  <a:pt x="464" y="30"/>
                </a:lnTo>
                <a:lnTo>
                  <a:pt x="462" y="24"/>
                </a:lnTo>
                <a:lnTo>
                  <a:pt x="464" y="18"/>
                </a:lnTo>
                <a:lnTo>
                  <a:pt x="462" y="10"/>
                </a:lnTo>
                <a:lnTo>
                  <a:pt x="456" y="12"/>
                </a:lnTo>
                <a:lnTo>
                  <a:pt x="450" y="0"/>
                </a:lnTo>
                <a:lnTo>
                  <a:pt x="384" y="0"/>
                </a:lnTo>
                <a:lnTo>
                  <a:pt x="370" y="0"/>
                </a:lnTo>
                <a:lnTo>
                  <a:pt x="348" y="4"/>
                </a:lnTo>
                <a:lnTo>
                  <a:pt x="96" y="4"/>
                </a:lnTo>
                <a:lnTo>
                  <a:pt x="98" y="6"/>
                </a:lnTo>
                <a:lnTo>
                  <a:pt x="98" y="8"/>
                </a:lnTo>
                <a:lnTo>
                  <a:pt x="102" y="12"/>
                </a:lnTo>
                <a:lnTo>
                  <a:pt x="98" y="16"/>
                </a:lnTo>
                <a:lnTo>
                  <a:pt x="98" y="18"/>
                </a:lnTo>
                <a:lnTo>
                  <a:pt x="96" y="22"/>
                </a:lnTo>
                <a:lnTo>
                  <a:pt x="94" y="24"/>
                </a:lnTo>
                <a:lnTo>
                  <a:pt x="90" y="26"/>
                </a:lnTo>
                <a:lnTo>
                  <a:pt x="82" y="28"/>
                </a:lnTo>
                <a:lnTo>
                  <a:pt x="80" y="28"/>
                </a:lnTo>
                <a:lnTo>
                  <a:pt x="76" y="30"/>
                </a:lnTo>
                <a:lnTo>
                  <a:pt x="74" y="32"/>
                </a:lnTo>
                <a:lnTo>
                  <a:pt x="72" y="34"/>
                </a:lnTo>
                <a:lnTo>
                  <a:pt x="70" y="40"/>
                </a:lnTo>
                <a:lnTo>
                  <a:pt x="70" y="42"/>
                </a:lnTo>
                <a:lnTo>
                  <a:pt x="70" y="46"/>
                </a:lnTo>
                <a:lnTo>
                  <a:pt x="70" y="50"/>
                </a:lnTo>
                <a:lnTo>
                  <a:pt x="70" y="58"/>
                </a:lnTo>
                <a:lnTo>
                  <a:pt x="70" y="62"/>
                </a:lnTo>
                <a:lnTo>
                  <a:pt x="70" y="66"/>
                </a:lnTo>
                <a:lnTo>
                  <a:pt x="70" y="68"/>
                </a:lnTo>
                <a:lnTo>
                  <a:pt x="70" y="72"/>
                </a:lnTo>
                <a:lnTo>
                  <a:pt x="68" y="80"/>
                </a:lnTo>
                <a:lnTo>
                  <a:pt x="68" y="84"/>
                </a:lnTo>
                <a:lnTo>
                  <a:pt x="64" y="94"/>
                </a:lnTo>
                <a:lnTo>
                  <a:pt x="62" y="102"/>
                </a:lnTo>
                <a:lnTo>
                  <a:pt x="62" y="104"/>
                </a:lnTo>
                <a:lnTo>
                  <a:pt x="60" y="108"/>
                </a:lnTo>
                <a:lnTo>
                  <a:pt x="58" y="114"/>
                </a:lnTo>
                <a:lnTo>
                  <a:pt x="56" y="116"/>
                </a:lnTo>
                <a:lnTo>
                  <a:pt x="54" y="116"/>
                </a:lnTo>
                <a:lnTo>
                  <a:pt x="52" y="118"/>
                </a:lnTo>
                <a:lnTo>
                  <a:pt x="46" y="120"/>
                </a:lnTo>
                <a:lnTo>
                  <a:pt x="42" y="120"/>
                </a:lnTo>
                <a:lnTo>
                  <a:pt x="38" y="120"/>
                </a:lnTo>
                <a:lnTo>
                  <a:pt x="36" y="120"/>
                </a:lnTo>
                <a:lnTo>
                  <a:pt x="30" y="120"/>
                </a:lnTo>
                <a:lnTo>
                  <a:pt x="24" y="120"/>
                </a:lnTo>
                <a:lnTo>
                  <a:pt x="22" y="120"/>
                </a:lnTo>
                <a:lnTo>
                  <a:pt x="20" y="120"/>
                </a:lnTo>
                <a:lnTo>
                  <a:pt x="16" y="120"/>
                </a:lnTo>
                <a:lnTo>
                  <a:pt x="10" y="122"/>
                </a:lnTo>
                <a:lnTo>
                  <a:pt x="6" y="126"/>
                </a:lnTo>
                <a:lnTo>
                  <a:pt x="4" y="126"/>
                </a:lnTo>
                <a:lnTo>
                  <a:pt x="4" y="130"/>
                </a:lnTo>
                <a:lnTo>
                  <a:pt x="2" y="130"/>
                </a:lnTo>
                <a:lnTo>
                  <a:pt x="0" y="134"/>
                </a:lnTo>
                <a:lnTo>
                  <a:pt x="46" y="162"/>
                </a:lnTo>
                <a:lnTo>
                  <a:pt x="80" y="138"/>
                </a:lnTo>
                <a:close/>
              </a:path>
            </a:pathLst>
          </a:custGeom>
          <a:solidFill>
            <a:srgbClr val="F1B728"/>
          </a:solidFill>
          <a:ln w="6350">
            <a:solidFill>
              <a:schemeClr val="tx1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457200">
              <a:defRPr/>
            </a:pPr>
            <a:endParaRPr lang="en-US" kern="0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89" name="Rectangle 67">
            <a:extLst>
              <a:ext uri="{FF2B5EF4-FFF2-40B4-BE49-F238E27FC236}">
                <a16:creationId xmlns:a16="http://schemas.microsoft.com/office/drawing/2014/main" id="{49008650-297B-EFB7-06ED-DC0469A4E6C4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77890" y="2401570"/>
            <a:ext cx="327659" cy="1077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lIns="0" tIns="0" rIns="0" bIns="0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defTabSz="457200">
              <a:spcBef>
                <a:spcPct val="0"/>
              </a:spcBef>
              <a:buNone/>
              <a:defRPr/>
            </a:pPr>
            <a:r>
              <a:rPr lang="en-US" altLang="en-US" sz="700" kern="0" dirty="0">
                <a:latin typeface="Arial" panose="020B0604020202020204" pitchFamily="34" charset="0"/>
              </a:rPr>
              <a:t>Wetzel</a:t>
            </a:r>
            <a:endParaRPr lang="en-US" altLang="en-US" sz="1800" kern="0" dirty="0">
              <a:latin typeface="Arial" panose="020B0604020202020204" pitchFamily="34" charset="0"/>
            </a:endParaRPr>
          </a:p>
        </p:txBody>
      </p:sp>
      <p:sp>
        <p:nvSpPr>
          <p:cNvPr id="190" name="Rectangle 68">
            <a:extLst>
              <a:ext uri="{FF2B5EF4-FFF2-40B4-BE49-F238E27FC236}">
                <a16:creationId xmlns:a16="http://schemas.microsoft.com/office/drawing/2014/main" id="{A8E8D4E4-6CCE-060C-C88C-BABDD57B8C45}"/>
              </a:ext>
            </a:extLst>
          </p:cNvPr>
          <p:cNvSpPr>
            <a:spLocks noChangeArrowheads="1"/>
          </p:cNvSpPr>
          <p:nvPr/>
        </p:nvSpPr>
        <p:spPr bwMode="auto">
          <a:xfrm rot="20058636">
            <a:off x="3388912" y="2739958"/>
            <a:ext cx="392736" cy="1077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lIns="0" tIns="0" rIns="0" bIns="0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defTabSz="457200">
              <a:spcBef>
                <a:spcPct val="0"/>
              </a:spcBef>
              <a:buNone/>
              <a:defRPr/>
            </a:pPr>
            <a:r>
              <a:rPr lang="en-US" altLang="en-US" sz="700" kern="0" dirty="0">
                <a:latin typeface="Arial" panose="020B0604020202020204" pitchFamily="34" charset="0"/>
              </a:rPr>
              <a:t>Pleasants</a:t>
            </a:r>
            <a:endParaRPr lang="en-US" altLang="en-US" sz="1800" kern="0" dirty="0">
              <a:latin typeface="Arial" panose="020B0604020202020204" pitchFamily="34" charset="0"/>
            </a:endParaRPr>
          </a:p>
        </p:txBody>
      </p:sp>
      <p:sp>
        <p:nvSpPr>
          <p:cNvPr id="191" name="Rectangle 69">
            <a:extLst>
              <a:ext uri="{FF2B5EF4-FFF2-40B4-BE49-F238E27FC236}">
                <a16:creationId xmlns:a16="http://schemas.microsoft.com/office/drawing/2014/main" id="{38341E97-D344-A022-16D1-D139B39174AD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45189" y="2167597"/>
            <a:ext cx="338234" cy="1077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lIns="0" tIns="0" rIns="0" bIns="0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defTabSz="457200">
              <a:spcBef>
                <a:spcPct val="0"/>
              </a:spcBef>
              <a:buNone/>
              <a:defRPr/>
            </a:pPr>
            <a:r>
              <a:rPr lang="en-US" altLang="en-US" sz="700" kern="0" dirty="0">
                <a:latin typeface="Arial" panose="020B0604020202020204" pitchFamily="34" charset="0"/>
              </a:rPr>
              <a:t>Marshall</a:t>
            </a:r>
            <a:endParaRPr lang="en-US" altLang="en-US" sz="1800" kern="0" dirty="0">
              <a:latin typeface="Arial" panose="020B0604020202020204" pitchFamily="34" charset="0"/>
            </a:endParaRPr>
          </a:p>
        </p:txBody>
      </p:sp>
      <p:sp>
        <p:nvSpPr>
          <p:cNvPr id="192" name="Rectangle 71">
            <a:extLst>
              <a:ext uri="{FF2B5EF4-FFF2-40B4-BE49-F238E27FC236}">
                <a16:creationId xmlns:a16="http://schemas.microsoft.com/office/drawing/2014/main" id="{CFFD74DC-C610-1580-D3E7-73270E2CB203}"/>
              </a:ext>
            </a:extLst>
          </p:cNvPr>
          <p:cNvSpPr>
            <a:spLocks noChangeArrowheads="1"/>
          </p:cNvSpPr>
          <p:nvPr/>
        </p:nvSpPr>
        <p:spPr bwMode="auto">
          <a:xfrm>
            <a:off x="3073400" y="3027680"/>
            <a:ext cx="234038" cy="107722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defTabSz="457200">
              <a:spcBef>
                <a:spcPct val="0"/>
              </a:spcBef>
              <a:buNone/>
              <a:defRPr/>
            </a:pPr>
            <a:r>
              <a:rPr lang="en-US" altLang="en-US" sz="700" kern="0" dirty="0">
                <a:latin typeface="Arial" panose="020B0604020202020204" pitchFamily="34" charset="0"/>
              </a:rPr>
              <a:t>Wood</a:t>
            </a:r>
            <a:endParaRPr lang="en-US" altLang="en-US" sz="1800" kern="0" dirty="0">
              <a:latin typeface="Arial" panose="020B0604020202020204" pitchFamily="34" charset="0"/>
            </a:endParaRPr>
          </a:p>
        </p:txBody>
      </p:sp>
      <p:sp>
        <p:nvSpPr>
          <p:cNvPr id="193" name="Rectangle 72">
            <a:extLst>
              <a:ext uri="{FF2B5EF4-FFF2-40B4-BE49-F238E27FC236}">
                <a16:creationId xmlns:a16="http://schemas.microsoft.com/office/drawing/2014/main" id="{74877531-C514-4FF1-1235-9C2A6959DAD4}"/>
              </a:ext>
            </a:extLst>
          </p:cNvPr>
          <p:cNvSpPr>
            <a:spLocks noChangeArrowheads="1"/>
          </p:cNvSpPr>
          <p:nvPr/>
        </p:nvSpPr>
        <p:spPr bwMode="auto">
          <a:xfrm>
            <a:off x="3268980" y="3246120"/>
            <a:ext cx="160300" cy="1077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lIns="0" tIns="0" rIns="0" bIns="0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defTabSz="457200">
              <a:spcBef>
                <a:spcPct val="0"/>
              </a:spcBef>
              <a:buNone/>
              <a:defRPr/>
            </a:pPr>
            <a:r>
              <a:rPr lang="en-US" altLang="en-US" sz="700" kern="0" dirty="0">
                <a:latin typeface="Arial" panose="020B0604020202020204" pitchFamily="34" charset="0"/>
              </a:rPr>
              <a:t>Wirt</a:t>
            </a:r>
            <a:endParaRPr lang="en-US" altLang="en-US" sz="1800" kern="0" dirty="0">
              <a:latin typeface="Arial" panose="020B0604020202020204" pitchFamily="34" charset="0"/>
            </a:endParaRPr>
          </a:p>
        </p:txBody>
      </p:sp>
      <p:sp>
        <p:nvSpPr>
          <p:cNvPr id="194" name="Rectangle 73">
            <a:extLst>
              <a:ext uri="{FF2B5EF4-FFF2-40B4-BE49-F238E27FC236}">
                <a16:creationId xmlns:a16="http://schemas.microsoft.com/office/drawing/2014/main" id="{0AEB2684-02CC-5D99-9ECF-1AB3F38A2BED}"/>
              </a:ext>
            </a:extLst>
          </p:cNvPr>
          <p:cNvSpPr>
            <a:spLocks noChangeArrowheads="1"/>
          </p:cNvSpPr>
          <p:nvPr/>
        </p:nvSpPr>
        <p:spPr bwMode="auto">
          <a:xfrm>
            <a:off x="5468620" y="3751580"/>
            <a:ext cx="402354" cy="1077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lIns="0" tIns="0" rIns="0" bIns="0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defTabSz="457200">
              <a:spcBef>
                <a:spcPct val="0"/>
              </a:spcBef>
              <a:buNone/>
              <a:defRPr/>
            </a:pPr>
            <a:r>
              <a:rPr lang="en-US" altLang="en-US" sz="700" kern="0" dirty="0">
                <a:latin typeface="Arial" panose="020B0604020202020204" pitchFamily="34" charset="0"/>
              </a:rPr>
              <a:t>Pendleton</a:t>
            </a:r>
            <a:endParaRPr lang="en-US" altLang="en-US" sz="1800" kern="0" dirty="0">
              <a:latin typeface="Arial" panose="020B0604020202020204" pitchFamily="34" charset="0"/>
            </a:endParaRPr>
          </a:p>
        </p:txBody>
      </p:sp>
      <p:sp>
        <p:nvSpPr>
          <p:cNvPr id="195" name="Rectangle 74">
            <a:extLst>
              <a:ext uri="{FF2B5EF4-FFF2-40B4-BE49-F238E27FC236}">
                <a16:creationId xmlns:a16="http://schemas.microsoft.com/office/drawing/2014/main" id="{06DF8C01-B1AD-1C57-2F0E-A850FEA13456}"/>
              </a:ext>
            </a:extLst>
          </p:cNvPr>
          <p:cNvSpPr>
            <a:spLocks noChangeArrowheads="1"/>
          </p:cNvSpPr>
          <p:nvPr/>
        </p:nvSpPr>
        <p:spPr bwMode="auto">
          <a:xfrm>
            <a:off x="4879343" y="3563620"/>
            <a:ext cx="381515" cy="1077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lIns="0" tIns="0" rIns="0" bIns="0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defTabSz="457200">
              <a:spcBef>
                <a:spcPct val="0"/>
              </a:spcBef>
              <a:buNone/>
              <a:defRPr/>
            </a:pPr>
            <a:r>
              <a:rPr lang="en-US" altLang="en-US" sz="700" kern="0" dirty="0">
                <a:latin typeface="Arial" panose="020B0604020202020204" pitchFamily="34" charset="0"/>
              </a:rPr>
              <a:t>Randolph</a:t>
            </a:r>
            <a:endParaRPr lang="en-US" altLang="en-US" sz="1800" kern="0" dirty="0">
              <a:latin typeface="Arial" panose="020B0604020202020204" pitchFamily="34" charset="0"/>
            </a:endParaRPr>
          </a:p>
        </p:txBody>
      </p:sp>
      <p:sp>
        <p:nvSpPr>
          <p:cNvPr id="196" name="Rectangle 75">
            <a:extLst>
              <a:ext uri="{FF2B5EF4-FFF2-40B4-BE49-F238E27FC236}">
                <a16:creationId xmlns:a16="http://schemas.microsoft.com/office/drawing/2014/main" id="{A2AB840B-461F-D931-807F-9657E696149B}"/>
              </a:ext>
            </a:extLst>
          </p:cNvPr>
          <p:cNvSpPr>
            <a:spLocks noChangeArrowheads="1"/>
          </p:cNvSpPr>
          <p:nvPr/>
        </p:nvSpPr>
        <p:spPr bwMode="auto">
          <a:xfrm>
            <a:off x="6217923" y="2842263"/>
            <a:ext cx="375103" cy="92333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defTabSz="457200">
              <a:spcBef>
                <a:spcPct val="0"/>
              </a:spcBef>
              <a:buNone/>
              <a:defRPr/>
            </a:pPr>
            <a:r>
              <a:rPr lang="en-US" altLang="en-US" sz="600" kern="0" dirty="0">
                <a:latin typeface="Arial" panose="020B0604020202020204" pitchFamily="34" charset="0"/>
              </a:rPr>
              <a:t>Hampshire</a:t>
            </a:r>
            <a:endParaRPr lang="en-US" altLang="en-US" sz="1800" kern="0" dirty="0">
              <a:latin typeface="Arial" panose="020B0604020202020204" pitchFamily="34" charset="0"/>
            </a:endParaRPr>
          </a:p>
        </p:txBody>
      </p:sp>
      <p:sp>
        <p:nvSpPr>
          <p:cNvPr id="197" name="Rectangle 76">
            <a:extLst>
              <a:ext uri="{FF2B5EF4-FFF2-40B4-BE49-F238E27FC236}">
                <a16:creationId xmlns:a16="http://schemas.microsoft.com/office/drawing/2014/main" id="{DE7E2E3D-1721-4C8D-59DE-5AF64841BA41}"/>
              </a:ext>
            </a:extLst>
          </p:cNvPr>
          <p:cNvSpPr>
            <a:spLocks noChangeArrowheads="1"/>
          </p:cNvSpPr>
          <p:nvPr/>
        </p:nvSpPr>
        <p:spPr bwMode="auto">
          <a:xfrm>
            <a:off x="5838460" y="2730682"/>
            <a:ext cx="293350" cy="1077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lIns="0" tIns="0" rIns="0" bIns="0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defTabSz="457200">
              <a:spcBef>
                <a:spcPct val="0"/>
              </a:spcBef>
              <a:buNone/>
              <a:defRPr/>
            </a:pPr>
            <a:r>
              <a:rPr lang="en-US" altLang="en-US" sz="700" kern="0" dirty="0">
                <a:solidFill>
                  <a:prstClr val="white"/>
                </a:solidFill>
                <a:latin typeface="Arial" panose="020B0604020202020204" pitchFamily="34" charset="0"/>
              </a:rPr>
              <a:t>Mineral</a:t>
            </a:r>
            <a:endParaRPr lang="en-US" altLang="en-US" sz="1800" kern="0" dirty="0">
              <a:solidFill>
                <a:prstClr val="white"/>
              </a:solidFill>
              <a:latin typeface="Arial" panose="020B0604020202020204" pitchFamily="34" charset="0"/>
            </a:endParaRPr>
          </a:p>
        </p:txBody>
      </p:sp>
      <p:sp>
        <p:nvSpPr>
          <p:cNvPr id="198" name="Rectangle 77">
            <a:extLst>
              <a:ext uri="{FF2B5EF4-FFF2-40B4-BE49-F238E27FC236}">
                <a16:creationId xmlns:a16="http://schemas.microsoft.com/office/drawing/2014/main" id="{7052562B-EBF3-89E4-CE57-426FDE0B228C}"/>
              </a:ext>
            </a:extLst>
          </p:cNvPr>
          <p:cNvSpPr>
            <a:spLocks noChangeArrowheads="1"/>
          </p:cNvSpPr>
          <p:nvPr/>
        </p:nvSpPr>
        <p:spPr bwMode="auto">
          <a:xfrm>
            <a:off x="5674396" y="2996158"/>
            <a:ext cx="226024" cy="1077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lIns="0" tIns="0" rIns="0" bIns="0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defTabSz="457200">
              <a:spcBef>
                <a:spcPct val="0"/>
              </a:spcBef>
              <a:buNone/>
              <a:defRPr/>
            </a:pPr>
            <a:r>
              <a:rPr lang="en-US" altLang="en-US" sz="700" kern="0" dirty="0">
                <a:latin typeface="Arial" panose="020B0604020202020204" pitchFamily="34" charset="0"/>
              </a:rPr>
              <a:t>Grant</a:t>
            </a:r>
            <a:endParaRPr lang="en-US" altLang="en-US" sz="1800" kern="0" dirty="0">
              <a:latin typeface="Arial" panose="020B0604020202020204" pitchFamily="34" charset="0"/>
            </a:endParaRPr>
          </a:p>
        </p:txBody>
      </p:sp>
      <p:sp>
        <p:nvSpPr>
          <p:cNvPr id="199" name="Rectangle 78">
            <a:extLst>
              <a:ext uri="{FF2B5EF4-FFF2-40B4-BE49-F238E27FC236}">
                <a16:creationId xmlns:a16="http://schemas.microsoft.com/office/drawing/2014/main" id="{09018866-174F-88E7-CCA6-4B3DCD42F3EB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62980" y="3185160"/>
            <a:ext cx="238848" cy="107722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defTabSz="457200">
              <a:spcBef>
                <a:spcPct val="0"/>
              </a:spcBef>
              <a:buNone/>
              <a:defRPr/>
            </a:pPr>
            <a:r>
              <a:rPr lang="en-US" altLang="en-US" sz="700" kern="0" dirty="0">
                <a:latin typeface="Arial" panose="020B0604020202020204" pitchFamily="34" charset="0"/>
              </a:rPr>
              <a:t>Hardy</a:t>
            </a:r>
            <a:endParaRPr lang="en-US" altLang="en-US" sz="1800" kern="0" dirty="0">
              <a:latin typeface="Arial" panose="020B0604020202020204" pitchFamily="34" charset="0"/>
            </a:endParaRPr>
          </a:p>
        </p:txBody>
      </p:sp>
      <p:sp>
        <p:nvSpPr>
          <p:cNvPr id="200" name="Rectangle 79">
            <a:extLst>
              <a:ext uri="{FF2B5EF4-FFF2-40B4-BE49-F238E27FC236}">
                <a16:creationId xmlns:a16="http://schemas.microsoft.com/office/drawing/2014/main" id="{4C57AB32-0FAA-336F-C3BF-F23B518FD852}"/>
              </a:ext>
            </a:extLst>
          </p:cNvPr>
          <p:cNvSpPr>
            <a:spLocks noChangeArrowheads="1"/>
          </p:cNvSpPr>
          <p:nvPr/>
        </p:nvSpPr>
        <p:spPr bwMode="auto">
          <a:xfrm>
            <a:off x="6606540" y="2479040"/>
            <a:ext cx="214802" cy="76944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defTabSz="457200">
              <a:spcBef>
                <a:spcPct val="0"/>
              </a:spcBef>
              <a:buNone/>
              <a:defRPr/>
            </a:pPr>
            <a:r>
              <a:rPr lang="en-US" altLang="en-US" sz="500" kern="0" dirty="0">
                <a:latin typeface="Arial" panose="020B0604020202020204" pitchFamily="34" charset="0"/>
              </a:rPr>
              <a:t>Morgan</a:t>
            </a:r>
            <a:endParaRPr lang="en-US" altLang="en-US" sz="1800" kern="0" dirty="0">
              <a:latin typeface="Arial" panose="020B0604020202020204" pitchFamily="34" charset="0"/>
            </a:endParaRPr>
          </a:p>
        </p:txBody>
      </p:sp>
      <p:sp>
        <p:nvSpPr>
          <p:cNvPr id="201" name="Rectangle 80">
            <a:extLst>
              <a:ext uri="{FF2B5EF4-FFF2-40B4-BE49-F238E27FC236}">
                <a16:creationId xmlns:a16="http://schemas.microsoft.com/office/drawing/2014/main" id="{6230EEF9-FEDE-9B3C-F7C8-2B7266F39D19}"/>
              </a:ext>
            </a:extLst>
          </p:cNvPr>
          <p:cNvSpPr>
            <a:spLocks noChangeArrowheads="1"/>
          </p:cNvSpPr>
          <p:nvPr/>
        </p:nvSpPr>
        <p:spPr bwMode="auto">
          <a:xfrm>
            <a:off x="2438403" y="4460240"/>
            <a:ext cx="282129" cy="1077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lIns="0" tIns="0" rIns="0" bIns="0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defTabSz="457200">
              <a:spcBef>
                <a:spcPct val="0"/>
              </a:spcBef>
              <a:buNone/>
              <a:defRPr/>
            </a:pPr>
            <a:r>
              <a:rPr lang="en-US" altLang="en-US" sz="700" kern="0" dirty="0">
                <a:latin typeface="Arial" panose="020B0604020202020204" pitchFamily="34" charset="0"/>
              </a:rPr>
              <a:t>Lincoln</a:t>
            </a:r>
            <a:endParaRPr lang="en-US" altLang="en-US" sz="1800" kern="0" dirty="0">
              <a:latin typeface="Arial" panose="020B0604020202020204" pitchFamily="34" charset="0"/>
            </a:endParaRPr>
          </a:p>
        </p:txBody>
      </p:sp>
      <p:sp>
        <p:nvSpPr>
          <p:cNvPr id="202" name="Rectangle 81">
            <a:extLst>
              <a:ext uri="{FF2B5EF4-FFF2-40B4-BE49-F238E27FC236}">
                <a16:creationId xmlns:a16="http://schemas.microsoft.com/office/drawing/2014/main" id="{64261A26-14A0-05A3-8B4B-C9BDB6FE251C}"/>
              </a:ext>
            </a:extLst>
          </p:cNvPr>
          <p:cNvSpPr>
            <a:spLocks noChangeArrowheads="1"/>
          </p:cNvSpPr>
          <p:nvPr/>
        </p:nvSpPr>
        <p:spPr bwMode="auto">
          <a:xfrm>
            <a:off x="2296160" y="4104640"/>
            <a:ext cx="251672" cy="1077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lIns="0" tIns="0" rIns="0" bIns="0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defTabSz="457200">
              <a:spcBef>
                <a:spcPct val="0"/>
              </a:spcBef>
              <a:buNone/>
              <a:defRPr/>
            </a:pPr>
            <a:r>
              <a:rPr lang="en-US" altLang="en-US" sz="700" kern="0" dirty="0">
                <a:latin typeface="Arial" panose="020B0604020202020204" pitchFamily="34" charset="0"/>
              </a:rPr>
              <a:t>Cabell</a:t>
            </a:r>
            <a:endParaRPr lang="en-US" altLang="en-US" sz="1800" kern="0" dirty="0">
              <a:latin typeface="Arial" panose="020B0604020202020204" pitchFamily="34" charset="0"/>
            </a:endParaRPr>
          </a:p>
        </p:txBody>
      </p:sp>
      <p:sp>
        <p:nvSpPr>
          <p:cNvPr id="203" name="Rectangle 82">
            <a:extLst>
              <a:ext uri="{FF2B5EF4-FFF2-40B4-BE49-F238E27FC236}">
                <a16:creationId xmlns:a16="http://schemas.microsoft.com/office/drawing/2014/main" id="{4BD00236-5580-9976-8925-9F4B38376B32}"/>
              </a:ext>
            </a:extLst>
          </p:cNvPr>
          <p:cNvSpPr>
            <a:spLocks noChangeArrowheads="1"/>
          </p:cNvSpPr>
          <p:nvPr/>
        </p:nvSpPr>
        <p:spPr bwMode="auto">
          <a:xfrm>
            <a:off x="2860040" y="4678680"/>
            <a:ext cx="258084" cy="1077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lIns="0" tIns="0" rIns="0" bIns="0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defTabSz="457200">
              <a:spcBef>
                <a:spcPct val="0"/>
              </a:spcBef>
              <a:buNone/>
              <a:defRPr/>
            </a:pPr>
            <a:r>
              <a:rPr lang="en-US" altLang="en-US" sz="700" kern="0" dirty="0">
                <a:latin typeface="Arial" panose="020B0604020202020204" pitchFamily="34" charset="0"/>
              </a:rPr>
              <a:t>Boone</a:t>
            </a:r>
            <a:endParaRPr lang="en-US" altLang="en-US" sz="1800" kern="0" dirty="0">
              <a:latin typeface="Arial" panose="020B0604020202020204" pitchFamily="34" charset="0"/>
            </a:endParaRPr>
          </a:p>
        </p:txBody>
      </p:sp>
      <p:sp>
        <p:nvSpPr>
          <p:cNvPr id="204" name="Rectangle 83">
            <a:extLst>
              <a:ext uri="{FF2B5EF4-FFF2-40B4-BE49-F238E27FC236}">
                <a16:creationId xmlns:a16="http://schemas.microsoft.com/office/drawing/2014/main" id="{66CEF9B4-4225-9B41-E066-732097FC6201}"/>
              </a:ext>
            </a:extLst>
          </p:cNvPr>
          <p:cNvSpPr>
            <a:spLocks noChangeArrowheads="1"/>
          </p:cNvSpPr>
          <p:nvPr/>
        </p:nvSpPr>
        <p:spPr bwMode="auto">
          <a:xfrm>
            <a:off x="4066021" y="1752958"/>
            <a:ext cx="189154" cy="1077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lIns="0" tIns="0" rIns="0" bIns="0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defTabSz="457200">
              <a:spcBef>
                <a:spcPct val="0"/>
              </a:spcBef>
              <a:buNone/>
              <a:defRPr/>
            </a:pPr>
            <a:r>
              <a:rPr lang="en-US" altLang="en-US" sz="700" kern="0" dirty="0">
                <a:latin typeface="Arial" panose="020B0604020202020204" pitchFamily="34" charset="0"/>
              </a:rPr>
              <a:t>Ohio</a:t>
            </a:r>
          </a:p>
        </p:txBody>
      </p:sp>
      <p:sp>
        <p:nvSpPr>
          <p:cNvPr id="205" name="Rectangle 84">
            <a:extLst>
              <a:ext uri="{FF2B5EF4-FFF2-40B4-BE49-F238E27FC236}">
                <a16:creationId xmlns:a16="http://schemas.microsoft.com/office/drawing/2014/main" id="{06BE9C3B-16E9-62F0-6DAD-987F95AF79EE}"/>
              </a:ext>
            </a:extLst>
          </p:cNvPr>
          <p:cNvSpPr>
            <a:spLocks noChangeArrowheads="1"/>
          </p:cNvSpPr>
          <p:nvPr/>
        </p:nvSpPr>
        <p:spPr bwMode="auto">
          <a:xfrm>
            <a:off x="3853180" y="4358640"/>
            <a:ext cx="341440" cy="107722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defTabSz="457200">
              <a:spcBef>
                <a:spcPct val="0"/>
              </a:spcBef>
              <a:buNone/>
              <a:defRPr/>
            </a:pPr>
            <a:r>
              <a:rPr lang="en-US" altLang="en-US" sz="700" kern="0" dirty="0">
                <a:latin typeface="Arial" panose="020B0604020202020204" pitchFamily="34" charset="0"/>
              </a:rPr>
              <a:t>Nicholas</a:t>
            </a:r>
            <a:endParaRPr lang="en-US" altLang="en-US" sz="1800" kern="0" dirty="0">
              <a:latin typeface="Arial" panose="020B0604020202020204" pitchFamily="34" charset="0"/>
            </a:endParaRPr>
          </a:p>
        </p:txBody>
      </p:sp>
      <p:sp>
        <p:nvSpPr>
          <p:cNvPr id="206" name="Rectangle 85">
            <a:extLst>
              <a:ext uri="{FF2B5EF4-FFF2-40B4-BE49-F238E27FC236}">
                <a16:creationId xmlns:a16="http://schemas.microsoft.com/office/drawing/2014/main" id="{3A2844C2-C079-5175-635A-5FFC98EE6EF2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29103" y="4853940"/>
            <a:ext cx="429605" cy="1077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lIns="0" tIns="0" rIns="0" bIns="0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defTabSz="457200">
              <a:spcBef>
                <a:spcPct val="0"/>
              </a:spcBef>
              <a:buNone/>
              <a:defRPr/>
            </a:pPr>
            <a:r>
              <a:rPr lang="en-US" altLang="en-US" sz="700" kern="0" dirty="0">
                <a:latin typeface="Arial" panose="020B0604020202020204" pitchFamily="34" charset="0"/>
              </a:rPr>
              <a:t>Greenbrier</a:t>
            </a:r>
            <a:endParaRPr lang="en-US" altLang="en-US" sz="1800" kern="0" dirty="0">
              <a:latin typeface="Arial" panose="020B0604020202020204" pitchFamily="34" charset="0"/>
            </a:endParaRPr>
          </a:p>
        </p:txBody>
      </p:sp>
      <p:sp>
        <p:nvSpPr>
          <p:cNvPr id="207" name="Rectangle 86">
            <a:extLst>
              <a:ext uri="{FF2B5EF4-FFF2-40B4-BE49-F238E27FC236}">
                <a16:creationId xmlns:a16="http://schemas.microsoft.com/office/drawing/2014/main" id="{108C5D5C-6076-2FC3-BCFF-FB64358F0987}"/>
              </a:ext>
            </a:extLst>
          </p:cNvPr>
          <p:cNvSpPr>
            <a:spLocks noChangeArrowheads="1"/>
          </p:cNvSpPr>
          <p:nvPr/>
        </p:nvSpPr>
        <p:spPr bwMode="auto">
          <a:xfrm>
            <a:off x="3512820" y="4676140"/>
            <a:ext cx="299762" cy="1077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lIns="0" tIns="0" rIns="0" bIns="0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defTabSz="457200">
              <a:spcBef>
                <a:spcPct val="0"/>
              </a:spcBef>
              <a:buNone/>
              <a:defRPr/>
            </a:pPr>
            <a:r>
              <a:rPr lang="en-US" altLang="en-US" sz="700" kern="0" dirty="0">
                <a:latin typeface="Arial" panose="020B0604020202020204" pitchFamily="34" charset="0"/>
              </a:rPr>
              <a:t>Fayette</a:t>
            </a:r>
            <a:endParaRPr lang="en-US" altLang="en-US" sz="1800" kern="0" dirty="0">
              <a:latin typeface="Arial" panose="020B0604020202020204" pitchFamily="34" charset="0"/>
            </a:endParaRPr>
          </a:p>
        </p:txBody>
      </p:sp>
      <p:sp>
        <p:nvSpPr>
          <p:cNvPr id="208" name="Rectangle 87">
            <a:extLst>
              <a:ext uri="{FF2B5EF4-FFF2-40B4-BE49-F238E27FC236}">
                <a16:creationId xmlns:a16="http://schemas.microsoft.com/office/drawing/2014/main" id="{91405C80-DD41-C8B7-5C8E-DAE070378682}"/>
              </a:ext>
            </a:extLst>
          </p:cNvPr>
          <p:cNvSpPr>
            <a:spLocks noChangeArrowheads="1"/>
          </p:cNvSpPr>
          <p:nvPr/>
        </p:nvSpPr>
        <p:spPr bwMode="auto">
          <a:xfrm>
            <a:off x="2860040" y="3517900"/>
            <a:ext cx="328616" cy="107722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defTabSz="457200">
              <a:spcBef>
                <a:spcPct val="0"/>
              </a:spcBef>
              <a:buNone/>
              <a:defRPr/>
            </a:pPr>
            <a:r>
              <a:rPr lang="en-US" altLang="en-US" sz="700" kern="0" dirty="0">
                <a:latin typeface="Arial" panose="020B0604020202020204" pitchFamily="34" charset="0"/>
              </a:rPr>
              <a:t>Jackson</a:t>
            </a:r>
            <a:endParaRPr lang="en-US" altLang="en-US" sz="1800" kern="0" dirty="0">
              <a:latin typeface="Arial" panose="020B0604020202020204" pitchFamily="34" charset="0"/>
            </a:endParaRPr>
          </a:p>
        </p:txBody>
      </p:sp>
      <p:sp>
        <p:nvSpPr>
          <p:cNvPr id="209" name="Rectangle 88">
            <a:extLst>
              <a:ext uri="{FF2B5EF4-FFF2-40B4-BE49-F238E27FC236}">
                <a16:creationId xmlns:a16="http://schemas.microsoft.com/office/drawing/2014/main" id="{187B7BA7-4F7E-8C87-6428-172B17498F31}"/>
              </a:ext>
            </a:extLst>
          </p:cNvPr>
          <p:cNvSpPr>
            <a:spLocks noChangeArrowheads="1"/>
          </p:cNvSpPr>
          <p:nvPr/>
        </p:nvSpPr>
        <p:spPr bwMode="auto">
          <a:xfrm>
            <a:off x="3274060" y="3710940"/>
            <a:ext cx="262892" cy="1077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lIns="0" tIns="0" rIns="0" bIns="0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defTabSz="457200">
              <a:spcBef>
                <a:spcPct val="0"/>
              </a:spcBef>
              <a:buNone/>
              <a:defRPr/>
            </a:pPr>
            <a:r>
              <a:rPr lang="en-US" altLang="en-US" sz="700" kern="0" dirty="0">
                <a:latin typeface="Arial" panose="020B0604020202020204" pitchFamily="34" charset="0"/>
              </a:rPr>
              <a:t>Roane</a:t>
            </a:r>
            <a:endParaRPr lang="en-US" altLang="en-US" sz="1800" kern="0" dirty="0">
              <a:latin typeface="Arial" panose="020B0604020202020204" pitchFamily="34" charset="0"/>
            </a:endParaRPr>
          </a:p>
        </p:txBody>
      </p:sp>
      <p:sp>
        <p:nvSpPr>
          <p:cNvPr id="210" name="Rectangle 89">
            <a:extLst>
              <a:ext uri="{FF2B5EF4-FFF2-40B4-BE49-F238E27FC236}">
                <a16:creationId xmlns:a16="http://schemas.microsoft.com/office/drawing/2014/main" id="{34DCCDDD-3D2B-4A1F-A085-E7B94C7A0D30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03700" y="3281680"/>
            <a:ext cx="227626" cy="1077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lIns="0" tIns="0" rIns="0" bIns="0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defTabSz="457200">
              <a:spcBef>
                <a:spcPct val="0"/>
              </a:spcBef>
              <a:buNone/>
              <a:defRPr/>
            </a:pPr>
            <a:r>
              <a:rPr lang="en-US" altLang="en-US" sz="700" kern="0" dirty="0">
                <a:latin typeface="Arial" panose="020B0604020202020204" pitchFamily="34" charset="0"/>
              </a:rPr>
              <a:t>Lewis</a:t>
            </a:r>
            <a:endParaRPr lang="en-US" altLang="en-US" sz="1800" kern="0" dirty="0">
              <a:latin typeface="Arial" panose="020B0604020202020204" pitchFamily="34" charset="0"/>
            </a:endParaRPr>
          </a:p>
        </p:txBody>
      </p:sp>
      <p:sp>
        <p:nvSpPr>
          <p:cNvPr id="211" name="Rectangle 90">
            <a:extLst>
              <a:ext uri="{FF2B5EF4-FFF2-40B4-BE49-F238E27FC236}">
                <a16:creationId xmlns:a16="http://schemas.microsoft.com/office/drawing/2014/main" id="{C7003BE8-28A4-E3C6-46D7-B45C9E869E74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64660" y="2850682"/>
            <a:ext cx="419100" cy="1077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0" tIns="0" rIns="0" bIns="0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defTabSz="457200">
              <a:spcBef>
                <a:spcPct val="0"/>
              </a:spcBef>
              <a:buNone/>
              <a:defRPr/>
            </a:pPr>
            <a:r>
              <a:rPr lang="en-US" altLang="en-US" sz="700" kern="0" dirty="0">
                <a:latin typeface="Arial" panose="020B0604020202020204" pitchFamily="34" charset="0"/>
              </a:rPr>
              <a:t>Harrison</a:t>
            </a:r>
            <a:endParaRPr lang="en-US" altLang="en-US" sz="1800" kern="0" dirty="0">
              <a:latin typeface="Arial" panose="020B0604020202020204" pitchFamily="34" charset="0"/>
            </a:endParaRPr>
          </a:p>
        </p:txBody>
      </p:sp>
      <p:sp>
        <p:nvSpPr>
          <p:cNvPr id="212" name="Rectangle 91">
            <a:extLst>
              <a:ext uri="{FF2B5EF4-FFF2-40B4-BE49-F238E27FC236}">
                <a16:creationId xmlns:a16="http://schemas.microsoft.com/office/drawing/2014/main" id="{560101B4-BBE9-C3E9-EDA0-325B2A4F8F35}"/>
              </a:ext>
            </a:extLst>
          </p:cNvPr>
          <p:cNvSpPr>
            <a:spLocks noChangeArrowheads="1"/>
          </p:cNvSpPr>
          <p:nvPr/>
        </p:nvSpPr>
        <p:spPr bwMode="auto">
          <a:xfrm>
            <a:off x="4561843" y="2349500"/>
            <a:ext cx="461665" cy="1077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lIns="0" tIns="0" rIns="0" bIns="0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defTabSz="457200">
              <a:spcBef>
                <a:spcPct val="0"/>
              </a:spcBef>
              <a:buNone/>
              <a:defRPr/>
            </a:pPr>
            <a:r>
              <a:rPr lang="en-US" altLang="en-US" sz="700" kern="0" dirty="0">
                <a:latin typeface="Arial" panose="020B0604020202020204" pitchFamily="34" charset="0"/>
              </a:rPr>
              <a:t>Monongalia</a:t>
            </a:r>
            <a:endParaRPr lang="en-US" altLang="en-US" sz="1800" kern="0" dirty="0">
              <a:latin typeface="Arial" panose="020B0604020202020204" pitchFamily="34" charset="0"/>
            </a:endParaRPr>
          </a:p>
        </p:txBody>
      </p:sp>
      <p:sp>
        <p:nvSpPr>
          <p:cNvPr id="213" name="Rectangle 92">
            <a:extLst>
              <a:ext uri="{FF2B5EF4-FFF2-40B4-BE49-F238E27FC236}">
                <a16:creationId xmlns:a16="http://schemas.microsoft.com/office/drawing/2014/main" id="{81B4686E-ECC7-F6D1-2263-8D00FD964950}"/>
              </a:ext>
            </a:extLst>
          </p:cNvPr>
          <p:cNvSpPr>
            <a:spLocks noChangeArrowheads="1"/>
          </p:cNvSpPr>
          <p:nvPr/>
        </p:nvSpPr>
        <p:spPr bwMode="auto">
          <a:xfrm>
            <a:off x="2621280" y="3949700"/>
            <a:ext cx="309380" cy="107722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defTabSz="457200">
              <a:spcBef>
                <a:spcPct val="0"/>
              </a:spcBef>
              <a:buNone/>
              <a:defRPr/>
            </a:pPr>
            <a:r>
              <a:rPr lang="en-US" altLang="en-US" sz="700" kern="0" dirty="0">
                <a:latin typeface="Arial" panose="020B0604020202020204" pitchFamily="34" charset="0"/>
              </a:rPr>
              <a:t>Putnam</a:t>
            </a:r>
            <a:endParaRPr lang="en-US" altLang="en-US" sz="1800" kern="0" dirty="0">
              <a:latin typeface="Arial" panose="020B0604020202020204" pitchFamily="34" charset="0"/>
            </a:endParaRPr>
          </a:p>
        </p:txBody>
      </p:sp>
      <p:sp>
        <p:nvSpPr>
          <p:cNvPr id="214" name="Rectangle 93">
            <a:extLst>
              <a:ext uri="{FF2B5EF4-FFF2-40B4-BE49-F238E27FC236}">
                <a16:creationId xmlns:a16="http://schemas.microsoft.com/office/drawing/2014/main" id="{79D9C25E-A6E3-83A0-3724-959768DC1D06}"/>
              </a:ext>
            </a:extLst>
          </p:cNvPr>
          <p:cNvSpPr>
            <a:spLocks noChangeArrowheads="1"/>
          </p:cNvSpPr>
          <p:nvPr/>
        </p:nvSpPr>
        <p:spPr bwMode="auto">
          <a:xfrm>
            <a:off x="3009903" y="4231640"/>
            <a:ext cx="371897" cy="107722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defTabSz="457200">
              <a:spcBef>
                <a:spcPct val="0"/>
              </a:spcBef>
              <a:buNone/>
              <a:defRPr/>
            </a:pPr>
            <a:r>
              <a:rPr lang="en-US" altLang="en-US" sz="700" kern="0" dirty="0">
                <a:latin typeface="Arial" panose="020B0604020202020204" pitchFamily="34" charset="0"/>
              </a:rPr>
              <a:t>Kanawha</a:t>
            </a:r>
            <a:endParaRPr lang="en-US" altLang="en-US" sz="1800" kern="0" dirty="0">
              <a:latin typeface="Arial" panose="020B0604020202020204" pitchFamily="34" charset="0"/>
            </a:endParaRPr>
          </a:p>
        </p:txBody>
      </p:sp>
      <p:sp>
        <p:nvSpPr>
          <p:cNvPr id="215" name="Rectangle 94">
            <a:extLst>
              <a:ext uri="{FF2B5EF4-FFF2-40B4-BE49-F238E27FC236}">
                <a16:creationId xmlns:a16="http://schemas.microsoft.com/office/drawing/2014/main" id="{8A956B8B-835F-8BDB-7AC9-70385C016920}"/>
              </a:ext>
            </a:extLst>
          </p:cNvPr>
          <p:cNvSpPr>
            <a:spLocks noChangeArrowheads="1"/>
          </p:cNvSpPr>
          <p:nvPr/>
        </p:nvSpPr>
        <p:spPr bwMode="auto">
          <a:xfrm>
            <a:off x="2608580" y="4950460"/>
            <a:ext cx="248466" cy="1077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lIns="0" tIns="0" rIns="0" bIns="0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defTabSz="457200">
              <a:spcBef>
                <a:spcPct val="0"/>
              </a:spcBef>
              <a:buNone/>
              <a:defRPr/>
            </a:pPr>
            <a:r>
              <a:rPr lang="en-US" altLang="en-US" sz="700" kern="0" dirty="0">
                <a:solidFill>
                  <a:prstClr val="white"/>
                </a:solidFill>
                <a:latin typeface="Arial" panose="020B0604020202020204" pitchFamily="34" charset="0"/>
              </a:rPr>
              <a:t>Logan</a:t>
            </a:r>
            <a:endParaRPr lang="en-US" altLang="en-US" sz="1800" kern="0" dirty="0">
              <a:solidFill>
                <a:prstClr val="white"/>
              </a:solidFill>
              <a:latin typeface="Arial" panose="020B0604020202020204" pitchFamily="34" charset="0"/>
            </a:endParaRPr>
          </a:p>
        </p:txBody>
      </p:sp>
      <p:sp>
        <p:nvSpPr>
          <p:cNvPr id="216" name="Rectangle 95">
            <a:extLst>
              <a:ext uri="{FF2B5EF4-FFF2-40B4-BE49-F238E27FC236}">
                <a16:creationId xmlns:a16="http://schemas.microsoft.com/office/drawing/2014/main" id="{CEFF72C5-7FAE-DE38-F62D-DA0505AEB5FA}"/>
              </a:ext>
            </a:extLst>
          </p:cNvPr>
          <p:cNvSpPr>
            <a:spLocks noChangeArrowheads="1"/>
          </p:cNvSpPr>
          <p:nvPr/>
        </p:nvSpPr>
        <p:spPr bwMode="auto">
          <a:xfrm>
            <a:off x="2280920" y="5041900"/>
            <a:ext cx="243656" cy="1077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lIns="0" tIns="0" rIns="0" bIns="0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defTabSz="457200">
              <a:spcBef>
                <a:spcPct val="0"/>
              </a:spcBef>
              <a:buNone/>
              <a:defRPr/>
            </a:pPr>
            <a:r>
              <a:rPr lang="en-US" altLang="en-US" sz="700" kern="0" dirty="0">
                <a:solidFill>
                  <a:prstClr val="white"/>
                </a:solidFill>
                <a:latin typeface="Arial" panose="020B0604020202020204" pitchFamily="34" charset="0"/>
              </a:rPr>
              <a:t>Mingo</a:t>
            </a:r>
            <a:endParaRPr lang="en-US" altLang="en-US" sz="1800" kern="0" dirty="0">
              <a:solidFill>
                <a:prstClr val="white"/>
              </a:solidFill>
              <a:latin typeface="Arial" panose="020B0604020202020204" pitchFamily="34" charset="0"/>
            </a:endParaRPr>
          </a:p>
        </p:txBody>
      </p:sp>
      <p:sp>
        <p:nvSpPr>
          <p:cNvPr id="217" name="Rectangle 96">
            <a:extLst>
              <a:ext uri="{FF2B5EF4-FFF2-40B4-BE49-F238E27FC236}">
                <a16:creationId xmlns:a16="http://schemas.microsoft.com/office/drawing/2014/main" id="{5B78B3BB-ED37-7978-962A-6333042B9B8C}"/>
              </a:ext>
            </a:extLst>
          </p:cNvPr>
          <p:cNvSpPr>
            <a:spLocks noChangeArrowheads="1"/>
          </p:cNvSpPr>
          <p:nvPr/>
        </p:nvSpPr>
        <p:spPr bwMode="auto">
          <a:xfrm>
            <a:off x="3661502" y="5299417"/>
            <a:ext cx="384721" cy="1077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lIns="0" tIns="0" rIns="0" bIns="0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defTabSz="457200">
              <a:spcBef>
                <a:spcPct val="0"/>
              </a:spcBef>
              <a:buNone/>
              <a:defRPr/>
            </a:pPr>
            <a:r>
              <a:rPr lang="en-US" altLang="en-US" sz="700" kern="0" dirty="0">
                <a:latin typeface="Arial" panose="020B0604020202020204" pitchFamily="34" charset="0"/>
              </a:rPr>
              <a:t>Summers</a:t>
            </a:r>
            <a:endParaRPr lang="en-US" altLang="en-US" sz="1800" kern="0" dirty="0">
              <a:latin typeface="Arial" panose="020B0604020202020204" pitchFamily="34" charset="0"/>
            </a:endParaRPr>
          </a:p>
        </p:txBody>
      </p:sp>
      <p:sp>
        <p:nvSpPr>
          <p:cNvPr id="218" name="Rectangle 97">
            <a:extLst>
              <a:ext uri="{FF2B5EF4-FFF2-40B4-BE49-F238E27FC236}">
                <a16:creationId xmlns:a16="http://schemas.microsoft.com/office/drawing/2014/main" id="{612007AD-0D07-4951-5A1F-C2CEF84272EE}"/>
              </a:ext>
            </a:extLst>
          </p:cNvPr>
          <p:cNvSpPr>
            <a:spLocks noChangeArrowheads="1"/>
          </p:cNvSpPr>
          <p:nvPr/>
        </p:nvSpPr>
        <p:spPr bwMode="auto">
          <a:xfrm>
            <a:off x="4546600" y="4282463"/>
            <a:ext cx="472886" cy="1077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lIns="0" tIns="0" rIns="0" bIns="0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defTabSz="457200">
              <a:spcBef>
                <a:spcPct val="0"/>
              </a:spcBef>
              <a:buNone/>
              <a:defRPr/>
            </a:pPr>
            <a:r>
              <a:rPr lang="en-US" altLang="en-US" sz="700" kern="0" dirty="0">
                <a:latin typeface="Arial" panose="020B0604020202020204" pitchFamily="34" charset="0"/>
              </a:rPr>
              <a:t>Pocahontas</a:t>
            </a:r>
            <a:endParaRPr lang="en-US" altLang="en-US" sz="1800" kern="0" dirty="0">
              <a:latin typeface="Arial" panose="020B0604020202020204" pitchFamily="34" charset="0"/>
            </a:endParaRPr>
          </a:p>
        </p:txBody>
      </p:sp>
      <p:sp>
        <p:nvSpPr>
          <p:cNvPr id="219" name="Rectangle 98">
            <a:extLst>
              <a:ext uri="{FF2B5EF4-FFF2-40B4-BE49-F238E27FC236}">
                <a16:creationId xmlns:a16="http://schemas.microsoft.com/office/drawing/2014/main" id="{14514199-994D-5AEE-5BED-B2F3BAB684D0}"/>
              </a:ext>
            </a:extLst>
          </p:cNvPr>
          <p:cNvSpPr>
            <a:spLocks noChangeArrowheads="1"/>
          </p:cNvSpPr>
          <p:nvPr/>
        </p:nvSpPr>
        <p:spPr bwMode="auto">
          <a:xfrm rot="16200000">
            <a:off x="4112898" y="1118812"/>
            <a:ext cx="248466" cy="769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lIns="0" tIns="0" rIns="0" bIns="0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defTabSz="457200">
              <a:spcBef>
                <a:spcPct val="0"/>
              </a:spcBef>
              <a:buNone/>
              <a:defRPr/>
            </a:pPr>
            <a:r>
              <a:rPr lang="en-US" altLang="en-US" sz="500" kern="0" dirty="0">
                <a:latin typeface="Arial" panose="020B0604020202020204" pitchFamily="34" charset="0"/>
              </a:rPr>
              <a:t>Hancock</a:t>
            </a:r>
            <a:endParaRPr lang="en-US" altLang="en-US" sz="700" kern="0" dirty="0">
              <a:latin typeface="Arial" panose="020B0604020202020204" pitchFamily="34" charset="0"/>
            </a:endParaRPr>
          </a:p>
        </p:txBody>
      </p:sp>
      <p:sp>
        <p:nvSpPr>
          <p:cNvPr id="220" name="Rectangle 99">
            <a:extLst>
              <a:ext uri="{FF2B5EF4-FFF2-40B4-BE49-F238E27FC236}">
                <a16:creationId xmlns:a16="http://schemas.microsoft.com/office/drawing/2014/main" id="{D4F95DFC-D5AE-52EA-949A-538863B716A3}"/>
              </a:ext>
            </a:extLst>
          </p:cNvPr>
          <p:cNvSpPr>
            <a:spLocks noChangeArrowheads="1"/>
          </p:cNvSpPr>
          <p:nvPr/>
        </p:nvSpPr>
        <p:spPr bwMode="auto">
          <a:xfrm rot="16200000">
            <a:off x="4141450" y="1470288"/>
            <a:ext cx="201978" cy="76944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defTabSz="457200">
              <a:spcBef>
                <a:spcPct val="0"/>
              </a:spcBef>
              <a:buNone/>
              <a:defRPr/>
            </a:pPr>
            <a:r>
              <a:rPr lang="en-US" altLang="en-US" sz="500" kern="0" dirty="0">
                <a:latin typeface="Arial" panose="020B0604020202020204" pitchFamily="34" charset="0"/>
              </a:rPr>
              <a:t>Brooke</a:t>
            </a:r>
            <a:endParaRPr lang="en-US" altLang="en-US" sz="1800" kern="0" dirty="0">
              <a:latin typeface="Arial" panose="020B0604020202020204" pitchFamily="34" charset="0"/>
            </a:endParaRPr>
          </a:p>
        </p:txBody>
      </p:sp>
      <p:sp>
        <p:nvSpPr>
          <p:cNvPr id="221" name="Rectangle 100">
            <a:extLst>
              <a:ext uri="{FF2B5EF4-FFF2-40B4-BE49-F238E27FC236}">
                <a16:creationId xmlns:a16="http://schemas.microsoft.com/office/drawing/2014/main" id="{6120855E-9F92-E191-7D73-2F0CEAF2514E}"/>
              </a:ext>
            </a:extLst>
          </p:cNvPr>
          <p:cNvSpPr>
            <a:spLocks noChangeArrowheads="1"/>
          </p:cNvSpPr>
          <p:nvPr/>
        </p:nvSpPr>
        <p:spPr bwMode="auto">
          <a:xfrm>
            <a:off x="5076955" y="2570871"/>
            <a:ext cx="309380" cy="1077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lIns="0" tIns="0" rIns="0" bIns="0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defTabSz="457200">
              <a:spcBef>
                <a:spcPct val="0"/>
              </a:spcBef>
              <a:buNone/>
              <a:defRPr/>
            </a:pPr>
            <a:r>
              <a:rPr lang="en-US" altLang="en-US" sz="700" kern="0" dirty="0">
                <a:latin typeface="Arial" panose="020B0604020202020204" pitchFamily="34" charset="0"/>
              </a:rPr>
              <a:t>Preston</a:t>
            </a:r>
            <a:endParaRPr lang="en-US" altLang="en-US" sz="1800" kern="0" dirty="0">
              <a:latin typeface="Arial" panose="020B0604020202020204" pitchFamily="34" charset="0"/>
            </a:endParaRPr>
          </a:p>
        </p:txBody>
      </p:sp>
      <p:sp>
        <p:nvSpPr>
          <p:cNvPr id="222" name="Rectangle 101">
            <a:extLst>
              <a:ext uri="{FF2B5EF4-FFF2-40B4-BE49-F238E27FC236}">
                <a16:creationId xmlns:a16="http://schemas.microsoft.com/office/drawing/2014/main" id="{206B3557-C8B1-A88E-F873-6480144F03AC}"/>
              </a:ext>
            </a:extLst>
          </p:cNvPr>
          <p:cNvSpPr>
            <a:spLocks noChangeArrowheads="1"/>
          </p:cNvSpPr>
          <p:nvPr/>
        </p:nvSpPr>
        <p:spPr bwMode="auto">
          <a:xfrm>
            <a:off x="4462883" y="2558172"/>
            <a:ext cx="274114" cy="1077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lIns="0" tIns="0" rIns="0" bIns="0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defTabSz="457200">
              <a:spcBef>
                <a:spcPct val="0"/>
              </a:spcBef>
              <a:buNone/>
              <a:defRPr/>
            </a:pPr>
            <a:r>
              <a:rPr lang="en-US" altLang="en-US" sz="700" kern="0" dirty="0">
                <a:latin typeface="Arial" panose="020B0604020202020204" pitchFamily="34" charset="0"/>
              </a:rPr>
              <a:t>Marion</a:t>
            </a:r>
            <a:endParaRPr lang="en-US" altLang="en-US" sz="1800" kern="0" dirty="0">
              <a:latin typeface="Arial" panose="020B0604020202020204" pitchFamily="34" charset="0"/>
            </a:endParaRPr>
          </a:p>
        </p:txBody>
      </p:sp>
      <p:sp>
        <p:nvSpPr>
          <p:cNvPr id="223" name="Rectangle 102">
            <a:extLst>
              <a:ext uri="{FF2B5EF4-FFF2-40B4-BE49-F238E27FC236}">
                <a16:creationId xmlns:a16="http://schemas.microsoft.com/office/drawing/2014/main" id="{B174E532-17C6-0FB3-6266-C4080E775AFD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80863" y="2580643"/>
            <a:ext cx="301365" cy="92333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defTabSz="457200">
              <a:spcBef>
                <a:spcPct val="0"/>
              </a:spcBef>
              <a:buNone/>
              <a:defRPr/>
            </a:pPr>
            <a:r>
              <a:rPr lang="en-US" altLang="en-US" sz="600" kern="0" dirty="0">
                <a:latin typeface="Arial" panose="020B0604020202020204" pitchFamily="34" charset="0"/>
              </a:rPr>
              <a:t>Berkeley</a:t>
            </a:r>
            <a:endParaRPr lang="en-US" altLang="en-US" sz="1800" kern="0" dirty="0">
              <a:latin typeface="Arial" panose="020B0604020202020204" pitchFamily="34" charset="0"/>
            </a:endParaRPr>
          </a:p>
        </p:txBody>
      </p:sp>
      <p:sp>
        <p:nvSpPr>
          <p:cNvPr id="224" name="Rectangle 104">
            <a:extLst>
              <a:ext uri="{FF2B5EF4-FFF2-40B4-BE49-F238E27FC236}">
                <a16:creationId xmlns:a16="http://schemas.microsoft.com/office/drawing/2014/main" id="{30EC0798-763E-924C-0E77-EE619B100CD2}"/>
              </a:ext>
            </a:extLst>
          </p:cNvPr>
          <p:cNvSpPr>
            <a:spLocks noChangeArrowheads="1"/>
          </p:cNvSpPr>
          <p:nvPr/>
        </p:nvSpPr>
        <p:spPr bwMode="auto">
          <a:xfrm>
            <a:off x="3817620" y="2646680"/>
            <a:ext cx="198772" cy="1077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lIns="0" tIns="0" rIns="0" bIns="0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defTabSz="457200">
              <a:spcBef>
                <a:spcPct val="0"/>
              </a:spcBef>
              <a:buNone/>
              <a:defRPr/>
            </a:pPr>
            <a:r>
              <a:rPr lang="en-US" altLang="en-US" sz="700" kern="0" dirty="0">
                <a:latin typeface="Arial" panose="020B0604020202020204" pitchFamily="34" charset="0"/>
              </a:rPr>
              <a:t>Tyler</a:t>
            </a:r>
            <a:endParaRPr lang="en-US" altLang="en-US" sz="1800" kern="0" dirty="0">
              <a:latin typeface="Arial" panose="020B0604020202020204" pitchFamily="34" charset="0"/>
            </a:endParaRPr>
          </a:p>
        </p:txBody>
      </p:sp>
      <p:sp>
        <p:nvSpPr>
          <p:cNvPr id="225" name="Rectangle 105">
            <a:extLst>
              <a:ext uri="{FF2B5EF4-FFF2-40B4-BE49-F238E27FC236}">
                <a16:creationId xmlns:a16="http://schemas.microsoft.com/office/drawing/2014/main" id="{687612E5-E691-6BBF-449D-435E7532E893}"/>
              </a:ext>
            </a:extLst>
          </p:cNvPr>
          <p:cNvSpPr>
            <a:spLocks noChangeArrowheads="1"/>
          </p:cNvSpPr>
          <p:nvPr/>
        </p:nvSpPr>
        <p:spPr bwMode="auto">
          <a:xfrm>
            <a:off x="7035800" y="2852420"/>
            <a:ext cx="261290" cy="76944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defTabSz="457200">
              <a:spcBef>
                <a:spcPct val="0"/>
              </a:spcBef>
              <a:buNone/>
              <a:defRPr/>
            </a:pPr>
            <a:r>
              <a:rPr lang="en-US" altLang="en-US" sz="500" kern="0" dirty="0">
                <a:latin typeface="Arial" panose="020B0604020202020204" pitchFamily="34" charset="0"/>
              </a:rPr>
              <a:t>Jefferson</a:t>
            </a:r>
            <a:endParaRPr lang="en-US" altLang="en-US" sz="1800" kern="0" dirty="0">
              <a:latin typeface="Arial" panose="020B0604020202020204" pitchFamily="34" charset="0"/>
            </a:endParaRPr>
          </a:p>
        </p:txBody>
      </p:sp>
      <p:sp>
        <p:nvSpPr>
          <p:cNvPr id="226" name="Rectangle 110">
            <a:extLst>
              <a:ext uri="{FF2B5EF4-FFF2-40B4-BE49-F238E27FC236}">
                <a16:creationId xmlns:a16="http://schemas.microsoft.com/office/drawing/2014/main" id="{CF1F5B16-B9FD-356B-C528-E1430C4CE0A7}"/>
              </a:ext>
            </a:extLst>
          </p:cNvPr>
          <p:cNvSpPr>
            <a:spLocks noChangeArrowheads="1"/>
          </p:cNvSpPr>
          <p:nvPr/>
        </p:nvSpPr>
        <p:spPr bwMode="auto">
          <a:xfrm rot="17522595">
            <a:off x="3878565" y="2933803"/>
            <a:ext cx="411972" cy="1077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lIns="0" tIns="0" rIns="0" bIns="0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defTabSz="457200">
              <a:spcBef>
                <a:spcPct val="0"/>
              </a:spcBef>
              <a:buNone/>
              <a:defRPr/>
            </a:pPr>
            <a:r>
              <a:rPr lang="en-US" altLang="en-US" sz="700" kern="0" dirty="0">
                <a:latin typeface="Arial" panose="020B0604020202020204" pitchFamily="34" charset="0"/>
              </a:rPr>
              <a:t>Doddridge</a:t>
            </a:r>
            <a:endParaRPr lang="en-US" altLang="en-US" sz="1800" kern="0" dirty="0">
              <a:latin typeface="Arial" panose="020B0604020202020204" pitchFamily="34" charset="0"/>
            </a:endParaRPr>
          </a:p>
        </p:txBody>
      </p:sp>
      <p:sp>
        <p:nvSpPr>
          <p:cNvPr id="227" name="Rectangle 111">
            <a:extLst>
              <a:ext uri="{FF2B5EF4-FFF2-40B4-BE49-F238E27FC236}">
                <a16:creationId xmlns:a16="http://schemas.microsoft.com/office/drawing/2014/main" id="{B1A945CE-A193-E505-306A-C56F7D983B9E}"/>
              </a:ext>
            </a:extLst>
          </p:cNvPr>
          <p:cNvSpPr>
            <a:spLocks noChangeArrowheads="1"/>
          </p:cNvSpPr>
          <p:nvPr/>
        </p:nvSpPr>
        <p:spPr bwMode="auto">
          <a:xfrm>
            <a:off x="3586480" y="3068320"/>
            <a:ext cx="272510" cy="1077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lIns="0" tIns="0" rIns="0" bIns="0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defTabSz="457200">
              <a:spcBef>
                <a:spcPct val="0"/>
              </a:spcBef>
              <a:buNone/>
              <a:defRPr/>
            </a:pPr>
            <a:r>
              <a:rPr lang="en-US" altLang="en-US" sz="700" kern="0" dirty="0">
                <a:latin typeface="Arial" panose="020B0604020202020204" pitchFamily="34" charset="0"/>
              </a:rPr>
              <a:t>Ritchie</a:t>
            </a:r>
            <a:endParaRPr lang="en-US" altLang="en-US" sz="1800" kern="0" dirty="0">
              <a:latin typeface="Arial" panose="020B0604020202020204" pitchFamily="34" charset="0"/>
            </a:endParaRPr>
          </a:p>
        </p:txBody>
      </p:sp>
      <p:sp>
        <p:nvSpPr>
          <p:cNvPr id="228" name="Rectangle 112">
            <a:extLst>
              <a:ext uri="{FF2B5EF4-FFF2-40B4-BE49-F238E27FC236}">
                <a16:creationId xmlns:a16="http://schemas.microsoft.com/office/drawing/2014/main" id="{BFA30449-6CFD-12C0-004C-A2B2CA50BDCC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71581" y="3073722"/>
            <a:ext cx="318998" cy="1077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lIns="0" tIns="0" rIns="0" bIns="0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defTabSz="457200">
              <a:spcBef>
                <a:spcPct val="0"/>
              </a:spcBef>
              <a:buNone/>
              <a:defRPr/>
            </a:pPr>
            <a:r>
              <a:rPr lang="en-US" altLang="en-US" sz="700" kern="0" dirty="0">
                <a:latin typeface="Arial" panose="020B0604020202020204" pitchFamily="34" charset="0"/>
              </a:rPr>
              <a:t>Barbour</a:t>
            </a:r>
            <a:endParaRPr lang="en-US" altLang="en-US" sz="1800" kern="0" dirty="0">
              <a:latin typeface="Arial" panose="020B0604020202020204" pitchFamily="34" charset="0"/>
            </a:endParaRPr>
          </a:p>
        </p:txBody>
      </p:sp>
      <p:sp>
        <p:nvSpPr>
          <p:cNvPr id="230" name="Rectangle 114">
            <a:extLst>
              <a:ext uri="{FF2B5EF4-FFF2-40B4-BE49-F238E27FC236}">
                <a16:creationId xmlns:a16="http://schemas.microsoft.com/office/drawing/2014/main" id="{5A11FC92-3242-FB31-C48F-092163D2B3E9}"/>
              </a:ext>
            </a:extLst>
          </p:cNvPr>
          <p:cNvSpPr>
            <a:spLocks noChangeArrowheads="1"/>
          </p:cNvSpPr>
          <p:nvPr/>
        </p:nvSpPr>
        <p:spPr bwMode="auto">
          <a:xfrm>
            <a:off x="5188259" y="3161258"/>
            <a:ext cx="274114" cy="1077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lIns="0" tIns="0" rIns="0" bIns="0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defTabSz="457200">
              <a:spcBef>
                <a:spcPct val="0"/>
              </a:spcBef>
              <a:buNone/>
              <a:defRPr/>
            </a:pPr>
            <a:r>
              <a:rPr lang="en-US" altLang="en-US" sz="700" kern="0" dirty="0">
                <a:latin typeface="Arial" panose="020B0604020202020204" pitchFamily="34" charset="0"/>
              </a:rPr>
              <a:t>Tucker</a:t>
            </a:r>
            <a:endParaRPr lang="en-US" altLang="en-US" sz="1800" kern="0" dirty="0">
              <a:latin typeface="Arial" panose="020B0604020202020204" pitchFamily="34" charset="0"/>
            </a:endParaRPr>
          </a:p>
        </p:txBody>
      </p:sp>
      <p:sp>
        <p:nvSpPr>
          <p:cNvPr id="231" name="Rectangle 115">
            <a:extLst>
              <a:ext uri="{FF2B5EF4-FFF2-40B4-BE49-F238E27FC236}">
                <a16:creationId xmlns:a16="http://schemas.microsoft.com/office/drawing/2014/main" id="{6F6BD865-5DD7-56EE-E73E-F613D151320F}"/>
              </a:ext>
            </a:extLst>
          </p:cNvPr>
          <p:cNvSpPr>
            <a:spLocks noChangeArrowheads="1"/>
          </p:cNvSpPr>
          <p:nvPr/>
        </p:nvSpPr>
        <p:spPr bwMode="auto">
          <a:xfrm>
            <a:off x="4478023" y="3497580"/>
            <a:ext cx="288541" cy="1077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lIns="0" tIns="0" rIns="0" bIns="0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defTabSz="457200">
              <a:spcBef>
                <a:spcPct val="0"/>
              </a:spcBef>
              <a:buNone/>
              <a:defRPr/>
            </a:pPr>
            <a:r>
              <a:rPr lang="en-US" altLang="en-US" sz="700" kern="0" dirty="0">
                <a:latin typeface="Arial" panose="020B0604020202020204" pitchFamily="34" charset="0"/>
              </a:rPr>
              <a:t>Upshur</a:t>
            </a:r>
            <a:endParaRPr lang="en-US" altLang="en-US" sz="1800" kern="0" dirty="0">
              <a:latin typeface="Arial" panose="020B0604020202020204" pitchFamily="34" charset="0"/>
            </a:endParaRPr>
          </a:p>
        </p:txBody>
      </p:sp>
      <p:sp>
        <p:nvSpPr>
          <p:cNvPr id="232" name="Rectangle 116">
            <a:extLst>
              <a:ext uri="{FF2B5EF4-FFF2-40B4-BE49-F238E27FC236}">
                <a16:creationId xmlns:a16="http://schemas.microsoft.com/office/drawing/2014/main" id="{07C9B238-65FA-FA40-9E31-8E817D31298A}"/>
              </a:ext>
            </a:extLst>
          </p:cNvPr>
          <p:cNvSpPr>
            <a:spLocks noChangeArrowheads="1"/>
          </p:cNvSpPr>
          <p:nvPr/>
        </p:nvSpPr>
        <p:spPr bwMode="auto">
          <a:xfrm>
            <a:off x="3827780" y="3398520"/>
            <a:ext cx="264496" cy="1077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lIns="0" tIns="0" rIns="0" bIns="0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defTabSz="457200">
              <a:spcBef>
                <a:spcPct val="0"/>
              </a:spcBef>
              <a:buNone/>
              <a:defRPr/>
            </a:pPr>
            <a:r>
              <a:rPr lang="en-US" altLang="en-US" sz="700" kern="0" dirty="0">
                <a:latin typeface="Arial" panose="020B0604020202020204" pitchFamily="34" charset="0"/>
              </a:rPr>
              <a:t>Gilmer</a:t>
            </a:r>
            <a:endParaRPr lang="en-US" altLang="en-US" sz="1800" kern="0" dirty="0">
              <a:latin typeface="Arial" panose="020B0604020202020204" pitchFamily="34" charset="0"/>
            </a:endParaRPr>
          </a:p>
        </p:txBody>
      </p:sp>
      <p:sp>
        <p:nvSpPr>
          <p:cNvPr id="233" name="Rectangle 117">
            <a:extLst>
              <a:ext uri="{FF2B5EF4-FFF2-40B4-BE49-F238E27FC236}">
                <a16:creationId xmlns:a16="http://schemas.microsoft.com/office/drawing/2014/main" id="{BB3C0325-B819-2327-131B-F1AF389FC3D2}"/>
              </a:ext>
            </a:extLst>
          </p:cNvPr>
          <p:cNvSpPr>
            <a:spLocks noChangeArrowheads="1"/>
          </p:cNvSpPr>
          <p:nvPr/>
        </p:nvSpPr>
        <p:spPr bwMode="auto">
          <a:xfrm rot="4919320">
            <a:off x="3453589" y="3495708"/>
            <a:ext cx="331822" cy="1077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lIns="0" tIns="0" rIns="0" bIns="0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defTabSz="457200">
              <a:spcBef>
                <a:spcPct val="0"/>
              </a:spcBef>
              <a:buNone/>
              <a:defRPr/>
            </a:pPr>
            <a:r>
              <a:rPr lang="en-US" altLang="en-US" sz="700" kern="0" dirty="0">
                <a:latin typeface="Arial" panose="020B0604020202020204" pitchFamily="34" charset="0"/>
              </a:rPr>
              <a:t>Calhoun</a:t>
            </a:r>
            <a:endParaRPr lang="en-US" altLang="en-US" sz="1800" kern="0" dirty="0">
              <a:latin typeface="Arial" panose="020B0604020202020204" pitchFamily="34" charset="0"/>
            </a:endParaRPr>
          </a:p>
        </p:txBody>
      </p:sp>
      <p:sp>
        <p:nvSpPr>
          <p:cNvPr id="234" name="Rectangle 118">
            <a:extLst>
              <a:ext uri="{FF2B5EF4-FFF2-40B4-BE49-F238E27FC236}">
                <a16:creationId xmlns:a16="http://schemas.microsoft.com/office/drawing/2014/main" id="{D1459573-A313-1FAF-1BDA-DF867B4BAA83}"/>
              </a:ext>
            </a:extLst>
          </p:cNvPr>
          <p:cNvSpPr>
            <a:spLocks noChangeArrowheads="1"/>
          </p:cNvSpPr>
          <p:nvPr/>
        </p:nvSpPr>
        <p:spPr bwMode="auto">
          <a:xfrm>
            <a:off x="2527300" y="3647440"/>
            <a:ext cx="269304" cy="1077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lIns="0" tIns="0" rIns="0" bIns="0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defTabSz="457200">
              <a:spcBef>
                <a:spcPct val="0"/>
              </a:spcBef>
              <a:buNone/>
              <a:defRPr/>
            </a:pPr>
            <a:r>
              <a:rPr lang="en-US" altLang="en-US" sz="700" kern="0" dirty="0">
                <a:latin typeface="Arial" panose="020B0604020202020204" pitchFamily="34" charset="0"/>
              </a:rPr>
              <a:t>Mason</a:t>
            </a:r>
            <a:endParaRPr lang="en-US" altLang="en-US" sz="1800" kern="0" dirty="0">
              <a:latin typeface="Arial" panose="020B0604020202020204" pitchFamily="34" charset="0"/>
            </a:endParaRPr>
          </a:p>
        </p:txBody>
      </p:sp>
      <p:sp>
        <p:nvSpPr>
          <p:cNvPr id="235" name="Rectangle 119">
            <a:extLst>
              <a:ext uri="{FF2B5EF4-FFF2-40B4-BE49-F238E27FC236}">
                <a16:creationId xmlns:a16="http://schemas.microsoft.com/office/drawing/2014/main" id="{821B6022-3198-975A-8515-BAF1E637699C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01440" y="3746500"/>
            <a:ext cx="309380" cy="1077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lIns="0" tIns="0" rIns="0" bIns="0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defTabSz="457200">
              <a:spcBef>
                <a:spcPct val="0"/>
              </a:spcBef>
              <a:buNone/>
              <a:defRPr/>
            </a:pPr>
            <a:r>
              <a:rPr lang="en-US" altLang="en-US" sz="700" kern="0" dirty="0">
                <a:latin typeface="Arial" panose="020B0604020202020204" pitchFamily="34" charset="0"/>
              </a:rPr>
              <a:t>Braxton</a:t>
            </a:r>
            <a:endParaRPr lang="en-US" altLang="en-US" sz="1800" kern="0" dirty="0">
              <a:latin typeface="Arial" panose="020B0604020202020204" pitchFamily="34" charset="0"/>
            </a:endParaRPr>
          </a:p>
        </p:txBody>
      </p:sp>
      <p:sp>
        <p:nvSpPr>
          <p:cNvPr id="236" name="Rectangle 121">
            <a:extLst>
              <a:ext uri="{FF2B5EF4-FFF2-40B4-BE49-F238E27FC236}">
                <a16:creationId xmlns:a16="http://schemas.microsoft.com/office/drawing/2014/main" id="{8396D561-009F-71D4-0EDE-0AD17198EDBC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46880" y="4033520"/>
            <a:ext cx="335028" cy="107722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defTabSz="457200">
              <a:spcBef>
                <a:spcPct val="0"/>
              </a:spcBef>
              <a:buNone/>
              <a:defRPr/>
            </a:pPr>
            <a:r>
              <a:rPr lang="en-US" altLang="en-US" sz="700" kern="0" dirty="0">
                <a:latin typeface="Arial" panose="020B0604020202020204" pitchFamily="34" charset="0"/>
              </a:rPr>
              <a:t>Webster</a:t>
            </a:r>
            <a:endParaRPr lang="en-US" altLang="en-US" sz="1800" kern="0" dirty="0">
              <a:latin typeface="Arial" panose="020B0604020202020204" pitchFamily="34" charset="0"/>
            </a:endParaRPr>
          </a:p>
        </p:txBody>
      </p:sp>
      <p:sp>
        <p:nvSpPr>
          <p:cNvPr id="237" name="Rectangle 122">
            <a:extLst>
              <a:ext uri="{FF2B5EF4-FFF2-40B4-BE49-F238E27FC236}">
                <a16:creationId xmlns:a16="http://schemas.microsoft.com/office/drawing/2014/main" id="{E2BF10CC-832B-ADCB-045E-4D3F997F7D81}"/>
              </a:ext>
            </a:extLst>
          </p:cNvPr>
          <p:cNvSpPr>
            <a:spLocks noChangeArrowheads="1"/>
          </p:cNvSpPr>
          <p:nvPr/>
        </p:nvSpPr>
        <p:spPr bwMode="auto">
          <a:xfrm>
            <a:off x="3596640" y="4124960"/>
            <a:ext cx="177934" cy="107722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defTabSz="457200">
              <a:spcBef>
                <a:spcPct val="0"/>
              </a:spcBef>
              <a:buNone/>
              <a:defRPr/>
            </a:pPr>
            <a:r>
              <a:rPr lang="en-US" altLang="en-US" sz="700" kern="0" dirty="0">
                <a:latin typeface="Arial" panose="020B0604020202020204" pitchFamily="34" charset="0"/>
              </a:rPr>
              <a:t>Clay</a:t>
            </a:r>
            <a:endParaRPr lang="en-US" altLang="en-US" sz="1800" kern="0" dirty="0">
              <a:latin typeface="Arial" panose="020B0604020202020204" pitchFamily="34" charset="0"/>
            </a:endParaRPr>
          </a:p>
        </p:txBody>
      </p:sp>
      <p:sp>
        <p:nvSpPr>
          <p:cNvPr id="238" name="Rectangle 124">
            <a:extLst>
              <a:ext uri="{FF2B5EF4-FFF2-40B4-BE49-F238E27FC236}">
                <a16:creationId xmlns:a16="http://schemas.microsoft.com/office/drawing/2014/main" id="{C0697663-8D1A-23B5-B652-B90E68EDEDFE}"/>
              </a:ext>
            </a:extLst>
          </p:cNvPr>
          <p:cNvSpPr>
            <a:spLocks noChangeArrowheads="1"/>
          </p:cNvSpPr>
          <p:nvPr/>
        </p:nvSpPr>
        <p:spPr bwMode="auto">
          <a:xfrm>
            <a:off x="2009326" y="4543018"/>
            <a:ext cx="278923" cy="1077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lIns="0" tIns="0" rIns="0" bIns="0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defTabSz="457200">
              <a:spcBef>
                <a:spcPct val="0"/>
              </a:spcBef>
              <a:buNone/>
              <a:defRPr/>
            </a:pPr>
            <a:r>
              <a:rPr lang="en-US" altLang="en-US" sz="700" kern="0" dirty="0">
                <a:latin typeface="Arial" panose="020B0604020202020204" pitchFamily="34" charset="0"/>
              </a:rPr>
              <a:t>Wayne</a:t>
            </a:r>
            <a:endParaRPr lang="en-US" altLang="en-US" sz="1800" kern="0" dirty="0">
              <a:latin typeface="Arial" panose="020B0604020202020204" pitchFamily="34" charset="0"/>
            </a:endParaRPr>
          </a:p>
        </p:txBody>
      </p:sp>
      <p:sp>
        <p:nvSpPr>
          <p:cNvPr id="239" name="Rectangle 125">
            <a:extLst>
              <a:ext uri="{FF2B5EF4-FFF2-40B4-BE49-F238E27FC236}">
                <a16:creationId xmlns:a16="http://schemas.microsoft.com/office/drawing/2014/main" id="{48B7CD8C-D04B-4E87-C340-9097053B8E7E}"/>
              </a:ext>
            </a:extLst>
          </p:cNvPr>
          <p:cNvSpPr>
            <a:spLocks noChangeArrowheads="1"/>
          </p:cNvSpPr>
          <p:nvPr/>
        </p:nvSpPr>
        <p:spPr bwMode="auto">
          <a:xfrm>
            <a:off x="3353357" y="5049702"/>
            <a:ext cx="301365" cy="1077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lIns="0" tIns="0" rIns="0" bIns="0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defTabSz="457200">
              <a:spcBef>
                <a:spcPct val="0"/>
              </a:spcBef>
              <a:buNone/>
              <a:defRPr/>
            </a:pPr>
            <a:r>
              <a:rPr lang="en-US" altLang="en-US" sz="700" kern="0" dirty="0">
                <a:solidFill>
                  <a:prstClr val="white"/>
                </a:solidFill>
                <a:latin typeface="Arial" panose="020B0604020202020204" pitchFamily="34" charset="0"/>
              </a:rPr>
              <a:t>Raleigh</a:t>
            </a:r>
            <a:endParaRPr lang="en-US" altLang="en-US" sz="1800" kern="0" dirty="0">
              <a:solidFill>
                <a:prstClr val="white"/>
              </a:solidFill>
              <a:latin typeface="Arial" panose="020B0604020202020204" pitchFamily="34" charset="0"/>
            </a:endParaRPr>
          </a:p>
        </p:txBody>
      </p:sp>
      <p:sp>
        <p:nvSpPr>
          <p:cNvPr id="240" name="Rectangle 127">
            <a:extLst>
              <a:ext uri="{FF2B5EF4-FFF2-40B4-BE49-F238E27FC236}">
                <a16:creationId xmlns:a16="http://schemas.microsoft.com/office/drawing/2014/main" id="{829B211F-B8E4-B59D-477C-D83BA7DA8446}"/>
              </a:ext>
            </a:extLst>
          </p:cNvPr>
          <p:cNvSpPr>
            <a:spLocks noChangeArrowheads="1"/>
          </p:cNvSpPr>
          <p:nvPr/>
        </p:nvSpPr>
        <p:spPr bwMode="auto">
          <a:xfrm>
            <a:off x="2961640" y="5280660"/>
            <a:ext cx="373500" cy="107722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t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defTabSz="457200">
              <a:spcBef>
                <a:spcPct val="0"/>
              </a:spcBef>
              <a:buNone/>
              <a:defRPr/>
            </a:pPr>
            <a:r>
              <a:rPr lang="en-US" altLang="en-US" sz="700" kern="0" dirty="0">
                <a:latin typeface="Arial"/>
                <a:cs typeface="Arial"/>
              </a:rPr>
              <a:t>Wyoming</a:t>
            </a:r>
            <a:endParaRPr lang="en-US" altLang="en-US" sz="1800" kern="0" dirty="0">
              <a:latin typeface="Arial"/>
              <a:cs typeface="Arial"/>
            </a:endParaRPr>
          </a:p>
        </p:txBody>
      </p:sp>
      <p:sp>
        <p:nvSpPr>
          <p:cNvPr id="241" name="Rectangle 128">
            <a:extLst>
              <a:ext uri="{FF2B5EF4-FFF2-40B4-BE49-F238E27FC236}">
                <a16:creationId xmlns:a16="http://schemas.microsoft.com/office/drawing/2014/main" id="{EB721444-CD03-8747-7E46-E0FF883C1070}"/>
              </a:ext>
            </a:extLst>
          </p:cNvPr>
          <p:cNvSpPr>
            <a:spLocks noChangeArrowheads="1"/>
          </p:cNvSpPr>
          <p:nvPr/>
        </p:nvSpPr>
        <p:spPr bwMode="auto">
          <a:xfrm>
            <a:off x="4142743" y="5321300"/>
            <a:ext cx="304571" cy="1077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lIns="0" tIns="0" rIns="0" bIns="0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defTabSz="457200">
              <a:spcBef>
                <a:spcPct val="0"/>
              </a:spcBef>
              <a:buNone/>
              <a:defRPr/>
            </a:pPr>
            <a:r>
              <a:rPr lang="en-US" altLang="en-US" sz="700" kern="0" dirty="0">
                <a:solidFill>
                  <a:prstClr val="white"/>
                </a:solidFill>
                <a:latin typeface="Arial" panose="020B0604020202020204" pitchFamily="34" charset="0"/>
              </a:rPr>
              <a:t>Monroe</a:t>
            </a:r>
            <a:endParaRPr lang="en-US" altLang="en-US" sz="1800" kern="0" dirty="0">
              <a:solidFill>
                <a:prstClr val="white"/>
              </a:solidFill>
              <a:latin typeface="Arial" panose="020B0604020202020204" pitchFamily="34" charset="0"/>
            </a:endParaRPr>
          </a:p>
        </p:txBody>
      </p:sp>
      <p:sp>
        <p:nvSpPr>
          <p:cNvPr id="242" name="Rectangle 129">
            <a:extLst>
              <a:ext uri="{FF2B5EF4-FFF2-40B4-BE49-F238E27FC236}">
                <a16:creationId xmlns:a16="http://schemas.microsoft.com/office/drawing/2014/main" id="{F54FB97D-859E-782C-F3F4-AD5FD3A6F0C2}"/>
              </a:ext>
            </a:extLst>
          </p:cNvPr>
          <p:cNvSpPr>
            <a:spLocks noChangeArrowheads="1"/>
          </p:cNvSpPr>
          <p:nvPr/>
        </p:nvSpPr>
        <p:spPr bwMode="auto">
          <a:xfrm>
            <a:off x="3510280" y="5610860"/>
            <a:ext cx="280526" cy="1077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lIns="0" tIns="0" rIns="0" bIns="0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defTabSz="457200">
              <a:spcBef>
                <a:spcPct val="0"/>
              </a:spcBef>
              <a:buNone/>
              <a:defRPr/>
            </a:pPr>
            <a:r>
              <a:rPr lang="en-US" altLang="en-US" sz="700" kern="0" dirty="0">
                <a:solidFill>
                  <a:prstClr val="white"/>
                </a:solidFill>
                <a:latin typeface="Arial" panose="020B0604020202020204" pitchFamily="34" charset="0"/>
              </a:rPr>
              <a:t>Mercer</a:t>
            </a:r>
            <a:endParaRPr lang="en-US" altLang="en-US" sz="1800" kern="0" dirty="0">
              <a:solidFill>
                <a:prstClr val="white"/>
              </a:solidFill>
              <a:latin typeface="Arial" panose="020B0604020202020204" pitchFamily="34" charset="0"/>
            </a:endParaRPr>
          </a:p>
        </p:txBody>
      </p:sp>
      <p:sp>
        <p:nvSpPr>
          <p:cNvPr id="243" name="Rectangle 130">
            <a:extLst>
              <a:ext uri="{FF2B5EF4-FFF2-40B4-BE49-F238E27FC236}">
                <a16:creationId xmlns:a16="http://schemas.microsoft.com/office/drawing/2014/main" id="{EB96380C-365E-2092-9778-818B6F225D49}"/>
              </a:ext>
            </a:extLst>
          </p:cNvPr>
          <p:cNvSpPr>
            <a:spLocks noChangeArrowheads="1"/>
          </p:cNvSpPr>
          <p:nvPr/>
        </p:nvSpPr>
        <p:spPr bwMode="auto">
          <a:xfrm>
            <a:off x="2844800" y="5626100"/>
            <a:ext cx="386324" cy="1077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lIns="0" tIns="0" rIns="0" bIns="0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defTabSz="457200">
              <a:spcBef>
                <a:spcPct val="0"/>
              </a:spcBef>
              <a:buNone/>
              <a:defRPr/>
            </a:pPr>
            <a:r>
              <a:rPr lang="en-US" altLang="en-US" sz="700" kern="0" dirty="0">
                <a:latin typeface="Arial" panose="020B0604020202020204" pitchFamily="34" charset="0"/>
              </a:rPr>
              <a:t>McDowell</a:t>
            </a:r>
            <a:endParaRPr lang="en-US" altLang="en-US" sz="1800" kern="0" dirty="0">
              <a:latin typeface="Arial" panose="020B0604020202020204" pitchFamily="34" charset="0"/>
            </a:endParaRPr>
          </a:p>
        </p:txBody>
      </p:sp>
      <p:sp>
        <p:nvSpPr>
          <p:cNvPr id="245" name="Freeform 129">
            <a:extLst>
              <a:ext uri="{FF2B5EF4-FFF2-40B4-BE49-F238E27FC236}">
                <a16:creationId xmlns:a16="http://schemas.microsoft.com/office/drawing/2014/main" id="{16F9BBC3-D6A7-CCB1-1BF0-0B8EE547D8C7}"/>
              </a:ext>
            </a:extLst>
          </p:cNvPr>
          <p:cNvSpPr>
            <a:spLocks/>
          </p:cNvSpPr>
          <p:nvPr/>
        </p:nvSpPr>
        <p:spPr bwMode="auto">
          <a:xfrm rot="21540000">
            <a:off x="4872511" y="1616195"/>
            <a:ext cx="746975" cy="640080"/>
          </a:xfrm>
          <a:custGeom>
            <a:avLst/>
            <a:gdLst>
              <a:gd name="T0" fmla="*/ 35282188 w 580"/>
              <a:gd name="T1" fmla="*/ 403225000 h 446"/>
              <a:gd name="T2" fmla="*/ 35282188 w 580"/>
              <a:gd name="T3" fmla="*/ 337700938 h 446"/>
              <a:gd name="T4" fmla="*/ 85685313 w 580"/>
              <a:gd name="T5" fmla="*/ 317539688 h 446"/>
              <a:gd name="T6" fmla="*/ 136088438 w 580"/>
              <a:gd name="T7" fmla="*/ 367942813 h 446"/>
              <a:gd name="T8" fmla="*/ 186491563 w 580"/>
              <a:gd name="T9" fmla="*/ 317539688 h 446"/>
              <a:gd name="T10" fmla="*/ 267136563 w 580"/>
              <a:gd name="T11" fmla="*/ 287297813 h 446"/>
              <a:gd name="T12" fmla="*/ 252015625 w 580"/>
              <a:gd name="T13" fmla="*/ 216733438 h 446"/>
              <a:gd name="T14" fmla="*/ 236894688 w 580"/>
              <a:gd name="T15" fmla="*/ 151209375 h 446"/>
              <a:gd name="T16" fmla="*/ 302418750 w 580"/>
              <a:gd name="T17" fmla="*/ 166330313 h 446"/>
              <a:gd name="T18" fmla="*/ 352821875 w 580"/>
              <a:gd name="T19" fmla="*/ 115927188 h 446"/>
              <a:gd name="T20" fmla="*/ 337700938 w 580"/>
              <a:gd name="T21" fmla="*/ 50403125 h 446"/>
              <a:gd name="T22" fmla="*/ 317539688 w 580"/>
              <a:gd name="T23" fmla="*/ 15120938 h 446"/>
              <a:gd name="T24" fmla="*/ 468749063 w 580"/>
              <a:gd name="T25" fmla="*/ 35282188 h 446"/>
              <a:gd name="T26" fmla="*/ 569555313 w 580"/>
              <a:gd name="T27" fmla="*/ 35282188 h 446"/>
              <a:gd name="T28" fmla="*/ 589716563 w 580"/>
              <a:gd name="T29" fmla="*/ 65524063 h 446"/>
              <a:gd name="T30" fmla="*/ 640119688 w 580"/>
              <a:gd name="T31" fmla="*/ 85685313 h 446"/>
              <a:gd name="T32" fmla="*/ 690522813 w 580"/>
              <a:gd name="T33" fmla="*/ 85685313 h 446"/>
              <a:gd name="T34" fmla="*/ 720764688 w 580"/>
              <a:gd name="T35" fmla="*/ 136088438 h 446"/>
              <a:gd name="T36" fmla="*/ 791329063 w 580"/>
              <a:gd name="T37" fmla="*/ 136088438 h 446"/>
              <a:gd name="T38" fmla="*/ 841732188 w 580"/>
              <a:gd name="T39" fmla="*/ 151209375 h 446"/>
              <a:gd name="T40" fmla="*/ 871974063 w 580"/>
              <a:gd name="T41" fmla="*/ 100806250 h 446"/>
              <a:gd name="T42" fmla="*/ 942538438 w 580"/>
              <a:gd name="T43" fmla="*/ 85685313 h 446"/>
              <a:gd name="T44" fmla="*/ 957659375 w 580"/>
              <a:gd name="T45" fmla="*/ 35282188 h 446"/>
              <a:gd name="T46" fmla="*/ 1028223750 w 580"/>
              <a:gd name="T47" fmla="*/ 15120938 h 446"/>
              <a:gd name="T48" fmla="*/ 1093747813 w 580"/>
              <a:gd name="T49" fmla="*/ 0 h 446"/>
              <a:gd name="T50" fmla="*/ 1144150938 w 580"/>
              <a:gd name="T51" fmla="*/ 50403125 h 446"/>
              <a:gd name="T52" fmla="*/ 1209675000 w 580"/>
              <a:gd name="T53" fmla="*/ 100806250 h 446"/>
              <a:gd name="T54" fmla="*/ 1244957188 w 580"/>
              <a:gd name="T55" fmla="*/ 136088438 h 446"/>
              <a:gd name="T56" fmla="*/ 1310481250 w 580"/>
              <a:gd name="T57" fmla="*/ 166330313 h 446"/>
              <a:gd name="T58" fmla="*/ 1345763438 w 580"/>
              <a:gd name="T59" fmla="*/ 216733438 h 446"/>
              <a:gd name="T60" fmla="*/ 1396166563 w 580"/>
              <a:gd name="T61" fmla="*/ 267136563 h 446"/>
              <a:gd name="T62" fmla="*/ 1381045625 w 580"/>
              <a:gd name="T63" fmla="*/ 388104063 h 446"/>
              <a:gd name="T64" fmla="*/ 1229836250 w 580"/>
              <a:gd name="T65" fmla="*/ 670361563 h 446"/>
              <a:gd name="T66" fmla="*/ 1280239375 w 580"/>
              <a:gd name="T67" fmla="*/ 821570938 h 446"/>
              <a:gd name="T68" fmla="*/ 1280239375 w 580"/>
              <a:gd name="T69" fmla="*/ 856853125 h 446"/>
              <a:gd name="T70" fmla="*/ 1295360313 w 580"/>
              <a:gd name="T71" fmla="*/ 907256250 h 446"/>
              <a:gd name="T72" fmla="*/ 1310481250 w 580"/>
              <a:gd name="T73" fmla="*/ 957659375 h 446"/>
              <a:gd name="T74" fmla="*/ 1280239375 w 580"/>
              <a:gd name="T75" fmla="*/ 957659375 h 446"/>
              <a:gd name="T76" fmla="*/ 1260078125 w 580"/>
              <a:gd name="T77" fmla="*/ 992941563 h 446"/>
              <a:gd name="T78" fmla="*/ 1244957188 w 580"/>
              <a:gd name="T79" fmla="*/ 1023183438 h 446"/>
              <a:gd name="T80" fmla="*/ 1244957188 w 580"/>
              <a:gd name="T81" fmla="*/ 1073586563 h 446"/>
              <a:gd name="T82" fmla="*/ 1229836250 w 580"/>
              <a:gd name="T83" fmla="*/ 1093747813 h 446"/>
              <a:gd name="T84" fmla="*/ 1058465625 w 580"/>
              <a:gd name="T85" fmla="*/ 1123989688 h 446"/>
              <a:gd name="T86" fmla="*/ 186491563 w 580"/>
              <a:gd name="T87" fmla="*/ 1108868750 h 446"/>
              <a:gd name="T88" fmla="*/ 201612500 w 580"/>
              <a:gd name="T89" fmla="*/ 1043344688 h 446"/>
              <a:gd name="T90" fmla="*/ 151209375 w 580"/>
              <a:gd name="T91" fmla="*/ 1023183438 h 446"/>
              <a:gd name="T92" fmla="*/ 151209375 w 580"/>
              <a:gd name="T93" fmla="*/ 992941563 h 446"/>
              <a:gd name="T94" fmla="*/ 151209375 w 580"/>
              <a:gd name="T95" fmla="*/ 942538438 h 446"/>
              <a:gd name="T96" fmla="*/ 201612500 w 580"/>
              <a:gd name="T97" fmla="*/ 892135313 h 446"/>
              <a:gd name="T98" fmla="*/ 166330313 w 580"/>
              <a:gd name="T99" fmla="*/ 841732188 h 446"/>
              <a:gd name="T100" fmla="*/ 151209375 w 580"/>
              <a:gd name="T101" fmla="*/ 791329063 h 446"/>
              <a:gd name="T102" fmla="*/ 151209375 w 580"/>
              <a:gd name="T103" fmla="*/ 756046875 h 446"/>
              <a:gd name="T104" fmla="*/ 151209375 w 580"/>
              <a:gd name="T105" fmla="*/ 720764688 h 446"/>
              <a:gd name="T106" fmla="*/ 186491563 w 580"/>
              <a:gd name="T107" fmla="*/ 670361563 h 446"/>
              <a:gd name="T108" fmla="*/ 166330313 w 580"/>
              <a:gd name="T109" fmla="*/ 619958438 h 446"/>
              <a:gd name="T110" fmla="*/ 166330313 w 580"/>
              <a:gd name="T111" fmla="*/ 569555313 h 446"/>
              <a:gd name="T112" fmla="*/ 136088438 w 580"/>
              <a:gd name="T113" fmla="*/ 504031250 h 446"/>
              <a:gd name="T114" fmla="*/ 65524063 w 580"/>
              <a:gd name="T115" fmla="*/ 468749063 h 446"/>
              <a:gd name="T116" fmla="*/ 15120938 w 580"/>
              <a:gd name="T117" fmla="*/ 488910313 h 446"/>
              <a:gd name="T118" fmla="*/ 0 w 580"/>
              <a:gd name="T119" fmla="*/ 418345938 h 44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w 580"/>
              <a:gd name="T181" fmla="*/ 0 h 446"/>
              <a:gd name="T182" fmla="*/ 580 w 580"/>
              <a:gd name="T183" fmla="*/ 446 h 446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T180" t="T181" r="T182" b="T183"/>
            <a:pathLst>
              <a:path w="580" h="446">
                <a:moveTo>
                  <a:pt x="0" y="166"/>
                </a:moveTo>
                <a:lnTo>
                  <a:pt x="6" y="166"/>
                </a:lnTo>
                <a:lnTo>
                  <a:pt x="6" y="160"/>
                </a:lnTo>
                <a:lnTo>
                  <a:pt x="14" y="160"/>
                </a:lnTo>
                <a:lnTo>
                  <a:pt x="20" y="160"/>
                </a:lnTo>
                <a:lnTo>
                  <a:pt x="20" y="154"/>
                </a:lnTo>
                <a:lnTo>
                  <a:pt x="14" y="146"/>
                </a:lnTo>
                <a:lnTo>
                  <a:pt x="14" y="134"/>
                </a:lnTo>
                <a:lnTo>
                  <a:pt x="20" y="134"/>
                </a:lnTo>
                <a:lnTo>
                  <a:pt x="20" y="126"/>
                </a:lnTo>
                <a:lnTo>
                  <a:pt x="26" y="126"/>
                </a:lnTo>
                <a:lnTo>
                  <a:pt x="34" y="126"/>
                </a:lnTo>
                <a:lnTo>
                  <a:pt x="40" y="134"/>
                </a:lnTo>
                <a:lnTo>
                  <a:pt x="40" y="140"/>
                </a:lnTo>
                <a:lnTo>
                  <a:pt x="46" y="146"/>
                </a:lnTo>
                <a:lnTo>
                  <a:pt x="54" y="146"/>
                </a:lnTo>
                <a:lnTo>
                  <a:pt x="60" y="140"/>
                </a:lnTo>
                <a:lnTo>
                  <a:pt x="66" y="134"/>
                </a:lnTo>
                <a:lnTo>
                  <a:pt x="66" y="126"/>
                </a:lnTo>
                <a:lnTo>
                  <a:pt x="74" y="126"/>
                </a:lnTo>
                <a:lnTo>
                  <a:pt x="80" y="120"/>
                </a:lnTo>
                <a:lnTo>
                  <a:pt x="94" y="120"/>
                </a:lnTo>
                <a:lnTo>
                  <a:pt x="100" y="120"/>
                </a:lnTo>
                <a:lnTo>
                  <a:pt x="106" y="114"/>
                </a:lnTo>
                <a:lnTo>
                  <a:pt x="106" y="106"/>
                </a:lnTo>
                <a:lnTo>
                  <a:pt x="100" y="100"/>
                </a:lnTo>
                <a:lnTo>
                  <a:pt x="100" y="94"/>
                </a:lnTo>
                <a:lnTo>
                  <a:pt x="100" y="86"/>
                </a:lnTo>
                <a:lnTo>
                  <a:pt x="106" y="80"/>
                </a:lnTo>
                <a:lnTo>
                  <a:pt x="106" y="74"/>
                </a:lnTo>
                <a:lnTo>
                  <a:pt x="94" y="66"/>
                </a:lnTo>
                <a:lnTo>
                  <a:pt x="94" y="60"/>
                </a:lnTo>
                <a:lnTo>
                  <a:pt x="100" y="60"/>
                </a:lnTo>
                <a:lnTo>
                  <a:pt x="106" y="60"/>
                </a:lnTo>
                <a:lnTo>
                  <a:pt x="114" y="66"/>
                </a:lnTo>
                <a:lnTo>
                  <a:pt x="120" y="66"/>
                </a:lnTo>
                <a:lnTo>
                  <a:pt x="126" y="60"/>
                </a:lnTo>
                <a:lnTo>
                  <a:pt x="134" y="60"/>
                </a:lnTo>
                <a:lnTo>
                  <a:pt x="140" y="60"/>
                </a:lnTo>
                <a:lnTo>
                  <a:pt x="140" y="46"/>
                </a:lnTo>
                <a:lnTo>
                  <a:pt x="140" y="40"/>
                </a:lnTo>
                <a:lnTo>
                  <a:pt x="140" y="34"/>
                </a:lnTo>
                <a:lnTo>
                  <a:pt x="134" y="26"/>
                </a:lnTo>
                <a:lnTo>
                  <a:pt x="134" y="20"/>
                </a:lnTo>
                <a:lnTo>
                  <a:pt x="120" y="14"/>
                </a:lnTo>
                <a:lnTo>
                  <a:pt x="114" y="14"/>
                </a:lnTo>
                <a:lnTo>
                  <a:pt x="106" y="6"/>
                </a:lnTo>
                <a:lnTo>
                  <a:pt x="126" y="6"/>
                </a:lnTo>
                <a:lnTo>
                  <a:pt x="146" y="6"/>
                </a:lnTo>
                <a:lnTo>
                  <a:pt x="154" y="6"/>
                </a:lnTo>
                <a:lnTo>
                  <a:pt x="174" y="6"/>
                </a:lnTo>
                <a:lnTo>
                  <a:pt x="186" y="14"/>
                </a:lnTo>
                <a:lnTo>
                  <a:pt x="206" y="14"/>
                </a:lnTo>
                <a:lnTo>
                  <a:pt x="214" y="14"/>
                </a:lnTo>
                <a:lnTo>
                  <a:pt x="220" y="14"/>
                </a:lnTo>
                <a:lnTo>
                  <a:pt x="226" y="14"/>
                </a:lnTo>
                <a:lnTo>
                  <a:pt x="226" y="20"/>
                </a:lnTo>
                <a:lnTo>
                  <a:pt x="234" y="14"/>
                </a:lnTo>
                <a:lnTo>
                  <a:pt x="234" y="20"/>
                </a:lnTo>
                <a:lnTo>
                  <a:pt x="234" y="26"/>
                </a:lnTo>
                <a:lnTo>
                  <a:pt x="240" y="26"/>
                </a:lnTo>
                <a:lnTo>
                  <a:pt x="240" y="34"/>
                </a:lnTo>
                <a:lnTo>
                  <a:pt x="246" y="34"/>
                </a:lnTo>
                <a:lnTo>
                  <a:pt x="254" y="34"/>
                </a:lnTo>
                <a:lnTo>
                  <a:pt x="260" y="26"/>
                </a:lnTo>
                <a:lnTo>
                  <a:pt x="266" y="26"/>
                </a:lnTo>
                <a:lnTo>
                  <a:pt x="266" y="34"/>
                </a:lnTo>
                <a:lnTo>
                  <a:pt x="274" y="34"/>
                </a:lnTo>
                <a:lnTo>
                  <a:pt x="280" y="40"/>
                </a:lnTo>
                <a:lnTo>
                  <a:pt x="280" y="46"/>
                </a:lnTo>
                <a:lnTo>
                  <a:pt x="286" y="46"/>
                </a:lnTo>
                <a:lnTo>
                  <a:pt x="286" y="54"/>
                </a:lnTo>
                <a:lnTo>
                  <a:pt x="294" y="54"/>
                </a:lnTo>
                <a:lnTo>
                  <a:pt x="300" y="54"/>
                </a:lnTo>
                <a:lnTo>
                  <a:pt x="306" y="54"/>
                </a:lnTo>
                <a:lnTo>
                  <a:pt x="314" y="54"/>
                </a:lnTo>
                <a:lnTo>
                  <a:pt x="314" y="46"/>
                </a:lnTo>
                <a:lnTo>
                  <a:pt x="326" y="54"/>
                </a:lnTo>
                <a:lnTo>
                  <a:pt x="326" y="60"/>
                </a:lnTo>
                <a:lnTo>
                  <a:pt x="334" y="60"/>
                </a:lnTo>
                <a:lnTo>
                  <a:pt x="334" y="54"/>
                </a:lnTo>
                <a:lnTo>
                  <a:pt x="340" y="54"/>
                </a:lnTo>
                <a:lnTo>
                  <a:pt x="340" y="46"/>
                </a:lnTo>
                <a:lnTo>
                  <a:pt x="346" y="40"/>
                </a:lnTo>
                <a:lnTo>
                  <a:pt x="354" y="40"/>
                </a:lnTo>
                <a:lnTo>
                  <a:pt x="360" y="34"/>
                </a:lnTo>
                <a:lnTo>
                  <a:pt x="368" y="34"/>
                </a:lnTo>
                <a:lnTo>
                  <a:pt x="374" y="34"/>
                </a:lnTo>
                <a:lnTo>
                  <a:pt x="380" y="34"/>
                </a:lnTo>
                <a:lnTo>
                  <a:pt x="380" y="26"/>
                </a:lnTo>
                <a:lnTo>
                  <a:pt x="380" y="20"/>
                </a:lnTo>
                <a:lnTo>
                  <a:pt x="380" y="14"/>
                </a:lnTo>
                <a:lnTo>
                  <a:pt x="386" y="14"/>
                </a:lnTo>
                <a:lnTo>
                  <a:pt x="394" y="14"/>
                </a:lnTo>
                <a:lnTo>
                  <a:pt x="400" y="6"/>
                </a:lnTo>
                <a:lnTo>
                  <a:pt x="408" y="6"/>
                </a:lnTo>
                <a:lnTo>
                  <a:pt x="414" y="0"/>
                </a:lnTo>
                <a:lnTo>
                  <a:pt x="420" y="0"/>
                </a:lnTo>
                <a:lnTo>
                  <a:pt x="428" y="0"/>
                </a:lnTo>
                <a:lnTo>
                  <a:pt x="434" y="0"/>
                </a:lnTo>
                <a:lnTo>
                  <a:pt x="440" y="6"/>
                </a:lnTo>
                <a:lnTo>
                  <a:pt x="448" y="6"/>
                </a:lnTo>
                <a:lnTo>
                  <a:pt x="454" y="14"/>
                </a:lnTo>
                <a:lnTo>
                  <a:pt x="454" y="20"/>
                </a:lnTo>
                <a:lnTo>
                  <a:pt x="460" y="26"/>
                </a:lnTo>
                <a:lnTo>
                  <a:pt x="468" y="34"/>
                </a:lnTo>
                <a:lnTo>
                  <a:pt x="474" y="34"/>
                </a:lnTo>
                <a:lnTo>
                  <a:pt x="480" y="40"/>
                </a:lnTo>
                <a:lnTo>
                  <a:pt x="488" y="40"/>
                </a:lnTo>
                <a:lnTo>
                  <a:pt x="488" y="46"/>
                </a:lnTo>
                <a:lnTo>
                  <a:pt x="494" y="46"/>
                </a:lnTo>
                <a:lnTo>
                  <a:pt x="494" y="54"/>
                </a:lnTo>
                <a:lnTo>
                  <a:pt x="500" y="60"/>
                </a:lnTo>
                <a:lnTo>
                  <a:pt x="508" y="60"/>
                </a:lnTo>
                <a:lnTo>
                  <a:pt x="514" y="66"/>
                </a:lnTo>
                <a:lnTo>
                  <a:pt x="520" y="66"/>
                </a:lnTo>
                <a:lnTo>
                  <a:pt x="528" y="74"/>
                </a:lnTo>
                <a:lnTo>
                  <a:pt x="528" y="80"/>
                </a:lnTo>
                <a:lnTo>
                  <a:pt x="534" y="80"/>
                </a:lnTo>
                <a:lnTo>
                  <a:pt x="534" y="86"/>
                </a:lnTo>
                <a:lnTo>
                  <a:pt x="534" y="94"/>
                </a:lnTo>
                <a:lnTo>
                  <a:pt x="534" y="106"/>
                </a:lnTo>
                <a:lnTo>
                  <a:pt x="540" y="106"/>
                </a:lnTo>
                <a:lnTo>
                  <a:pt x="554" y="106"/>
                </a:lnTo>
                <a:lnTo>
                  <a:pt x="560" y="106"/>
                </a:lnTo>
                <a:lnTo>
                  <a:pt x="580" y="114"/>
                </a:lnTo>
                <a:lnTo>
                  <a:pt x="554" y="154"/>
                </a:lnTo>
                <a:lnTo>
                  <a:pt x="548" y="154"/>
                </a:lnTo>
                <a:lnTo>
                  <a:pt x="514" y="220"/>
                </a:lnTo>
                <a:lnTo>
                  <a:pt x="508" y="234"/>
                </a:lnTo>
                <a:lnTo>
                  <a:pt x="494" y="260"/>
                </a:lnTo>
                <a:lnTo>
                  <a:pt x="488" y="266"/>
                </a:lnTo>
                <a:lnTo>
                  <a:pt x="474" y="306"/>
                </a:lnTo>
                <a:lnTo>
                  <a:pt x="494" y="320"/>
                </a:lnTo>
                <a:lnTo>
                  <a:pt x="500" y="326"/>
                </a:lnTo>
                <a:lnTo>
                  <a:pt x="508" y="326"/>
                </a:lnTo>
                <a:lnTo>
                  <a:pt x="500" y="326"/>
                </a:lnTo>
                <a:lnTo>
                  <a:pt x="500" y="334"/>
                </a:lnTo>
                <a:lnTo>
                  <a:pt x="508" y="334"/>
                </a:lnTo>
                <a:lnTo>
                  <a:pt x="508" y="340"/>
                </a:lnTo>
                <a:lnTo>
                  <a:pt x="514" y="340"/>
                </a:lnTo>
                <a:lnTo>
                  <a:pt x="514" y="346"/>
                </a:lnTo>
                <a:lnTo>
                  <a:pt x="514" y="354"/>
                </a:lnTo>
                <a:lnTo>
                  <a:pt x="514" y="360"/>
                </a:lnTo>
                <a:lnTo>
                  <a:pt x="514" y="366"/>
                </a:lnTo>
                <a:lnTo>
                  <a:pt x="514" y="374"/>
                </a:lnTo>
                <a:lnTo>
                  <a:pt x="514" y="380"/>
                </a:lnTo>
                <a:lnTo>
                  <a:pt x="520" y="380"/>
                </a:lnTo>
                <a:lnTo>
                  <a:pt x="528" y="380"/>
                </a:lnTo>
                <a:lnTo>
                  <a:pt x="520" y="386"/>
                </a:lnTo>
                <a:lnTo>
                  <a:pt x="514" y="380"/>
                </a:lnTo>
                <a:lnTo>
                  <a:pt x="508" y="380"/>
                </a:lnTo>
                <a:lnTo>
                  <a:pt x="500" y="380"/>
                </a:lnTo>
                <a:lnTo>
                  <a:pt x="494" y="380"/>
                </a:lnTo>
                <a:lnTo>
                  <a:pt x="494" y="386"/>
                </a:lnTo>
                <a:lnTo>
                  <a:pt x="500" y="394"/>
                </a:lnTo>
                <a:lnTo>
                  <a:pt x="508" y="400"/>
                </a:lnTo>
                <a:lnTo>
                  <a:pt x="500" y="400"/>
                </a:lnTo>
                <a:lnTo>
                  <a:pt x="500" y="406"/>
                </a:lnTo>
                <a:lnTo>
                  <a:pt x="494" y="406"/>
                </a:lnTo>
                <a:lnTo>
                  <a:pt x="488" y="406"/>
                </a:lnTo>
                <a:lnTo>
                  <a:pt x="488" y="414"/>
                </a:lnTo>
                <a:lnTo>
                  <a:pt x="494" y="420"/>
                </a:lnTo>
                <a:lnTo>
                  <a:pt x="494" y="426"/>
                </a:lnTo>
                <a:lnTo>
                  <a:pt x="488" y="426"/>
                </a:lnTo>
                <a:lnTo>
                  <a:pt x="480" y="426"/>
                </a:lnTo>
                <a:lnTo>
                  <a:pt x="480" y="434"/>
                </a:lnTo>
                <a:lnTo>
                  <a:pt x="488" y="434"/>
                </a:lnTo>
                <a:lnTo>
                  <a:pt x="494" y="434"/>
                </a:lnTo>
                <a:lnTo>
                  <a:pt x="494" y="440"/>
                </a:lnTo>
                <a:lnTo>
                  <a:pt x="494" y="446"/>
                </a:lnTo>
                <a:lnTo>
                  <a:pt x="420" y="446"/>
                </a:lnTo>
                <a:lnTo>
                  <a:pt x="380" y="446"/>
                </a:lnTo>
                <a:lnTo>
                  <a:pt x="194" y="440"/>
                </a:lnTo>
                <a:lnTo>
                  <a:pt x="120" y="440"/>
                </a:lnTo>
                <a:lnTo>
                  <a:pt x="74" y="440"/>
                </a:lnTo>
                <a:lnTo>
                  <a:pt x="74" y="434"/>
                </a:lnTo>
                <a:lnTo>
                  <a:pt x="80" y="426"/>
                </a:lnTo>
                <a:lnTo>
                  <a:pt x="80" y="420"/>
                </a:lnTo>
                <a:lnTo>
                  <a:pt x="80" y="414"/>
                </a:lnTo>
                <a:lnTo>
                  <a:pt x="74" y="414"/>
                </a:lnTo>
                <a:lnTo>
                  <a:pt x="74" y="406"/>
                </a:lnTo>
                <a:lnTo>
                  <a:pt x="66" y="406"/>
                </a:lnTo>
                <a:lnTo>
                  <a:pt x="60" y="406"/>
                </a:lnTo>
                <a:lnTo>
                  <a:pt x="60" y="400"/>
                </a:lnTo>
                <a:lnTo>
                  <a:pt x="60" y="394"/>
                </a:lnTo>
                <a:lnTo>
                  <a:pt x="54" y="394"/>
                </a:lnTo>
                <a:lnTo>
                  <a:pt x="60" y="394"/>
                </a:lnTo>
                <a:lnTo>
                  <a:pt x="60" y="386"/>
                </a:lnTo>
                <a:lnTo>
                  <a:pt x="60" y="380"/>
                </a:lnTo>
                <a:lnTo>
                  <a:pt x="54" y="380"/>
                </a:lnTo>
                <a:lnTo>
                  <a:pt x="60" y="374"/>
                </a:lnTo>
                <a:lnTo>
                  <a:pt x="74" y="366"/>
                </a:lnTo>
                <a:lnTo>
                  <a:pt x="80" y="366"/>
                </a:lnTo>
                <a:lnTo>
                  <a:pt x="80" y="360"/>
                </a:lnTo>
                <a:lnTo>
                  <a:pt x="80" y="354"/>
                </a:lnTo>
                <a:lnTo>
                  <a:pt x="74" y="354"/>
                </a:lnTo>
                <a:lnTo>
                  <a:pt x="74" y="346"/>
                </a:lnTo>
                <a:lnTo>
                  <a:pt x="66" y="340"/>
                </a:lnTo>
                <a:lnTo>
                  <a:pt x="66" y="334"/>
                </a:lnTo>
                <a:lnTo>
                  <a:pt x="66" y="326"/>
                </a:lnTo>
                <a:lnTo>
                  <a:pt x="66" y="320"/>
                </a:lnTo>
                <a:lnTo>
                  <a:pt x="66" y="314"/>
                </a:lnTo>
                <a:lnTo>
                  <a:pt x="60" y="314"/>
                </a:lnTo>
                <a:lnTo>
                  <a:pt x="54" y="314"/>
                </a:lnTo>
                <a:lnTo>
                  <a:pt x="54" y="306"/>
                </a:lnTo>
                <a:lnTo>
                  <a:pt x="60" y="306"/>
                </a:lnTo>
                <a:lnTo>
                  <a:pt x="60" y="300"/>
                </a:lnTo>
                <a:lnTo>
                  <a:pt x="66" y="300"/>
                </a:lnTo>
                <a:lnTo>
                  <a:pt x="66" y="294"/>
                </a:lnTo>
                <a:lnTo>
                  <a:pt x="66" y="286"/>
                </a:lnTo>
                <a:lnTo>
                  <a:pt x="60" y="286"/>
                </a:lnTo>
                <a:lnTo>
                  <a:pt x="60" y="280"/>
                </a:lnTo>
                <a:lnTo>
                  <a:pt x="66" y="280"/>
                </a:lnTo>
                <a:lnTo>
                  <a:pt x="74" y="274"/>
                </a:lnTo>
                <a:lnTo>
                  <a:pt x="74" y="266"/>
                </a:lnTo>
                <a:lnTo>
                  <a:pt x="74" y="260"/>
                </a:lnTo>
                <a:lnTo>
                  <a:pt x="66" y="260"/>
                </a:lnTo>
                <a:lnTo>
                  <a:pt x="66" y="254"/>
                </a:lnTo>
                <a:lnTo>
                  <a:pt x="66" y="246"/>
                </a:lnTo>
                <a:lnTo>
                  <a:pt x="66" y="240"/>
                </a:lnTo>
                <a:lnTo>
                  <a:pt x="66" y="234"/>
                </a:lnTo>
                <a:lnTo>
                  <a:pt x="74" y="226"/>
                </a:lnTo>
                <a:lnTo>
                  <a:pt x="66" y="226"/>
                </a:lnTo>
                <a:lnTo>
                  <a:pt x="66" y="220"/>
                </a:lnTo>
                <a:lnTo>
                  <a:pt x="60" y="214"/>
                </a:lnTo>
                <a:lnTo>
                  <a:pt x="54" y="206"/>
                </a:lnTo>
                <a:lnTo>
                  <a:pt x="54" y="200"/>
                </a:lnTo>
                <a:lnTo>
                  <a:pt x="46" y="194"/>
                </a:lnTo>
                <a:lnTo>
                  <a:pt x="40" y="194"/>
                </a:lnTo>
                <a:lnTo>
                  <a:pt x="34" y="186"/>
                </a:lnTo>
                <a:lnTo>
                  <a:pt x="26" y="186"/>
                </a:lnTo>
                <a:lnTo>
                  <a:pt x="26" y="194"/>
                </a:lnTo>
                <a:lnTo>
                  <a:pt x="20" y="194"/>
                </a:lnTo>
                <a:lnTo>
                  <a:pt x="14" y="194"/>
                </a:lnTo>
                <a:lnTo>
                  <a:pt x="6" y="194"/>
                </a:lnTo>
                <a:lnTo>
                  <a:pt x="0" y="186"/>
                </a:lnTo>
                <a:lnTo>
                  <a:pt x="0" y="180"/>
                </a:lnTo>
                <a:lnTo>
                  <a:pt x="0" y="174"/>
                </a:lnTo>
                <a:lnTo>
                  <a:pt x="0" y="166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 w="6350">
            <a:solidFill>
              <a:schemeClr val="tx2"/>
            </a:solidFill>
          </a:ln>
        </p:spPr>
        <p:txBody>
          <a:bodyPr/>
          <a:lstStyle/>
          <a:p>
            <a:endParaRPr lang="en-US" dirty="0"/>
          </a:p>
        </p:txBody>
      </p:sp>
      <p:sp>
        <p:nvSpPr>
          <p:cNvPr id="246" name="Freeform 137">
            <a:extLst>
              <a:ext uri="{FF2B5EF4-FFF2-40B4-BE49-F238E27FC236}">
                <a16:creationId xmlns:a16="http://schemas.microsoft.com/office/drawing/2014/main" id="{59DA5149-8F59-6770-4799-2C6BD9C4A3AD}"/>
              </a:ext>
            </a:extLst>
          </p:cNvPr>
          <p:cNvSpPr>
            <a:spLocks/>
          </p:cNvSpPr>
          <p:nvPr/>
        </p:nvSpPr>
        <p:spPr bwMode="auto">
          <a:xfrm rot="21540000">
            <a:off x="4340765" y="1790066"/>
            <a:ext cx="636216" cy="467861"/>
          </a:xfrm>
          <a:custGeom>
            <a:avLst/>
            <a:gdLst>
              <a:gd name="T0" fmla="*/ 20 w 494"/>
              <a:gd name="T1" fmla="*/ 66 h 326"/>
              <a:gd name="T2" fmla="*/ 34 w 494"/>
              <a:gd name="T3" fmla="*/ 66 h 326"/>
              <a:gd name="T4" fmla="*/ 46 w 494"/>
              <a:gd name="T5" fmla="*/ 60 h 326"/>
              <a:gd name="T6" fmla="*/ 60 w 494"/>
              <a:gd name="T7" fmla="*/ 52 h 326"/>
              <a:gd name="T8" fmla="*/ 66 w 494"/>
              <a:gd name="T9" fmla="*/ 52 h 326"/>
              <a:gd name="T10" fmla="*/ 74 w 494"/>
              <a:gd name="T11" fmla="*/ 40 h 326"/>
              <a:gd name="T12" fmla="*/ 100 w 494"/>
              <a:gd name="T13" fmla="*/ 40 h 326"/>
              <a:gd name="T14" fmla="*/ 120 w 494"/>
              <a:gd name="T15" fmla="*/ 26 h 326"/>
              <a:gd name="T16" fmla="*/ 160 w 494"/>
              <a:gd name="T17" fmla="*/ 12 h 326"/>
              <a:gd name="T18" fmla="*/ 194 w 494"/>
              <a:gd name="T19" fmla="*/ 0 h 326"/>
              <a:gd name="T20" fmla="*/ 208 w 494"/>
              <a:gd name="T21" fmla="*/ 20 h 326"/>
              <a:gd name="T22" fmla="*/ 248 w 494"/>
              <a:gd name="T23" fmla="*/ 20 h 326"/>
              <a:gd name="T24" fmla="*/ 280 w 494"/>
              <a:gd name="T25" fmla="*/ 12 h 326"/>
              <a:gd name="T26" fmla="*/ 300 w 494"/>
              <a:gd name="T27" fmla="*/ 26 h 326"/>
              <a:gd name="T28" fmla="*/ 348 w 494"/>
              <a:gd name="T29" fmla="*/ 32 h 326"/>
              <a:gd name="T30" fmla="*/ 368 w 494"/>
              <a:gd name="T31" fmla="*/ 26 h 326"/>
              <a:gd name="T32" fmla="*/ 388 w 494"/>
              <a:gd name="T33" fmla="*/ 20 h 326"/>
              <a:gd name="T34" fmla="*/ 380 w 494"/>
              <a:gd name="T35" fmla="*/ 32 h 326"/>
              <a:gd name="T36" fmla="*/ 380 w 494"/>
              <a:gd name="T37" fmla="*/ 46 h 326"/>
              <a:gd name="T38" fmla="*/ 394 w 494"/>
              <a:gd name="T39" fmla="*/ 46 h 326"/>
              <a:gd name="T40" fmla="*/ 414 w 494"/>
              <a:gd name="T41" fmla="*/ 46 h 326"/>
              <a:gd name="T42" fmla="*/ 420 w 494"/>
              <a:gd name="T43" fmla="*/ 46 h 326"/>
              <a:gd name="T44" fmla="*/ 414 w 494"/>
              <a:gd name="T45" fmla="*/ 60 h 326"/>
              <a:gd name="T46" fmla="*/ 420 w 494"/>
              <a:gd name="T47" fmla="*/ 80 h 326"/>
              <a:gd name="T48" fmla="*/ 440 w 494"/>
              <a:gd name="T49" fmla="*/ 80 h 326"/>
              <a:gd name="T50" fmla="*/ 454 w 494"/>
              <a:gd name="T51" fmla="*/ 80 h 326"/>
              <a:gd name="T52" fmla="*/ 468 w 494"/>
              <a:gd name="T53" fmla="*/ 92 h 326"/>
              <a:gd name="T54" fmla="*/ 480 w 494"/>
              <a:gd name="T55" fmla="*/ 112 h 326"/>
              <a:gd name="T56" fmla="*/ 480 w 494"/>
              <a:gd name="T57" fmla="*/ 126 h 326"/>
              <a:gd name="T58" fmla="*/ 480 w 494"/>
              <a:gd name="T59" fmla="*/ 146 h 326"/>
              <a:gd name="T60" fmla="*/ 488 w 494"/>
              <a:gd name="T61" fmla="*/ 160 h 326"/>
              <a:gd name="T62" fmla="*/ 474 w 494"/>
              <a:gd name="T63" fmla="*/ 172 h 326"/>
              <a:gd name="T64" fmla="*/ 480 w 494"/>
              <a:gd name="T65" fmla="*/ 186 h 326"/>
              <a:gd name="T66" fmla="*/ 468 w 494"/>
              <a:gd name="T67" fmla="*/ 192 h 326"/>
              <a:gd name="T68" fmla="*/ 480 w 494"/>
              <a:gd name="T69" fmla="*/ 200 h 326"/>
              <a:gd name="T70" fmla="*/ 480 w 494"/>
              <a:gd name="T71" fmla="*/ 220 h 326"/>
              <a:gd name="T72" fmla="*/ 488 w 494"/>
              <a:gd name="T73" fmla="*/ 240 h 326"/>
              <a:gd name="T74" fmla="*/ 494 w 494"/>
              <a:gd name="T75" fmla="*/ 252 h 326"/>
              <a:gd name="T76" fmla="*/ 468 w 494"/>
              <a:gd name="T77" fmla="*/ 266 h 326"/>
              <a:gd name="T78" fmla="*/ 474 w 494"/>
              <a:gd name="T79" fmla="*/ 280 h 326"/>
              <a:gd name="T80" fmla="*/ 474 w 494"/>
              <a:gd name="T81" fmla="*/ 286 h 326"/>
              <a:gd name="T82" fmla="*/ 488 w 494"/>
              <a:gd name="T83" fmla="*/ 292 h 326"/>
              <a:gd name="T84" fmla="*/ 494 w 494"/>
              <a:gd name="T85" fmla="*/ 306 h 326"/>
              <a:gd name="T86" fmla="*/ 488 w 494"/>
              <a:gd name="T87" fmla="*/ 326 h 326"/>
              <a:gd name="T88" fmla="*/ 0 w 494"/>
              <a:gd name="T89" fmla="*/ 312 h 326"/>
              <a:gd name="T90" fmla="*/ 6 w 494"/>
              <a:gd name="T91" fmla="*/ 52 h 32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w 494"/>
              <a:gd name="T139" fmla="*/ 0 h 326"/>
              <a:gd name="T140" fmla="*/ 494 w 494"/>
              <a:gd name="T141" fmla="*/ 326 h 326"/>
            </a:gdLst>
            <a:ahLst/>
            <a:cxnLst>
              <a:cxn ang="T92">
                <a:pos x="T0" y="T1"/>
              </a:cxn>
              <a:cxn ang="T93">
                <a:pos x="T2" y="T3"/>
              </a:cxn>
              <a:cxn ang="T94">
                <a:pos x="T4" y="T5"/>
              </a:cxn>
              <a:cxn ang="T95">
                <a:pos x="T6" y="T7"/>
              </a:cxn>
              <a:cxn ang="T96">
                <a:pos x="T8" y="T9"/>
              </a:cxn>
              <a:cxn ang="T97">
                <a:pos x="T10" y="T11"/>
              </a:cxn>
              <a:cxn ang="T98">
                <a:pos x="T12" y="T13"/>
              </a:cxn>
              <a:cxn ang="T99">
                <a:pos x="T14" y="T15"/>
              </a:cxn>
              <a:cxn ang="T100">
                <a:pos x="T16" y="T17"/>
              </a:cxn>
              <a:cxn ang="T101">
                <a:pos x="T18" y="T19"/>
              </a:cxn>
              <a:cxn ang="T102">
                <a:pos x="T20" y="T21"/>
              </a:cxn>
              <a:cxn ang="T103">
                <a:pos x="T22" y="T23"/>
              </a:cxn>
              <a:cxn ang="T104">
                <a:pos x="T24" y="T25"/>
              </a:cxn>
              <a:cxn ang="T105">
                <a:pos x="T26" y="T27"/>
              </a:cxn>
              <a:cxn ang="T106">
                <a:pos x="T28" y="T29"/>
              </a:cxn>
              <a:cxn ang="T107">
                <a:pos x="T30" y="T31"/>
              </a:cxn>
              <a:cxn ang="T108">
                <a:pos x="T32" y="T33"/>
              </a:cxn>
              <a:cxn ang="T109">
                <a:pos x="T34" y="T35"/>
              </a:cxn>
              <a:cxn ang="T110">
                <a:pos x="T36" y="T37"/>
              </a:cxn>
              <a:cxn ang="T111">
                <a:pos x="T38" y="T39"/>
              </a:cxn>
              <a:cxn ang="T112">
                <a:pos x="T40" y="T41"/>
              </a:cxn>
              <a:cxn ang="T113">
                <a:pos x="T42" y="T43"/>
              </a:cxn>
              <a:cxn ang="T114">
                <a:pos x="T44" y="T45"/>
              </a:cxn>
              <a:cxn ang="T115">
                <a:pos x="T46" y="T47"/>
              </a:cxn>
              <a:cxn ang="T116">
                <a:pos x="T48" y="T49"/>
              </a:cxn>
              <a:cxn ang="T117">
                <a:pos x="T50" y="T51"/>
              </a:cxn>
              <a:cxn ang="T118">
                <a:pos x="T52" y="T53"/>
              </a:cxn>
              <a:cxn ang="T119">
                <a:pos x="T54" y="T55"/>
              </a:cxn>
              <a:cxn ang="T120">
                <a:pos x="T56" y="T57"/>
              </a:cxn>
              <a:cxn ang="T121">
                <a:pos x="T58" y="T59"/>
              </a:cxn>
              <a:cxn ang="T122">
                <a:pos x="T60" y="T61"/>
              </a:cxn>
              <a:cxn ang="T123">
                <a:pos x="T62" y="T63"/>
              </a:cxn>
              <a:cxn ang="T124">
                <a:pos x="T64" y="T65"/>
              </a:cxn>
              <a:cxn ang="T125">
                <a:pos x="T66" y="T67"/>
              </a:cxn>
              <a:cxn ang="T126">
                <a:pos x="T68" y="T69"/>
              </a:cxn>
              <a:cxn ang="T127">
                <a:pos x="T70" y="T71"/>
              </a:cxn>
              <a:cxn ang="T128">
                <a:pos x="T72" y="T73"/>
              </a:cxn>
              <a:cxn ang="T129">
                <a:pos x="T74" y="T75"/>
              </a:cxn>
              <a:cxn ang="T130">
                <a:pos x="T76" y="T77"/>
              </a:cxn>
              <a:cxn ang="T131">
                <a:pos x="T78" y="T79"/>
              </a:cxn>
              <a:cxn ang="T132">
                <a:pos x="T80" y="T81"/>
              </a:cxn>
              <a:cxn ang="T133">
                <a:pos x="T82" y="T83"/>
              </a:cxn>
              <a:cxn ang="T134">
                <a:pos x="T84" y="T85"/>
              </a:cxn>
              <a:cxn ang="T135">
                <a:pos x="T86" y="T87"/>
              </a:cxn>
              <a:cxn ang="T136">
                <a:pos x="T88" y="T89"/>
              </a:cxn>
              <a:cxn ang="T137">
                <a:pos x="T90" y="T91"/>
              </a:cxn>
            </a:cxnLst>
            <a:rect l="T138" t="T139" r="T140" b="T141"/>
            <a:pathLst>
              <a:path w="494" h="326">
                <a:moveTo>
                  <a:pt x="6" y="52"/>
                </a:moveTo>
                <a:lnTo>
                  <a:pt x="14" y="60"/>
                </a:lnTo>
                <a:lnTo>
                  <a:pt x="20" y="66"/>
                </a:lnTo>
                <a:lnTo>
                  <a:pt x="26" y="60"/>
                </a:lnTo>
                <a:lnTo>
                  <a:pt x="34" y="60"/>
                </a:lnTo>
                <a:lnTo>
                  <a:pt x="34" y="66"/>
                </a:lnTo>
                <a:lnTo>
                  <a:pt x="40" y="66"/>
                </a:lnTo>
                <a:lnTo>
                  <a:pt x="46" y="66"/>
                </a:lnTo>
                <a:lnTo>
                  <a:pt x="46" y="60"/>
                </a:lnTo>
                <a:lnTo>
                  <a:pt x="54" y="60"/>
                </a:lnTo>
                <a:lnTo>
                  <a:pt x="54" y="52"/>
                </a:lnTo>
                <a:lnTo>
                  <a:pt x="60" y="52"/>
                </a:lnTo>
                <a:lnTo>
                  <a:pt x="60" y="46"/>
                </a:lnTo>
                <a:lnTo>
                  <a:pt x="60" y="52"/>
                </a:lnTo>
                <a:lnTo>
                  <a:pt x="66" y="52"/>
                </a:lnTo>
                <a:lnTo>
                  <a:pt x="66" y="46"/>
                </a:lnTo>
                <a:lnTo>
                  <a:pt x="74" y="46"/>
                </a:lnTo>
                <a:lnTo>
                  <a:pt x="74" y="40"/>
                </a:lnTo>
                <a:lnTo>
                  <a:pt x="80" y="46"/>
                </a:lnTo>
                <a:lnTo>
                  <a:pt x="86" y="46"/>
                </a:lnTo>
                <a:lnTo>
                  <a:pt x="100" y="40"/>
                </a:lnTo>
                <a:lnTo>
                  <a:pt x="106" y="40"/>
                </a:lnTo>
                <a:lnTo>
                  <a:pt x="114" y="32"/>
                </a:lnTo>
                <a:lnTo>
                  <a:pt x="120" y="26"/>
                </a:lnTo>
                <a:lnTo>
                  <a:pt x="126" y="26"/>
                </a:lnTo>
                <a:lnTo>
                  <a:pt x="140" y="20"/>
                </a:lnTo>
                <a:lnTo>
                  <a:pt x="160" y="12"/>
                </a:lnTo>
                <a:lnTo>
                  <a:pt x="174" y="12"/>
                </a:lnTo>
                <a:lnTo>
                  <a:pt x="180" y="0"/>
                </a:lnTo>
                <a:lnTo>
                  <a:pt x="194" y="0"/>
                </a:lnTo>
                <a:lnTo>
                  <a:pt x="200" y="6"/>
                </a:lnTo>
                <a:lnTo>
                  <a:pt x="208" y="12"/>
                </a:lnTo>
                <a:lnTo>
                  <a:pt x="208" y="20"/>
                </a:lnTo>
                <a:lnTo>
                  <a:pt x="234" y="12"/>
                </a:lnTo>
                <a:lnTo>
                  <a:pt x="240" y="12"/>
                </a:lnTo>
                <a:lnTo>
                  <a:pt x="248" y="20"/>
                </a:lnTo>
                <a:lnTo>
                  <a:pt x="268" y="20"/>
                </a:lnTo>
                <a:lnTo>
                  <a:pt x="274" y="20"/>
                </a:lnTo>
                <a:lnTo>
                  <a:pt x="280" y="12"/>
                </a:lnTo>
                <a:lnTo>
                  <a:pt x="288" y="12"/>
                </a:lnTo>
                <a:lnTo>
                  <a:pt x="294" y="20"/>
                </a:lnTo>
                <a:lnTo>
                  <a:pt x="300" y="26"/>
                </a:lnTo>
                <a:lnTo>
                  <a:pt x="314" y="32"/>
                </a:lnTo>
                <a:lnTo>
                  <a:pt x="334" y="40"/>
                </a:lnTo>
                <a:lnTo>
                  <a:pt x="348" y="32"/>
                </a:lnTo>
                <a:lnTo>
                  <a:pt x="354" y="26"/>
                </a:lnTo>
                <a:lnTo>
                  <a:pt x="360" y="26"/>
                </a:lnTo>
                <a:lnTo>
                  <a:pt x="368" y="26"/>
                </a:lnTo>
                <a:lnTo>
                  <a:pt x="374" y="20"/>
                </a:lnTo>
                <a:lnTo>
                  <a:pt x="380" y="20"/>
                </a:lnTo>
                <a:lnTo>
                  <a:pt x="388" y="20"/>
                </a:lnTo>
                <a:lnTo>
                  <a:pt x="388" y="26"/>
                </a:lnTo>
                <a:lnTo>
                  <a:pt x="388" y="32"/>
                </a:lnTo>
                <a:lnTo>
                  <a:pt x="380" y="32"/>
                </a:lnTo>
                <a:lnTo>
                  <a:pt x="380" y="40"/>
                </a:lnTo>
                <a:lnTo>
                  <a:pt x="388" y="46"/>
                </a:lnTo>
                <a:lnTo>
                  <a:pt x="380" y="46"/>
                </a:lnTo>
                <a:lnTo>
                  <a:pt x="388" y="52"/>
                </a:lnTo>
                <a:lnTo>
                  <a:pt x="394" y="52"/>
                </a:lnTo>
                <a:lnTo>
                  <a:pt x="394" y="46"/>
                </a:lnTo>
                <a:lnTo>
                  <a:pt x="400" y="46"/>
                </a:lnTo>
                <a:lnTo>
                  <a:pt x="408" y="46"/>
                </a:lnTo>
                <a:lnTo>
                  <a:pt x="414" y="46"/>
                </a:lnTo>
                <a:lnTo>
                  <a:pt x="420" y="46"/>
                </a:lnTo>
                <a:lnTo>
                  <a:pt x="428" y="46"/>
                </a:lnTo>
                <a:lnTo>
                  <a:pt x="420" y="46"/>
                </a:lnTo>
                <a:lnTo>
                  <a:pt x="420" y="52"/>
                </a:lnTo>
                <a:lnTo>
                  <a:pt x="414" y="52"/>
                </a:lnTo>
                <a:lnTo>
                  <a:pt x="414" y="60"/>
                </a:lnTo>
                <a:lnTo>
                  <a:pt x="414" y="66"/>
                </a:lnTo>
                <a:lnTo>
                  <a:pt x="414" y="72"/>
                </a:lnTo>
                <a:lnTo>
                  <a:pt x="420" y="80"/>
                </a:lnTo>
                <a:lnTo>
                  <a:pt x="428" y="80"/>
                </a:lnTo>
                <a:lnTo>
                  <a:pt x="434" y="80"/>
                </a:lnTo>
                <a:lnTo>
                  <a:pt x="440" y="80"/>
                </a:lnTo>
                <a:lnTo>
                  <a:pt x="440" y="72"/>
                </a:lnTo>
                <a:lnTo>
                  <a:pt x="448" y="72"/>
                </a:lnTo>
                <a:lnTo>
                  <a:pt x="454" y="80"/>
                </a:lnTo>
                <a:lnTo>
                  <a:pt x="460" y="80"/>
                </a:lnTo>
                <a:lnTo>
                  <a:pt x="468" y="86"/>
                </a:lnTo>
                <a:lnTo>
                  <a:pt x="468" y="92"/>
                </a:lnTo>
                <a:lnTo>
                  <a:pt x="474" y="100"/>
                </a:lnTo>
                <a:lnTo>
                  <a:pt x="480" y="106"/>
                </a:lnTo>
                <a:lnTo>
                  <a:pt x="480" y="112"/>
                </a:lnTo>
                <a:lnTo>
                  <a:pt x="488" y="112"/>
                </a:lnTo>
                <a:lnTo>
                  <a:pt x="480" y="120"/>
                </a:lnTo>
                <a:lnTo>
                  <a:pt x="480" y="126"/>
                </a:lnTo>
                <a:lnTo>
                  <a:pt x="480" y="132"/>
                </a:lnTo>
                <a:lnTo>
                  <a:pt x="480" y="140"/>
                </a:lnTo>
                <a:lnTo>
                  <a:pt x="480" y="146"/>
                </a:lnTo>
                <a:lnTo>
                  <a:pt x="488" y="146"/>
                </a:lnTo>
                <a:lnTo>
                  <a:pt x="488" y="152"/>
                </a:lnTo>
                <a:lnTo>
                  <a:pt x="488" y="160"/>
                </a:lnTo>
                <a:lnTo>
                  <a:pt x="480" y="166"/>
                </a:lnTo>
                <a:lnTo>
                  <a:pt x="474" y="166"/>
                </a:lnTo>
                <a:lnTo>
                  <a:pt x="474" y="172"/>
                </a:lnTo>
                <a:lnTo>
                  <a:pt x="480" y="172"/>
                </a:lnTo>
                <a:lnTo>
                  <a:pt x="480" y="180"/>
                </a:lnTo>
                <a:lnTo>
                  <a:pt x="480" y="186"/>
                </a:lnTo>
                <a:lnTo>
                  <a:pt x="474" y="186"/>
                </a:lnTo>
                <a:lnTo>
                  <a:pt x="474" y="192"/>
                </a:lnTo>
                <a:lnTo>
                  <a:pt x="468" y="192"/>
                </a:lnTo>
                <a:lnTo>
                  <a:pt x="468" y="200"/>
                </a:lnTo>
                <a:lnTo>
                  <a:pt x="474" y="200"/>
                </a:lnTo>
                <a:lnTo>
                  <a:pt x="480" y="200"/>
                </a:lnTo>
                <a:lnTo>
                  <a:pt x="480" y="206"/>
                </a:lnTo>
                <a:lnTo>
                  <a:pt x="480" y="212"/>
                </a:lnTo>
                <a:lnTo>
                  <a:pt x="480" y="220"/>
                </a:lnTo>
                <a:lnTo>
                  <a:pt x="480" y="226"/>
                </a:lnTo>
                <a:lnTo>
                  <a:pt x="488" y="232"/>
                </a:lnTo>
                <a:lnTo>
                  <a:pt x="488" y="240"/>
                </a:lnTo>
                <a:lnTo>
                  <a:pt x="494" y="240"/>
                </a:lnTo>
                <a:lnTo>
                  <a:pt x="494" y="246"/>
                </a:lnTo>
                <a:lnTo>
                  <a:pt x="494" y="252"/>
                </a:lnTo>
                <a:lnTo>
                  <a:pt x="488" y="252"/>
                </a:lnTo>
                <a:lnTo>
                  <a:pt x="474" y="260"/>
                </a:lnTo>
                <a:lnTo>
                  <a:pt x="468" y="266"/>
                </a:lnTo>
                <a:lnTo>
                  <a:pt x="474" y="266"/>
                </a:lnTo>
                <a:lnTo>
                  <a:pt x="474" y="272"/>
                </a:lnTo>
                <a:lnTo>
                  <a:pt x="474" y="280"/>
                </a:lnTo>
                <a:lnTo>
                  <a:pt x="468" y="280"/>
                </a:lnTo>
                <a:lnTo>
                  <a:pt x="474" y="280"/>
                </a:lnTo>
                <a:lnTo>
                  <a:pt x="474" y="286"/>
                </a:lnTo>
                <a:lnTo>
                  <a:pt x="474" y="292"/>
                </a:lnTo>
                <a:lnTo>
                  <a:pt x="480" y="292"/>
                </a:lnTo>
                <a:lnTo>
                  <a:pt x="488" y="292"/>
                </a:lnTo>
                <a:lnTo>
                  <a:pt x="488" y="300"/>
                </a:lnTo>
                <a:lnTo>
                  <a:pt x="494" y="300"/>
                </a:lnTo>
                <a:lnTo>
                  <a:pt x="494" y="306"/>
                </a:lnTo>
                <a:lnTo>
                  <a:pt x="494" y="312"/>
                </a:lnTo>
                <a:lnTo>
                  <a:pt x="488" y="320"/>
                </a:lnTo>
                <a:lnTo>
                  <a:pt x="488" y="326"/>
                </a:lnTo>
                <a:lnTo>
                  <a:pt x="260" y="320"/>
                </a:lnTo>
                <a:lnTo>
                  <a:pt x="74" y="312"/>
                </a:lnTo>
                <a:lnTo>
                  <a:pt x="0" y="312"/>
                </a:lnTo>
                <a:lnTo>
                  <a:pt x="0" y="280"/>
                </a:lnTo>
                <a:lnTo>
                  <a:pt x="6" y="92"/>
                </a:lnTo>
                <a:lnTo>
                  <a:pt x="6" y="5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 w="6350">
            <a:solidFill>
              <a:schemeClr val="tx2"/>
            </a:solidFill>
          </a:ln>
        </p:spPr>
        <p:txBody>
          <a:bodyPr/>
          <a:lstStyle/>
          <a:p>
            <a:pPr eaLnBrk="1" hangingPunct="1">
              <a:defRPr/>
            </a:pPr>
            <a:endParaRPr lang="en-US" dirty="0"/>
          </a:p>
        </p:txBody>
      </p:sp>
      <p:sp>
        <p:nvSpPr>
          <p:cNvPr id="247" name="Rectangle 216">
            <a:extLst>
              <a:ext uri="{FF2B5EF4-FFF2-40B4-BE49-F238E27FC236}">
                <a16:creationId xmlns:a16="http://schemas.microsoft.com/office/drawing/2014/main" id="{4798DE75-92E5-9837-8790-F41D45BA7B4A}"/>
              </a:ext>
            </a:extLst>
          </p:cNvPr>
          <p:cNvSpPr>
            <a:spLocks noChangeArrowheads="1"/>
          </p:cNvSpPr>
          <p:nvPr/>
        </p:nvSpPr>
        <p:spPr bwMode="auto">
          <a:xfrm rot="21540000">
            <a:off x="5071667" y="1927194"/>
            <a:ext cx="299762" cy="1077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en-US" altLang="en-US" sz="700" dirty="0">
                <a:latin typeface="Arial" panose="020B0604020202020204" pitchFamily="34" charset="0"/>
              </a:rPr>
              <a:t>Fayette</a:t>
            </a:r>
            <a:endParaRPr lang="en-US" altLang="en-US" sz="1800" dirty="0">
              <a:latin typeface="Arial" panose="020B0604020202020204" pitchFamily="34" charset="0"/>
            </a:endParaRPr>
          </a:p>
        </p:txBody>
      </p:sp>
      <p:sp>
        <p:nvSpPr>
          <p:cNvPr id="248" name="Rectangle 219">
            <a:extLst>
              <a:ext uri="{FF2B5EF4-FFF2-40B4-BE49-F238E27FC236}">
                <a16:creationId xmlns:a16="http://schemas.microsoft.com/office/drawing/2014/main" id="{F4A9257B-B214-23C8-0257-67D9AC26AB8E}"/>
              </a:ext>
            </a:extLst>
          </p:cNvPr>
          <p:cNvSpPr>
            <a:spLocks noChangeArrowheads="1"/>
          </p:cNvSpPr>
          <p:nvPr/>
        </p:nvSpPr>
        <p:spPr bwMode="auto">
          <a:xfrm rot="21540000">
            <a:off x="4508610" y="1991568"/>
            <a:ext cx="299762" cy="1077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en-US" altLang="en-US" sz="700" dirty="0">
                <a:latin typeface="Arial" panose="020B0604020202020204" pitchFamily="34" charset="0"/>
              </a:rPr>
              <a:t>Greene</a:t>
            </a:r>
            <a:endParaRPr lang="en-US" altLang="en-US" sz="1800" dirty="0">
              <a:latin typeface="Arial" panose="020B0604020202020204" pitchFamily="34" charset="0"/>
            </a:endParaRPr>
          </a:p>
        </p:txBody>
      </p:sp>
      <p:graphicFrame>
        <p:nvGraphicFramePr>
          <p:cNvPr id="249" name="Table 248">
            <a:extLst>
              <a:ext uri="{FF2B5EF4-FFF2-40B4-BE49-F238E27FC236}">
                <a16:creationId xmlns:a16="http://schemas.microsoft.com/office/drawing/2014/main" id="{B2C1EACC-BD2F-36F8-43E1-FFDD4FFC0E4F}"/>
              </a:ext>
            </a:extLst>
          </p:cNvPr>
          <p:cNvGraphicFramePr>
            <a:graphicFrameLocks noGrp="1"/>
          </p:cNvGraphicFramePr>
          <p:nvPr/>
        </p:nvGraphicFramePr>
        <p:xfrm>
          <a:off x="1742468" y="1521470"/>
          <a:ext cx="2053534" cy="30476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05353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274320"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>
                          <a:solidFill>
                            <a:schemeClr val="tx1"/>
                          </a:solidFill>
                        </a:rPr>
                        <a:t>‘24 &amp; ‘25 Service Area</a:t>
                      </a:r>
                    </a:p>
                  </a:txBody>
                  <a:tcPr marL="91405" marR="91405" marT="45700" marB="457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1B72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250" name="TextBox 249">
            <a:extLst>
              <a:ext uri="{FF2B5EF4-FFF2-40B4-BE49-F238E27FC236}">
                <a16:creationId xmlns:a16="http://schemas.microsoft.com/office/drawing/2014/main" id="{F6C1F5FE-41EF-E8E7-40A6-7C2D857BB418}"/>
              </a:ext>
            </a:extLst>
          </p:cNvPr>
          <p:cNvSpPr txBox="1"/>
          <p:nvPr/>
        </p:nvSpPr>
        <p:spPr>
          <a:xfrm>
            <a:off x="1524000" y="5936930"/>
            <a:ext cx="556260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dirty="0"/>
              <a:t>1. Expansion Subject to CMS Approval     2. Enrollment excludes SNP and Group </a:t>
            </a:r>
          </a:p>
        </p:txBody>
      </p:sp>
      <p:sp>
        <p:nvSpPr>
          <p:cNvPr id="251" name="object 7">
            <a:extLst>
              <a:ext uri="{FF2B5EF4-FFF2-40B4-BE49-F238E27FC236}">
                <a16:creationId xmlns:a16="http://schemas.microsoft.com/office/drawing/2014/main" id="{B9DB9C10-B202-BE7E-F598-A12ACF896261}"/>
              </a:ext>
            </a:extLst>
          </p:cNvPr>
          <p:cNvSpPr txBox="1"/>
          <p:nvPr/>
        </p:nvSpPr>
        <p:spPr>
          <a:xfrm>
            <a:off x="7696200" y="1447800"/>
            <a:ext cx="3429000" cy="3182570"/>
          </a:xfrm>
          <a:prstGeom prst="rect">
            <a:avLst/>
          </a:prstGeom>
        </p:spPr>
        <p:txBody>
          <a:bodyPr vert="horz" wrap="square" lIns="0" tIns="35719" rIns="0" bIns="0" rtlCol="0" anchor="t">
            <a:spAutoFit/>
          </a:bodyPr>
          <a:lstStyle/>
          <a:p>
            <a:pPr marL="9525" marR="594360" defTabSz="685800">
              <a:lnSpc>
                <a:spcPts val="1710"/>
              </a:lnSpc>
              <a:spcBef>
                <a:spcPts val="281"/>
              </a:spcBef>
              <a:defRPr/>
            </a:pPr>
            <a:r>
              <a:rPr lang="en-US" b="1" kern="0" dirty="0">
                <a:solidFill>
                  <a:prstClr val="black"/>
                </a:solidFill>
                <a:latin typeface="Calibri"/>
                <a:cs typeface="Arial"/>
              </a:rPr>
              <a:t>Highlights:</a:t>
            </a:r>
          </a:p>
          <a:p>
            <a:pPr marL="9525" marR="594360" defTabSz="685800">
              <a:lnSpc>
                <a:spcPts val="1710"/>
              </a:lnSpc>
              <a:spcBef>
                <a:spcPts val="281"/>
              </a:spcBef>
              <a:defRPr/>
            </a:pPr>
            <a:endParaRPr lang="en-US" b="1" kern="0" dirty="0">
              <a:solidFill>
                <a:prstClr val="black"/>
              </a:solidFill>
              <a:latin typeface="Calibri"/>
              <a:cs typeface="Arial"/>
            </a:endParaRPr>
          </a:p>
          <a:p>
            <a:pPr marL="295275" marR="594360" indent="-285750" defTabSz="685800">
              <a:lnSpc>
                <a:spcPts val="1710"/>
              </a:lnSpc>
              <a:spcBef>
                <a:spcPts val="281"/>
              </a:spcBef>
              <a:buFont typeface="Arial" panose="020B0604020202020204" pitchFamily="34" charset="0"/>
              <a:buChar char="•"/>
              <a:defRPr/>
            </a:pPr>
            <a:r>
              <a:rPr lang="en-US" kern="0" dirty="0">
                <a:solidFill>
                  <a:prstClr val="black"/>
                </a:solidFill>
                <a:latin typeface="Calibri"/>
                <a:cs typeface="Arial"/>
              </a:rPr>
              <a:t>Service area expected</a:t>
            </a:r>
            <a:r>
              <a:rPr lang="en-US" kern="0" baseline="30000" dirty="0">
                <a:solidFill>
                  <a:prstClr val="black"/>
                </a:solidFill>
                <a:latin typeface="Calibri"/>
                <a:cs typeface="Arial"/>
              </a:rPr>
              <a:t>1</a:t>
            </a:r>
            <a:r>
              <a:rPr lang="en-US" kern="0" dirty="0">
                <a:solidFill>
                  <a:prstClr val="black"/>
                </a:solidFill>
                <a:latin typeface="Calibri"/>
                <a:cs typeface="Arial"/>
              </a:rPr>
              <a:t> to grow from 29 counties in 2024/2025 to 51 counties in 2026</a:t>
            </a:r>
          </a:p>
          <a:p>
            <a:pPr marL="295275" marR="594360" indent="-285750" defTabSz="685800">
              <a:lnSpc>
                <a:spcPts val="1710"/>
              </a:lnSpc>
              <a:spcBef>
                <a:spcPts val="281"/>
              </a:spcBef>
              <a:buFont typeface="Arial" panose="020B0604020202020204" pitchFamily="34" charset="0"/>
              <a:buChar char="•"/>
              <a:defRPr/>
            </a:pPr>
            <a:endParaRPr lang="en-US" kern="0" dirty="0">
              <a:solidFill>
                <a:prstClr val="black"/>
              </a:solidFill>
              <a:latin typeface="Calibri"/>
              <a:cs typeface="Arial"/>
            </a:endParaRPr>
          </a:p>
          <a:p>
            <a:pPr marL="295275" marR="594360" indent="-285750" defTabSz="685800">
              <a:lnSpc>
                <a:spcPts val="1710"/>
              </a:lnSpc>
              <a:spcBef>
                <a:spcPts val="281"/>
              </a:spcBef>
              <a:buFont typeface="Arial" panose="020B0604020202020204" pitchFamily="34" charset="0"/>
              <a:buChar char="•"/>
              <a:defRPr/>
            </a:pPr>
            <a:r>
              <a:rPr lang="en-US" kern="0" dirty="0">
                <a:solidFill>
                  <a:prstClr val="black"/>
                </a:solidFill>
                <a:latin typeface="Calibri"/>
                <a:cs typeface="Arial"/>
              </a:rPr>
              <a:t>WV: expand to 49 counties </a:t>
            </a:r>
          </a:p>
          <a:p>
            <a:pPr marL="295275" marR="594360" indent="-285750" defTabSz="685800">
              <a:lnSpc>
                <a:spcPts val="1710"/>
              </a:lnSpc>
              <a:spcBef>
                <a:spcPts val="281"/>
              </a:spcBef>
              <a:buFont typeface="Arial" panose="020B0604020202020204" pitchFamily="34" charset="0"/>
              <a:buChar char="•"/>
              <a:defRPr/>
            </a:pPr>
            <a:endParaRPr lang="en-US" kern="0" dirty="0">
              <a:solidFill>
                <a:prstClr val="black"/>
              </a:solidFill>
              <a:latin typeface="Calibri"/>
              <a:cs typeface="Arial"/>
            </a:endParaRPr>
          </a:p>
          <a:p>
            <a:pPr marL="295275" marR="594360" indent="-285750" defTabSz="685800">
              <a:lnSpc>
                <a:spcPts val="1710"/>
              </a:lnSpc>
              <a:spcBef>
                <a:spcPts val="281"/>
              </a:spcBef>
              <a:buFont typeface="Arial" panose="020B0604020202020204" pitchFamily="34" charset="0"/>
              <a:buChar char="•"/>
              <a:defRPr/>
            </a:pPr>
            <a:r>
              <a:rPr lang="en-US" kern="0" dirty="0">
                <a:solidFill>
                  <a:prstClr val="black"/>
                </a:solidFill>
                <a:latin typeface="Calibri"/>
                <a:cs typeface="Arial"/>
              </a:rPr>
              <a:t>PA: expand in 2 counties</a:t>
            </a:r>
          </a:p>
          <a:p>
            <a:pPr marL="295275" marR="594360" indent="-285750" defTabSz="685800">
              <a:lnSpc>
                <a:spcPts val="1710"/>
              </a:lnSpc>
              <a:spcBef>
                <a:spcPts val="281"/>
              </a:spcBef>
              <a:buFont typeface="Arial" panose="020B0604020202020204" pitchFamily="34" charset="0"/>
              <a:buChar char="•"/>
              <a:defRPr/>
            </a:pPr>
            <a:endParaRPr lang="en-US" kern="0" dirty="0">
              <a:solidFill>
                <a:prstClr val="black"/>
              </a:solidFill>
              <a:latin typeface="Calibri"/>
              <a:cs typeface="Arial"/>
            </a:endParaRPr>
          </a:p>
          <a:p>
            <a:pPr marL="295275" marR="594360" indent="-285750" defTabSz="685800">
              <a:lnSpc>
                <a:spcPts val="1710"/>
              </a:lnSpc>
              <a:spcBef>
                <a:spcPts val="281"/>
              </a:spcBef>
              <a:buFont typeface="Arial" panose="020B0604020202020204" pitchFamily="34" charset="0"/>
              <a:buChar char="•"/>
              <a:defRPr/>
            </a:pPr>
            <a:r>
              <a:rPr lang="en-US" kern="0" dirty="0">
                <a:solidFill>
                  <a:prstClr val="black"/>
                </a:solidFill>
                <a:latin typeface="Calibri"/>
                <a:cs typeface="Arial"/>
              </a:rPr>
              <a:t>~135k MA enrolled in the 2026 addressable market</a:t>
            </a:r>
            <a:r>
              <a:rPr lang="en-US" kern="0" baseline="30000" dirty="0">
                <a:solidFill>
                  <a:prstClr val="black"/>
                </a:solidFill>
                <a:latin typeface="Calibri"/>
                <a:cs typeface="Arial"/>
              </a:rPr>
              <a:t>2</a:t>
            </a:r>
            <a:r>
              <a:rPr lang="en-US" kern="0" dirty="0">
                <a:solidFill>
                  <a:prstClr val="black"/>
                </a:solidFill>
                <a:latin typeface="Calibri"/>
                <a:cs typeface="Arial"/>
              </a:rPr>
              <a:t> 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3" name="Rectangle 112">
            <a:extLst>
              <a:ext uri="{FF2B5EF4-FFF2-40B4-BE49-F238E27FC236}">
                <a16:creationId xmlns:a16="http://schemas.microsoft.com/office/drawing/2014/main" id="{722487E0-FDED-C8D2-24FE-791C2F3772A0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74136" y="2827640"/>
            <a:ext cx="248466" cy="1077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lIns="0" tIns="0" rIns="0" bIns="0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defTabSz="457200">
              <a:spcBef>
                <a:spcPct val="0"/>
              </a:spcBef>
              <a:buNone/>
              <a:defRPr/>
            </a:pPr>
            <a:r>
              <a:rPr lang="en-US" altLang="en-US" sz="700" kern="0" dirty="0">
                <a:latin typeface="Arial" panose="020B0604020202020204" pitchFamily="34" charset="0"/>
              </a:rPr>
              <a:t>Taylor</a:t>
            </a:r>
            <a:endParaRPr lang="en-US" altLang="en-US" sz="1800" kern="0" dirty="0">
              <a:latin typeface="Arial" panose="020B0604020202020204" pitchFamily="34" charset="0"/>
            </a:endParaRPr>
          </a:p>
        </p:txBody>
      </p:sp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3E04E1CD-09F4-34ED-6F07-D30BC7248DB5}"/>
              </a:ext>
            </a:extLst>
          </p:cNvPr>
          <p:cNvGraphicFramePr>
            <a:graphicFrameLocks noGrp="1"/>
          </p:cNvGraphicFramePr>
          <p:nvPr/>
        </p:nvGraphicFramePr>
        <p:xfrm>
          <a:off x="1742468" y="1193800"/>
          <a:ext cx="2053534" cy="30476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05353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274320"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>
                          <a:solidFill>
                            <a:schemeClr val="tx1"/>
                          </a:solidFill>
                        </a:rPr>
                        <a:t>2026 Service Area</a:t>
                      </a:r>
                    </a:p>
                  </a:txBody>
                  <a:tcPr marL="91405" marR="91405" marT="45700" marB="4570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1428BA8E-4093-67CA-76D2-973F2C3060C9}"/>
              </a:ext>
            </a:extLst>
          </p:cNvPr>
          <p:cNvGraphicFramePr>
            <a:graphicFrameLocks noGrp="1"/>
          </p:cNvGraphicFramePr>
          <p:nvPr/>
        </p:nvGraphicFramePr>
        <p:xfrm>
          <a:off x="1742468" y="1849140"/>
          <a:ext cx="2053534" cy="30476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05353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274320"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>
                          <a:solidFill>
                            <a:schemeClr val="bg1"/>
                          </a:solidFill>
                        </a:rPr>
                        <a:t>Future Service Area</a:t>
                      </a:r>
                    </a:p>
                  </a:txBody>
                  <a:tcPr marL="91405" marR="91405" marT="45700" marB="457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5000"/>
                        <a:lumOff val="3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9" name="Title 1">
            <a:extLst>
              <a:ext uri="{FF2B5EF4-FFF2-40B4-BE49-F238E27FC236}">
                <a16:creationId xmlns:a16="http://schemas.microsoft.com/office/drawing/2014/main" id="{7DBE6D5B-F7CD-0FAD-6486-3B2A99901250}"/>
              </a:ext>
            </a:extLst>
          </p:cNvPr>
          <p:cNvSpPr txBox="1">
            <a:spLocks/>
          </p:cNvSpPr>
          <p:nvPr/>
        </p:nvSpPr>
        <p:spPr>
          <a:xfrm>
            <a:off x="85090" y="-19050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000" u="none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sz="3600" b="1" dirty="0">
                <a:solidFill>
                  <a:srgbClr val="002060"/>
                </a:solidFill>
              </a:rPr>
              <a:t>Peak’s Medicare Advantage Reach</a:t>
            </a:r>
          </a:p>
        </p:txBody>
      </p:sp>
    </p:spTree>
    <p:extLst>
      <p:ext uri="{BB962C8B-B14F-4D97-AF65-F5344CB8AC3E}">
        <p14:creationId xmlns:p14="http://schemas.microsoft.com/office/powerpoint/2010/main" val="2105704846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0BCF888-C260-AA91-D576-F7F9F1652AB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818120"/>
          </a:xfrm>
        </p:spPr>
        <p:txBody>
          <a:bodyPr/>
          <a:lstStyle/>
          <a:p>
            <a:r>
              <a:rPr lang="en-US" dirty="0"/>
              <a:t>WV Health Statistic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846155C-D5DE-ADAB-42FF-3B401979DB3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0" y="1600203"/>
            <a:ext cx="5334000" cy="4525963"/>
          </a:xfrm>
        </p:spPr>
        <p:txBody>
          <a:bodyPr>
            <a:norm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West Virginia ranking in the United States: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50</a:t>
            </a:r>
            <a:r>
              <a:rPr kumimoji="0" lang="en-US" sz="2000" b="0" i="0" u="none" strike="noStrike" kern="1200" cap="none" spc="0" normalizeH="0" baseline="30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h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for life expectancy at birth</a:t>
            </a:r>
            <a:endParaRPr kumimoji="0" lang="en-US" sz="2000" b="0" i="0" u="none" strike="noStrike" kern="1200" cap="none" spc="0" normalizeH="0" baseline="3000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</a:t>
            </a:r>
            <a:r>
              <a:rPr kumimoji="0" lang="en-US" sz="2000" b="0" i="0" u="none" strike="noStrike" kern="1200" cap="none" spc="0" normalizeH="0" baseline="30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t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 for adults who report smoking</a:t>
            </a:r>
            <a:endParaRPr kumimoji="0" lang="en-US" sz="2000" b="0" i="0" u="none" strike="noStrike" kern="1200" cap="none" spc="0" normalizeH="0" baseline="3000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</a:t>
            </a:r>
            <a:r>
              <a:rPr kumimoji="0" lang="en-US" sz="2000" b="0" i="0" u="none" strike="noStrike" kern="1200" cap="none" spc="0" normalizeH="0" baseline="30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t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 for adults who are obese</a:t>
            </a:r>
            <a:endParaRPr kumimoji="0" lang="en-US" sz="2000" b="0" i="0" u="none" strike="noStrike" kern="1200" cap="none" spc="0" normalizeH="0" baseline="3000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</a:t>
            </a:r>
            <a:r>
              <a:rPr kumimoji="0" lang="en-US" sz="2000" b="0" i="0" u="none" strike="noStrike" kern="1200" cap="none" spc="0" normalizeH="0" baseline="30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d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highest prescription drugs filled per capita</a:t>
            </a:r>
            <a:endParaRPr kumimoji="0" lang="en-US" sz="2000" b="0" i="0" u="none" strike="noStrike" kern="1200" cap="none" spc="0" normalizeH="0" baseline="3000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4</a:t>
            </a:r>
            <a:r>
              <a:rPr kumimoji="0" lang="en-US" sz="2000" b="0" i="0" u="none" strike="noStrike" kern="1200" cap="none" spc="0" normalizeH="0" baseline="30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h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highest hospital inpatient days per 1,000</a:t>
            </a:r>
            <a:endParaRPr kumimoji="0" lang="en-US" sz="2000" b="0" i="0" u="none" strike="noStrike" kern="1200" cap="none" spc="0" normalizeH="0" baseline="3000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5</a:t>
            </a:r>
            <a:r>
              <a:rPr kumimoji="0" lang="en-US" sz="2000" b="0" i="0" u="none" strike="noStrike" kern="1200" cap="none" spc="0" normalizeH="0" baseline="30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h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 highest number of hospital beds per 1,000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6</a:t>
            </a:r>
            <a:r>
              <a:rPr kumimoji="0" lang="en-US" sz="2000" b="0" i="0" u="none" strike="noStrike" kern="1200" cap="none" spc="0" normalizeH="0" baseline="30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h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 lowest hospital expense per inpatient day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3</a:t>
            </a:r>
            <a:r>
              <a:rPr kumimoji="0" lang="en-US" sz="2000" b="0" i="0" u="none" strike="noStrike" kern="1200" cap="none" spc="0" normalizeH="0" baseline="30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h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lowest private insurance spend per enrollee</a:t>
            </a:r>
          </a:p>
          <a:p>
            <a:pPr marL="0" indent="0">
              <a:buNone/>
            </a:pPr>
            <a:r>
              <a:rPr lang="en-US" sz="800" dirty="0"/>
              <a:t>Source: Kaiser Family Foundation State Health Fact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F1B36D0-A358-6A60-BE70-34DBC949600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3FBA54-5C1B-D348-9A99-18A91FDE7B7F}" type="slidenum">
              <a:rPr lang="en-US" smtClean="0"/>
              <a:t>23</a:t>
            </a:fld>
            <a:endParaRPr lang="en-US" dirty="0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C14397EF-C9DE-85AC-8C5B-33F18B9ECF94}"/>
              </a:ext>
            </a:extLst>
          </p:cNvPr>
          <p:cNvGrpSpPr/>
          <p:nvPr/>
        </p:nvGrpSpPr>
        <p:grpSpPr>
          <a:xfrm>
            <a:off x="5980981" y="1219200"/>
            <a:ext cx="6134819" cy="4525963"/>
            <a:chOff x="6001067" y="1679064"/>
            <a:chExt cx="6279679" cy="4515515"/>
          </a:xfrm>
        </p:grpSpPr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C922B3A8-3A1B-8199-F446-A1D1B3B8E53A}"/>
                </a:ext>
              </a:extLst>
            </p:cNvPr>
            <p:cNvSpPr txBox="1"/>
            <p:nvPr/>
          </p:nvSpPr>
          <p:spPr>
            <a:xfrm>
              <a:off x="6674737" y="1679064"/>
              <a:ext cx="5606009" cy="43088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2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vantGarde Md BT" panose="020B0602020202020204" pitchFamily="34" charset="0"/>
                  <a:cs typeface="Arial" panose="020B0604020202020204" pitchFamily="34" charset="0"/>
                </a:rPr>
                <a:t>Hospital Expense per Inpatient Day (2022)</a:t>
              </a:r>
            </a:p>
          </p:txBody>
        </p:sp>
        <p:grpSp>
          <p:nvGrpSpPr>
            <p:cNvPr id="7" name="Group 6">
              <a:extLst>
                <a:ext uri="{FF2B5EF4-FFF2-40B4-BE49-F238E27FC236}">
                  <a16:creationId xmlns:a16="http://schemas.microsoft.com/office/drawing/2014/main" id="{C15BD103-9848-FDAD-26A4-1E40A705FB65}"/>
                </a:ext>
              </a:extLst>
            </p:cNvPr>
            <p:cNvGrpSpPr/>
            <p:nvPr/>
          </p:nvGrpSpPr>
          <p:grpSpPr>
            <a:xfrm>
              <a:off x="6001067" y="2190569"/>
              <a:ext cx="5871174" cy="4004010"/>
              <a:chOff x="6001067" y="2190569"/>
              <a:chExt cx="5871174" cy="4004010"/>
            </a:xfrm>
          </p:grpSpPr>
          <p:grpSp>
            <p:nvGrpSpPr>
              <p:cNvPr id="8" name="Group 174">
                <a:extLst>
                  <a:ext uri="{FF2B5EF4-FFF2-40B4-BE49-F238E27FC236}">
                    <a16:creationId xmlns:a16="http://schemas.microsoft.com/office/drawing/2014/main" id="{45AF44A5-ED5D-EE24-5115-5628A14F72CB}"/>
                  </a:ext>
                </a:extLst>
              </p:cNvPr>
              <p:cNvGrpSpPr>
                <a:grpSpLocks noChangeAspect="1"/>
              </p:cNvGrpSpPr>
              <p:nvPr/>
            </p:nvGrpSpPr>
            <p:grpSpPr bwMode="auto">
              <a:xfrm>
                <a:off x="6001067" y="2190569"/>
                <a:ext cx="5871174" cy="2992576"/>
                <a:chOff x="-5111837" y="0"/>
                <a:chExt cx="37163462" cy="19096609"/>
              </a:xfrm>
            </p:grpSpPr>
            <p:sp>
              <p:nvSpPr>
                <p:cNvPr id="22" name="Alabama">
                  <a:extLst>
                    <a:ext uri="{FF2B5EF4-FFF2-40B4-BE49-F238E27FC236}">
                      <a16:creationId xmlns:a16="http://schemas.microsoft.com/office/drawing/2014/main" id="{B1E5F566-E01D-3353-95E2-C11269DDB93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0631150" y="11525250"/>
                  <a:ext cx="2276475" cy="3524250"/>
                </a:xfrm>
                <a:custGeom>
                  <a:avLst/>
                  <a:gdLst>
                    <a:gd name="T0" fmla="*/ 2147483647 w 16384"/>
                    <a:gd name="T1" fmla="*/ 2147483647 h 16384"/>
                    <a:gd name="T2" fmla="*/ 2147483647 w 16384"/>
                    <a:gd name="T3" fmla="*/ 2147483647 h 16384"/>
                    <a:gd name="T4" fmla="*/ 2147483647 w 16384"/>
                    <a:gd name="T5" fmla="*/ 2147483647 h 16384"/>
                    <a:gd name="T6" fmla="*/ 2147483647 w 16384"/>
                    <a:gd name="T7" fmla="*/ 2147483647 h 16384"/>
                    <a:gd name="T8" fmla="*/ 2147483647 w 16384"/>
                    <a:gd name="T9" fmla="*/ 2147483647 h 16384"/>
                    <a:gd name="T10" fmla="*/ 2147483647 w 16384"/>
                    <a:gd name="T11" fmla="*/ 2147483647 h 16384"/>
                    <a:gd name="T12" fmla="*/ 2147483647 w 16384"/>
                    <a:gd name="T13" fmla="*/ 2147483647 h 16384"/>
                    <a:gd name="T14" fmla="*/ 2147483647 w 16384"/>
                    <a:gd name="T15" fmla="*/ 2147483647 h 16384"/>
                    <a:gd name="T16" fmla="*/ 2147483647 w 16384"/>
                    <a:gd name="T17" fmla="*/ 2147483647 h 16384"/>
                    <a:gd name="T18" fmla="*/ 2147483647 w 16384"/>
                    <a:gd name="T19" fmla="*/ 2147483647 h 16384"/>
                    <a:gd name="T20" fmla="*/ 2147483647 w 16384"/>
                    <a:gd name="T21" fmla="*/ 2147483647 h 16384"/>
                    <a:gd name="T22" fmla="*/ 2147483647 w 16384"/>
                    <a:gd name="T23" fmla="*/ 2147483647 h 16384"/>
                    <a:gd name="T24" fmla="*/ 2147483647 w 16384"/>
                    <a:gd name="T25" fmla="*/ 2147483647 h 16384"/>
                    <a:gd name="T26" fmla="*/ 2147483647 w 16384"/>
                    <a:gd name="T27" fmla="*/ 2147483647 h 16384"/>
                    <a:gd name="T28" fmla="*/ 2147483647 w 16384"/>
                    <a:gd name="T29" fmla="*/ 2147483647 h 16384"/>
                    <a:gd name="T30" fmla="*/ 2147483647 w 16384"/>
                    <a:gd name="T31" fmla="*/ 2147483647 h 16384"/>
                    <a:gd name="T32" fmla="*/ 2147483647 w 16384"/>
                    <a:gd name="T33" fmla="*/ 2147483647 h 16384"/>
                    <a:gd name="T34" fmla="*/ 2147483647 w 16384"/>
                    <a:gd name="T35" fmla="*/ 2147483647 h 16384"/>
                    <a:gd name="T36" fmla="*/ 2147483647 w 16384"/>
                    <a:gd name="T37" fmla="*/ 2147483647 h 16384"/>
                    <a:gd name="T38" fmla="*/ 2147483647 w 16384"/>
                    <a:gd name="T39" fmla="*/ 2147483647 h 16384"/>
                    <a:gd name="T40" fmla="*/ 2147483647 w 16384"/>
                    <a:gd name="T41" fmla="*/ 2147483647 h 16384"/>
                    <a:gd name="T42" fmla="*/ 2147483647 w 16384"/>
                    <a:gd name="T43" fmla="*/ 2147483647 h 16384"/>
                    <a:gd name="T44" fmla="*/ 2147483647 w 16384"/>
                    <a:gd name="T45" fmla="*/ 2147483647 h 16384"/>
                    <a:gd name="T46" fmla="*/ 2147483647 w 16384"/>
                    <a:gd name="T47" fmla="*/ 2147483647 h 16384"/>
                    <a:gd name="T48" fmla="*/ 2147483647 w 16384"/>
                    <a:gd name="T49" fmla="*/ 2147483647 h 16384"/>
                    <a:gd name="T50" fmla="*/ 2147483647 w 16384"/>
                    <a:gd name="T51" fmla="*/ 2147483647 h 16384"/>
                    <a:gd name="T52" fmla="*/ 2147483647 w 16384"/>
                    <a:gd name="T53" fmla="*/ 2147483647 h 16384"/>
                    <a:gd name="T54" fmla="*/ 2147483647 w 16384"/>
                    <a:gd name="T55" fmla="*/ 2147483647 h 16384"/>
                    <a:gd name="T56" fmla="*/ 2147483647 w 16384"/>
                    <a:gd name="T57" fmla="*/ 2147483647 h 16384"/>
                    <a:gd name="T58" fmla="*/ 2147483647 w 16384"/>
                    <a:gd name="T59" fmla="*/ 2147483647 h 16384"/>
                    <a:gd name="T60" fmla="*/ 2147483647 w 16384"/>
                    <a:gd name="T61" fmla="*/ 2147483647 h 16384"/>
                    <a:gd name="T62" fmla="*/ 2147483647 w 16384"/>
                    <a:gd name="T63" fmla="*/ 2147483647 h 16384"/>
                    <a:gd name="T64" fmla="*/ 2147483647 w 16384"/>
                    <a:gd name="T65" fmla="*/ 2147483647 h 16384"/>
                    <a:gd name="T66" fmla="*/ 2147483647 w 16384"/>
                    <a:gd name="T67" fmla="*/ 2147483647 h 16384"/>
                    <a:gd name="T68" fmla="*/ 2147483647 w 16384"/>
                    <a:gd name="T69" fmla="*/ 2147483647 h 16384"/>
                    <a:gd name="T70" fmla="*/ 2147483647 w 16384"/>
                    <a:gd name="T71" fmla="*/ 2147483647 h 16384"/>
                    <a:gd name="T72" fmla="*/ 2147483647 w 16384"/>
                    <a:gd name="T73" fmla="*/ 2147483647 h 16384"/>
                    <a:gd name="T74" fmla="*/ 2147483647 w 16384"/>
                    <a:gd name="T75" fmla="*/ 2147483647 h 16384"/>
                    <a:gd name="T76" fmla="*/ 2147483647 w 16384"/>
                    <a:gd name="T77" fmla="*/ 2147483647 h 16384"/>
                    <a:gd name="T78" fmla="*/ 2147483647 w 16384"/>
                    <a:gd name="T79" fmla="*/ 2147483647 h 16384"/>
                    <a:gd name="T80" fmla="*/ 2147483647 w 16384"/>
                    <a:gd name="T81" fmla="*/ 2147483647 h 16384"/>
                    <a:gd name="T82" fmla="*/ 2147483647 w 16384"/>
                    <a:gd name="T83" fmla="*/ 2147483647 h 16384"/>
                    <a:gd name="T84" fmla="*/ 2147483647 w 16384"/>
                    <a:gd name="T85" fmla="*/ 2147483647 h 16384"/>
                    <a:gd name="T86" fmla="*/ 2147483647 w 16384"/>
                    <a:gd name="T87" fmla="*/ 2147483647 h 16384"/>
                    <a:gd name="T88" fmla="*/ 2147483647 w 16384"/>
                    <a:gd name="T89" fmla="*/ 2147483647 h 16384"/>
                    <a:gd name="T90" fmla="*/ 2147483647 w 16384"/>
                    <a:gd name="T91" fmla="*/ 2147483647 h 16384"/>
                    <a:gd name="T92" fmla="*/ 2147483647 w 16384"/>
                    <a:gd name="T93" fmla="*/ 2147483647 h 16384"/>
                    <a:gd name="T94" fmla="*/ 2147483647 w 16384"/>
                    <a:gd name="T95" fmla="*/ 2147483647 h 16384"/>
                    <a:gd name="T96" fmla="*/ 2147483647 w 16384"/>
                    <a:gd name="T97" fmla="*/ 2147483647 h 16384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w 16384"/>
                    <a:gd name="T148" fmla="*/ 0 h 16384"/>
                    <a:gd name="T149" fmla="*/ 16384 w 16384"/>
                    <a:gd name="T150" fmla="*/ 16384 h 16384"/>
                  </a:gdLst>
                  <a:ahLst/>
                  <a:cxnLst>
                    <a:cxn ang="T98">
                      <a:pos x="T0" y="T1"/>
                    </a:cxn>
                    <a:cxn ang="T99">
                      <a:pos x="T2" y="T3"/>
                    </a:cxn>
                    <a:cxn ang="T100">
                      <a:pos x="T4" y="T5"/>
                    </a:cxn>
                    <a:cxn ang="T101">
                      <a:pos x="T6" y="T7"/>
                    </a:cxn>
                    <a:cxn ang="T102">
                      <a:pos x="T8" y="T9"/>
                    </a:cxn>
                    <a:cxn ang="T103">
                      <a:pos x="T10" y="T11"/>
                    </a:cxn>
                    <a:cxn ang="T104">
                      <a:pos x="T12" y="T13"/>
                    </a:cxn>
                    <a:cxn ang="T105">
                      <a:pos x="T14" y="T15"/>
                    </a:cxn>
                    <a:cxn ang="T106">
                      <a:pos x="T16" y="T17"/>
                    </a:cxn>
                    <a:cxn ang="T107">
                      <a:pos x="T18" y="T19"/>
                    </a:cxn>
                    <a:cxn ang="T108">
                      <a:pos x="T20" y="T21"/>
                    </a:cxn>
                    <a:cxn ang="T109">
                      <a:pos x="T22" y="T23"/>
                    </a:cxn>
                    <a:cxn ang="T110">
                      <a:pos x="T24" y="T25"/>
                    </a:cxn>
                    <a:cxn ang="T111">
                      <a:pos x="T26" y="T27"/>
                    </a:cxn>
                    <a:cxn ang="T112">
                      <a:pos x="T28" y="T29"/>
                    </a:cxn>
                    <a:cxn ang="T113">
                      <a:pos x="T30" y="T31"/>
                    </a:cxn>
                    <a:cxn ang="T114">
                      <a:pos x="T32" y="T33"/>
                    </a:cxn>
                    <a:cxn ang="T115">
                      <a:pos x="T34" y="T35"/>
                    </a:cxn>
                    <a:cxn ang="T116">
                      <a:pos x="T36" y="T37"/>
                    </a:cxn>
                    <a:cxn ang="T117">
                      <a:pos x="T38" y="T39"/>
                    </a:cxn>
                    <a:cxn ang="T118">
                      <a:pos x="T40" y="T41"/>
                    </a:cxn>
                    <a:cxn ang="T119">
                      <a:pos x="T42" y="T43"/>
                    </a:cxn>
                    <a:cxn ang="T120">
                      <a:pos x="T44" y="T45"/>
                    </a:cxn>
                    <a:cxn ang="T121">
                      <a:pos x="T46" y="T47"/>
                    </a:cxn>
                    <a:cxn ang="T122">
                      <a:pos x="T48" y="T49"/>
                    </a:cxn>
                    <a:cxn ang="T123">
                      <a:pos x="T50" y="T51"/>
                    </a:cxn>
                    <a:cxn ang="T124">
                      <a:pos x="T52" y="T53"/>
                    </a:cxn>
                    <a:cxn ang="T125">
                      <a:pos x="T54" y="T55"/>
                    </a:cxn>
                    <a:cxn ang="T126">
                      <a:pos x="T56" y="T57"/>
                    </a:cxn>
                    <a:cxn ang="T127">
                      <a:pos x="T58" y="T59"/>
                    </a:cxn>
                    <a:cxn ang="T128">
                      <a:pos x="T60" y="T61"/>
                    </a:cxn>
                    <a:cxn ang="T129">
                      <a:pos x="T62" y="T63"/>
                    </a:cxn>
                    <a:cxn ang="T130">
                      <a:pos x="T64" y="T65"/>
                    </a:cxn>
                    <a:cxn ang="T131">
                      <a:pos x="T66" y="T67"/>
                    </a:cxn>
                    <a:cxn ang="T132">
                      <a:pos x="T68" y="T69"/>
                    </a:cxn>
                    <a:cxn ang="T133">
                      <a:pos x="T70" y="T71"/>
                    </a:cxn>
                    <a:cxn ang="T134">
                      <a:pos x="T72" y="T73"/>
                    </a:cxn>
                    <a:cxn ang="T135">
                      <a:pos x="T74" y="T75"/>
                    </a:cxn>
                    <a:cxn ang="T136">
                      <a:pos x="T76" y="T77"/>
                    </a:cxn>
                    <a:cxn ang="T137">
                      <a:pos x="T78" y="T79"/>
                    </a:cxn>
                    <a:cxn ang="T138">
                      <a:pos x="T80" y="T81"/>
                    </a:cxn>
                    <a:cxn ang="T139">
                      <a:pos x="T82" y="T83"/>
                    </a:cxn>
                    <a:cxn ang="T140">
                      <a:pos x="T84" y="T85"/>
                    </a:cxn>
                    <a:cxn ang="T141">
                      <a:pos x="T86" y="T87"/>
                    </a:cxn>
                    <a:cxn ang="T142">
                      <a:pos x="T88" y="T89"/>
                    </a:cxn>
                    <a:cxn ang="T143">
                      <a:pos x="T90" y="T91"/>
                    </a:cxn>
                    <a:cxn ang="T144">
                      <a:pos x="T92" y="T93"/>
                    </a:cxn>
                    <a:cxn ang="T145">
                      <a:pos x="T94" y="T95"/>
                    </a:cxn>
                    <a:cxn ang="T146">
                      <a:pos x="T96" y="T97"/>
                    </a:cxn>
                  </a:cxnLst>
                  <a:rect l="T147" t="T148" r="T149" b="T150"/>
                  <a:pathLst>
                    <a:path w="16384" h="16384">
                      <a:moveTo>
                        <a:pt x="14101" y="6128"/>
                      </a:moveTo>
                      <a:lnTo>
                        <a:pt x="14101" y="6087"/>
                      </a:lnTo>
                      <a:lnTo>
                        <a:pt x="13631" y="5086"/>
                      </a:lnTo>
                      <a:lnTo>
                        <a:pt x="13564" y="4878"/>
                      </a:lnTo>
                      <a:lnTo>
                        <a:pt x="13295" y="4336"/>
                      </a:lnTo>
                      <a:lnTo>
                        <a:pt x="12959" y="3544"/>
                      </a:lnTo>
                      <a:lnTo>
                        <a:pt x="12825" y="3335"/>
                      </a:lnTo>
                      <a:lnTo>
                        <a:pt x="12691" y="2960"/>
                      </a:lnTo>
                      <a:lnTo>
                        <a:pt x="12355" y="2376"/>
                      </a:lnTo>
                      <a:lnTo>
                        <a:pt x="11952" y="1334"/>
                      </a:lnTo>
                      <a:lnTo>
                        <a:pt x="11885" y="1209"/>
                      </a:lnTo>
                      <a:lnTo>
                        <a:pt x="11549" y="459"/>
                      </a:lnTo>
                      <a:lnTo>
                        <a:pt x="11348" y="0"/>
                      </a:lnTo>
                      <a:lnTo>
                        <a:pt x="10274" y="83"/>
                      </a:lnTo>
                      <a:lnTo>
                        <a:pt x="8259" y="167"/>
                      </a:lnTo>
                      <a:lnTo>
                        <a:pt x="6245" y="292"/>
                      </a:lnTo>
                      <a:lnTo>
                        <a:pt x="6043" y="292"/>
                      </a:lnTo>
                      <a:lnTo>
                        <a:pt x="4365" y="375"/>
                      </a:lnTo>
                      <a:lnTo>
                        <a:pt x="4297" y="375"/>
                      </a:lnTo>
                      <a:lnTo>
                        <a:pt x="2619" y="459"/>
                      </a:lnTo>
                      <a:lnTo>
                        <a:pt x="940" y="542"/>
                      </a:lnTo>
                      <a:lnTo>
                        <a:pt x="67" y="584"/>
                      </a:lnTo>
                      <a:lnTo>
                        <a:pt x="0" y="625"/>
                      </a:lnTo>
                      <a:lnTo>
                        <a:pt x="201" y="792"/>
                      </a:lnTo>
                      <a:lnTo>
                        <a:pt x="336" y="875"/>
                      </a:lnTo>
                      <a:lnTo>
                        <a:pt x="470" y="959"/>
                      </a:lnTo>
                      <a:lnTo>
                        <a:pt x="403" y="2001"/>
                      </a:lnTo>
                      <a:lnTo>
                        <a:pt x="403" y="2418"/>
                      </a:lnTo>
                      <a:lnTo>
                        <a:pt x="403" y="2877"/>
                      </a:lnTo>
                      <a:lnTo>
                        <a:pt x="403" y="3669"/>
                      </a:lnTo>
                      <a:lnTo>
                        <a:pt x="403" y="3752"/>
                      </a:lnTo>
                      <a:lnTo>
                        <a:pt x="336" y="4836"/>
                      </a:lnTo>
                      <a:lnTo>
                        <a:pt x="336" y="5545"/>
                      </a:lnTo>
                      <a:lnTo>
                        <a:pt x="269" y="6337"/>
                      </a:lnTo>
                      <a:lnTo>
                        <a:pt x="269" y="7337"/>
                      </a:lnTo>
                      <a:lnTo>
                        <a:pt x="201" y="7588"/>
                      </a:lnTo>
                      <a:lnTo>
                        <a:pt x="201" y="8713"/>
                      </a:lnTo>
                      <a:lnTo>
                        <a:pt x="134" y="9630"/>
                      </a:lnTo>
                      <a:lnTo>
                        <a:pt x="134" y="9922"/>
                      </a:lnTo>
                      <a:lnTo>
                        <a:pt x="134" y="11048"/>
                      </a:lnTo>
                      <a:lnTo>
                        <a:pt x="201" y="11673"/>
                      </a:lnTo>
                      <a:lnTo>
                        <a:pt x="403" y="12549"/>
                      </a:lnTo>
                      <a:lnTo>
                        <a:pt x="604" y="13591"/>
                      </a:lnTo>
                      <a:lnTo>
                        <a:pt x="739" y="14008"/>
                      </a:lnTo>
                      <a:lnTo>
                        <a:pt x="873" y="14841"/>
                      </a:lnTo>
                      <a:lnTo>
                        <a:pt x="1074" y="15925"/>
                      </a:lnTo>
                      <a:lnTo>
                        <a:pt x="1276" y="15884"/>
                      </a:lnTo>
                      <a:lnTo>
                        <a:pt x="1343" y="15925"/>
                      </a:lnTo>
                      <a:lnTo>
                        <a:pt x="1477" y="15925"/>
                      </a:lnTo>
                      <a:lnTo>
                        <a:pt x="1612" y="15925"/>
                      </a:lnTo>
                      <a:lnTo>
                        <a:pt x="1813" y="15925"/>
                      </a:lnTo>
                      <a:lnTo>
                        <a:pt x="1880" y="15967"/>
                      </a:lnTo>
                      <a:lnTo>
                        <a:pt x="2014" y="16050"/>
                      </a:lnTo>
                      <a:lnTo>
                        <a:pt x="2149" y="16092"/>
                      </a:lnTo>
                      <a:lnTo>
                        <a:pt x="2216" y="16092"/>
                      </a:lnTo>
                      <a:lnTo>
                        <a:pt x="2283" y="16092"/>
                      </a:lnTo>
                      <a:lnTo>
                        <a:pt x="2283" y="16009"/>
                      </a:lnTo>
                      <a:lnTo>
                        <a:pt x="2350" y="15925"/>
                      </a:lnTo>
                      <a:lnTo>
                        <a:pt x="2350" y="15759"/>
                      </a:lnTo>
                      <a:lnTo>
                        <a:pt x="2350" y="15634"/>
                      </a:lnTo>
                      <a:lnTo>
                        <a:pt x="2350" y="15383"/>
                      </a:lnTo>
                      <a:lnTo>
                        <a:pt x="2283" y="15300"/>
                      </a:lnTo>
                      <a:lnTo>
                        <a:pt x="2350" y="15258"/>
                      </a:lnTo>
                      <a:lnTo>
                        <a:pt x="2350" y="15217"/>
                      </a:lnTo>
                      <a:lnTo>
                        <a:pt x="2417" y="15175"/>
                      </a:lnTo>
                      <a:lnTo>
                        <a:pt x="2484" y="15133"/>
                      </a:lnTo>
                      <a:lnTo>
                        <a:pt x="2484" y="14967"/>
                      </a:lnTo>
                      <a:lnTo>
                        <a:pt x="2484" y="14925"/>
                      </a:lnTo>
                      <a:lnTo>
                        <a:pt x="2552" y="14841"/>
                      </a:lnTo>
                      <a:lnTo>
                        <a:pt x="2552" y="14800"/>
                      </a:lnTo>
                      <a:lnTo>
                        <a:pt x="2552" y="14716"/>
                      </a:lnTo>
                      <a:lnTo>
                        <a:pt x="2552" y="14591"/>
                      </a:lnTo>
                      <a:lnTo>
                        <a:pt x="2619" y="14550"/>
                      </a:lnTo>
                      <a:lnTo>
                        <a:pt x="2686" y="14550"/>
                      </a:lnTo>
                      <a:lnTo>
                        <a:pt x="2820" y="14591"/>
                      </a:lnTo>
                      <a:lnTo>
                        <a:pt x="3022" y="14841"/>
                      </a:lnTo>
                      <a:lnTo>
                        <a:pt x="3156" y="14967"/>
                      </a:lnTo>
                      <a:lnTo>
                        <a:pt x="3156" y="15133"/>
                      </a:lnTo>
                      <a:lnTo>
                        <a:pt x="3223" y="15217"/>
                      </a:lnTo>
                      <a:lnTo>
                        <a:pt x="3223" y="15300"/>
                      </a:lnTo>
                      <a:lnTo>
                        <a:pt x="3089" y="15425"/>
                      </a:lnTo>
                      <a:lnTo>
                        <a:pt x="3223" y="15550"/>
                      </a:lnTo>
                      <a:lnTo>
                        <a:pt x="3223" y="15675"/>
                      </a:lnTo>
                      <a:lnTo>
                        <a:pt x="3357" y="15759"/>
                      </a:lnTo>
                      <a:lnTo>
                        <a:pt x="3492" y="15800"/>
                      </a:lnTo>
                      <a:lnTo>
                        <a:pt x="3626" y="15800"/>
                      </a:lnTo>
                      <a:lnTo>
                        <a:pt x="3626" y="15884"/>
                      </a:lnTo>
                      <a:lnTo>
                        <a:pt x="3760" y="16009"/>
                      </a:lnTo>
                      <a:lnTo>
                        <a:pt x="3895" y="16050"/>
                      </a:lnTo>
                      <a:lnTo>
                        <a:pt x="3895" y="16176"/>
                      </a:lnTo>
                      <a:lnTo>
                        <a:pt x="3760" y="16217"/>
                      </a:lnTo>
                      <a:lnTo>
                        <a:pt x="3425" y="16259"/>
                      </a:lnTo>
                      <a:lnTo>
                        <a:pt x="3156" y="16259"/>
                      </a:lnTo>
                      <a:lnTo>
                        <a:pt x="3022" y="16259"/>
                      </a:lnTo>
                      <a:lnTo>
                        <a:pt x="2954" y="16301"/>
                      </a:lnTo>
                      <a:lnTo>
                        <a:pt x="2887" y="16384"/>
                      </a:lnTo>
                      <a:lnTo>
                        <a:pt x="2954" y="16384"/>
                      </a:lnTo>
                      <a:lnTo>
                        <a:pt x="3156" y="16384"/>
                      </a:lnTo>
                      <a:lnTo>
                        <a:pt x="3357" y="16342"/>
                      </a:lnTo>
                      <a:lnTo>
                        <a:pt x="3559" y="16342"/>
                      </a:lnTo>
                      <a:lnTo>
                        <a:pt x="3895" y="16301"/>
                      </a:lnTo>
                      <a:lnTo>
                        <a:pt x="4499" y="16217"/>
                      </a:lnTo>
                      <a:lnTo>
                        <a:pt x="4835" y="16134"/>
                      </a:lnTo>
                      <a:lnTo>
                        <a:pt x="4835" y="16050"/>
                      </a:lnTo>
                      <a:lnTo>
                        <a:pt x="4835" y="16009"/>
                      </a:lnTo>
                      <a:lnTo>
                        <a:pt x="4969" y="16009"/>
                      </a:lnTo>
                      <a:lnTo>
                        <a:pt x="5103" y="16009"/>
                      </a:lnTo>
                      <a:lnTo>
                        <a:pt x="5170" y="15842"/>
                      </a:lnTo>
                      <a:lnTo>
                        <a:pt x="5305" y="15842"/>
                      </a:lnTo>
                      <a:lnTo>
                        <a:pt x="5439" y="15759"/>
                      </a:lnTo>
                      <a:lnTo>
                        <a:pt x="5439" y="15717"/>
                      </a:lnTo>
                      <a:lnTo>
                        <a:pt x="5506" y="15675"/>
                      </a:lnTo>
                      <a:lnTo>
                        <a:pt x="5573" y="15634"/>
                      </a:lnTo>
                      <a:lnTo>
                        <a:pt x="5640" y="15634"/>
                      </a:lnTo>
                      <a:lnTo>
                        <a:pt x="5708" y="15550"/>
                      </a:lnTo>
                      <a:lnTo>
                        <a:pt x="5708" y="15509"/>
                      </a:lnTo>
                      <a:lnTo>
                        <a:pt x="5439" y="15425"/>
                      </a:lnTo>
                      <a:lnTo>
                        <a:pt x="5372" y="15383"/>
                      </a:lnTo>
                      <a:lnTo>
                        <a:pt x="5305" y="15300"/>
                      </a:lnTo>
                      <a:lnTo>
                        <a:pt x="5372" y="15258"/>
                      </a:lnTo>
                      <a:lnTo>
                        <a:pt x="5439" y="15133"/>
                      </a:lnTo>
                      <a:lnTo>
                        <a:pt x="5506" y="15008"/>
                      </a:lnTo>
                      <a:lnTo>
                        <a:pt x="5573" y="14883"/>
                      </a:lnTo>
                      <a:lnTo>
                        <a:pt x="5439" y="14800"/>
                      </a:lnTo>
                      <a:lnTo>
                        <a:pt x="5305" y="14758"/>
                      </a:lnTo>
                      <a:lnTo>
                        <a:pt x="5238" y="14716"/>
                      </a:lnTo>
                      <a:lnTo>
                        <a:pt x="5103" y="14675"/>
                      </a:lnTo>
                      <a:lnTo>
                        <a:pt x="4835" y="14508"/>
                      </a:lnTo>
                      <a:lnTo>
                        <a:pt x="4499" y="14300"/>
                      </a:lnTo>
                      <a:lnTo>
                        <a:pt x="4432" y="14258"/>
                      </a:lnTo>
                      <a:lnTo>
                        <a:pt x="4365" y="14216"/>
                      </a:lnTo>
                      <a:lnTo>
                        <a:pt x="4365" y="14133"/>
                      </a:lnTo>
                      <a:lnTo>
                        <a:pt x="4432" y="14008"/>
                      </a:lnTo>
                      <a:lnTo>
                        <a:pt x="4499" y="13924"/>
                      </a:lnTo>
                      <a:lnTo>
                        <a:pt x="4432" y="13758"/>
                      </a:lnTo>
                      <a:lnTo>
                        <a:pt x="6446" y="13632"/>
                      </a:lnTo>
                      <a:lnTo>
                        <a:pt x="8192" y="13549"/>
                      </a:lnTo>
                      <a:lnTo>
                        <a:pt x="8595" y="13507"/>
                      </a:lnTo>
                      <a:lnTo>
                        <a:pt x="10072" y="13424"/>
                      </a:lnTo>
                      <a:lnTo>
                        <a:pt x="10945" y="13382"/>
                      </a:lnTo>
                      <a:lnTo>
                        <a:pt x="11617" y="13341"/>
                      </a:lnTo>
                      <a:lnTo>
                        <a:pt x="14034" y="13174"/>
                      </a:lnTo>
                      <a:lnTo>
                        <a:pt x="14168" y="13174"/>
                      </a:lnTo>
                      <a:lnTo>
                        <a:pt x="16384" y="13049"/>
                      </a:lnTo>
                      <a:lnTo>
                        <a:pt x="16250" y="12882"/>
                      </a:lnTo>
                      <a:lnTo>
                        <a:pt x="16250" y="12799"/>
                      </a:lnTo>
                      <a:lnTo>
                        <a:pt x="16183" y="12757"/>
                      </a:lnTo>
                      <a:lnTo>
                        <a:pt x="16183" y="12674"/>
                      </a:lnTo>
                      <a:lnTo>
                        <a:pt x="15981" y="12590"/>
                      </a:lnTo>
                      <a:lnTo>
                        <a:pt x="15847" y="12507"/>
                      </a:lnTo>
                      <a:lnTo>
                        <a:pt x="15780" y="12423"/>
                      </a:lnTo>
                      <a:lnTo>
                        <a:pt x="15713" y="12257"/>
                      </a:lnTo>
                      <a:lnTo>
                        <a:pt x="15713" y="12132"/>
                      </a:lnTo>
                      <a:lnTo>
                        <a:pt x="15780" y="12090"/>
                      </a:lnTo>
                      <a:lnTo>
                        <a:pt x="15780" y="11965"/>
                      </a:lnTo>
                      <a:lnTo>
                        <a:pt x="15780" y="11715"/>
                      </a:lnTo>
                      <a:lnTo>
                        <a:pt x="15780" y="11590"/>
                      </a:lnTo>
                      <a:lnTo>
                        <a:pt x="15780" y="11465"/>
                      </a:lnTo>
                      <a:lnTo>
                        <a:pt x="15780" y="11340"/>
                      </a:lnTo>
                      <a:lnTo>
                        <a:pt x="15847" y="11173"/>
                      </a:lnTo>
                      <a:lnTo>
                        <a:pt x="15713" y="11048"/>
                      </a:lnTo>
                      <a:lnTo>
                        <a:pt x="15511" y="10798"/>
                      </a:lnTo>
                      <a:lnTo>
                        <a:pt x="15377" y="10673"/>
                      </a:lnTo>
                      <a:lnTo>
                        <a:pt x="15377" y="10506"/>
                      </a:lnTo>
                      <a:lnTo>
                        <a:pt x="15310" y="10464"/>
                      </a:lnTo>
                      <a:lnTo>
                        <a:pt x="15242" y="10214"/>
                      </a:lnTo>
                      <a:lnTo>
                        <a:pt x="15377" y="9964"/>
                      </a:lnTo>
                      <a:lnTo>
                        <a:pt x="15511" y="9880"/>
                      </a:lnTo>
                      <a:lnTo>
                        <a:pt x="15511" y="9755"/>
                      </a:lnTo>
                      <a:lnTo>
                        <a:pt x="15511" y="9672"/>
                      </a:lnTo>
                      <a:lnTo>
                        <a:pt x="15511" y="9547"/>
                      </a:lnTo>
                      <a:lnTo>
                        <a:pt x="15511" y="9464"/>
                      </a:lnTo>
                      <a:lnTo>
                        <a:pt x="15511" y="9422"/>
                      </a:lnTo>
                      <a:lnTo>
                        <a:pt x="15444" y="9338"/>
                      </a:lnTo>
                      <a:lnTo>
                        <a:pt x="15511" y="9213"/>
                      </a:lnTo>
                      <a:lnTo>
                        <a:pt x="15780" y="9130"/>
                      </a:lnTo>
                      <a:lnTo>
                        <a:pt x="15847" y="9047"/>
                      </a:lnTo>
                      <a:lnTo>
                        <a:pt x="15914" y="8963"/>
                      </a:lnTo>
                      <a:lnTo>
                        <a:pt x="16048" y="8922"/>
                      </a:lnTo>
                      <a:lnTo>
                        <a:pt x="16115" y="8838"/>
                      </a:lnTo>
                      <a:lnTo>
                        <a:pt x="15981" y="8755"/>
                      </a:lnTo>
                      <a:lnTo>
                        <a:pt x="15780" y="8671"/>
                      </a:lnTo>
                      <a:lnTo>
                        <a:pt x="15645" y="8630"/>
                      </a:lnTo>
                      <a:lnTo>
                        <a:pt x="15713" y="8463"/>
                      </a:lnTo>
                      <a:lnTo>
                        <a:pt x="15713" y="8338"/>
                      </a:lnTo>
                      <a:lnTo>
                        <a:pt x="15578" y="8171"/>
                      </a:lnTo>
                      <a:lnTo>
                        <a:pt x="15578" y="8088"/>
                      </a:lnTo>
                      <a:lnTo>
                        <a:pt x="15511" y="7963"/>
                      </a:lnTo>
                      <a:lnTo>
                        <a:pt x="15310" y="7921"/>
                      </a:lnTo>
                      <a:lnTo>
                        <a:pt x="15108" y="7754"/>
                      </a:lnTo>
                      <a:lnTo>
                        <a:pt x="14974" y="7629"/>
                      </a:lnTo>
                      <a:lnTo>
                        <a:pt x="14974" y="7504"/>
                      </a:lnTo>
                      <a:lnTo>
                        <a:pt x="14840" y="7337"/>
                      </a:lnTo>
                      <a:lnTo>
                        <a:pt x="14840" y="7296"/>
                      </a:lnTo>
                      <a:lnTo>
                        <a:pt x="14772" y="7212"/>
                      </a:lnTo>
                      <a:lnTo>
                        <a:pt x="14705" y="7171"/>
                      </a:lnTo>
                      <a:lnTo>
                        <a:pt x="14571" y="7004"/>
                      </a:lnTo>
                      <a:lnTo>
                        <a:pt x="14437" y="6920"/>
                      </a:lnTo>
                      <a:lnTo>
                        <a:pt x="14101" y="6128"/>
                      </a:lnTo>
                      <a:close/>
                    </a:path>
                  </a:pathLst>
                </a:custGeom>
                <a:solidFill>
                  <a:srgbClr val="00B050"/>
                </a:solidFill>
                <a:ln w="9525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defTabSz="121917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23" name="Arizona">
                  <a:extLst>
                    <a:ext uri="{FF2B5EF4-FFF2-40B4-BE49-F238E27FC236}">
                      <a16:creationId xmlns:a16="http://schemas.microsoft.com/office/drawing/2014/main" id="{2D6E096C-4751-8A00-015E-4B5EC5DD9C6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095750" y="9401175"/>
                  <a:ext cx="4048125" cy="4476750"/>
                </a:xfrm>
                <a:custGeom>
                  <a:avLst/>
                  <a:gdLst>
                    <a:gd name="T0" fmla="*/ 2147483647 w 16384"/>
                    <a:gd name="T1" fmla="*/ 2147483647 h 16384"/>
                    <a:gd name="T2" fmla="*/ 2147483647 w 16384"/>
                    <a:gd name="T3" fmla="*/ 2147483647 h 16384"/>
                    <a:gd name="T4" fmla="*/ 2147483647 w 16384"/>
                    <a:gd name="T5" fmla="*/ 2147483647 h 16384"/>
                    <a:gd name="T6" fmla="*/ 2147483647 w 16384"/>
                    <a:gd name="T7" fmla="*/ 2147483647 h 16384"/>
                    <a:gd name="T8" fmla="*/ 2147483647 w 16384"/>
                    <a:gd name="T9" fmla="*/ 2147483647 h 16384"/>
                    <a:gd name="T10" fmla="*/ 2147483647 w 16384"/>
                    <a:gd name="T11" fmla="*/ 2147483647 h 16384"/>
                    <a:gd name="T12" fmla="*/ 2147483647 w 16384"/>
                    <a:gd name="T13" fmla="*/ 2147483647 h 16384"/>
                    <a:gd name="T14" fmla="*/ 2147483647 w 16384"/>
                    <a:gd name="T15" fmla="*/ 2147483647 h 16384"/>
                    <a:gd name="T16" fmla="*/ 2147483647 w 16384"/>
                    <a:gd name="T17" fmla="*/ 2147483647 h 16384"/>
                    <a:gd name="T18" fmla="*/ 2147483647 w 16384"/>
                    <a:gd name="T19" fmla="*/ 2147483647 h 16384"/>
                    <a:gd name="T20" fmla="*/ 2147483647 w 16384"/>
                    <a:gd name="T21" fmla="*/ 2147483647 h 16384"/>
                    <a:gd name="T22" fmla="*/ 2147483647 w 16384"/>
                    <a:gd name="T23" fmla="*/ 2147483647 h 16384"/>
                    <a:gd name="T24" fmla="*/ 2147483647 w 16384"/>
                    <a:gd name="T25" fmla="*/ 2147483647 h 16384"/>
                    <a:gd name="T26" fmla="*/ 2147483647 w 16384"/>
                    <a:gd name="T27" fmla="*/ 2147483647 h 16384"/>
                    <a:gd name="T28" fmla="*/ 2147483647 w 16384"/>
                    <a:gd name="T29" fmla="*/ 2147483647 h 16384"/>
                    <a:gd name="T30" fmla="*/ 2147483647 w 16384"/>
                    <a:gd name="T31" fmla="*/ 2147483647 h 16384"/>
                    <a:gd name="T32" fmla="*/ 2147483647 w 16384"/>
                    <a:gd name="T33" fmla="*/ 2147483647 h 16384"/>
                    <a:gd name="T34" fmla="*/ 2147483647 w 16384"/>
                    <a:gd name="T35" fmla="*/ 2147483647 h 16384"/>
                    <a:gd name="T36" fmla="*/ 2147483647 w 16384"/>
                    <a:gd name="T37" fmla="*/ 2147483647 h 16384"/>
                    <a:gd name="T38" fmla="*/ 2147483647 w 16384"/>
                    <a:gd name="T39" fmla="*/ 2147483647 h 16384"/>
                    <a:gd name="T40" fmla="*/ 2147483647 w 16384"/>
                    <a:gd name="T41" fmla="*/ 2147483647 h 16384"/>
                    <a:gd name="T42" fmla="*/ 2147483647 w 16384"/>
                    <a:gd name="T43" fmla="*/ 2147483647 h 16384"/>
                    <a:gd name="T44" fmla="*/ 2147483647 w 16384"/>
                    <a:gd name="T45" fmla="*/ 2147483647 h 16384"/>
                    <a:gd name="T46" fmla="*/ 2147483647 w 16384"/>
                    <a:gd name="T47" fmla="*/ 2147483647 h 16384"/>
                    <a:gd name="T48" fmla="*/ 2147483647 w 16384"/>
                    <a:gd name="T49" fmla="*/ 2147483647 h 16384"/>
                    <a:gd name="T50" fmla="*/ 2147483647 w 16384"/>
                    <a:gd name="T51" fmla="*/ 2147483647 h 16384"/>
                    <a:gd name="T52" fmla="*/ 2147483647 w 16384"/>
                    <a:gd name="T53" fmla="*/ 2147483647 h 16384"/>
                    <a:gd name="T54" fmla="*/ 2147483647 w 16384"/>
                    <a:gd name="T55" fmla="*/ 2147483647 h 16384"/>
                    <a:gd name="T56" fmla="*/ 2147483647 w 16384"/>
                    <a:gd name="T57" fmla="*/ 2147483647 h 16384"/>
                    <a:gd name="T58" fmla="*/ 2147483647 w 16384"/>
                    <a:gd name="T59" fmla="*/ 2147483647 h 16384"/>
                    <a:gd name="T60" fmla="*/ 2147483647 w 16384"/>
                    <a:gd name="T61" fmla="*/ 2147483647 h 16384"/>
                    <a:gd name="T62" fmla="*/ 2147483647 w 16384"/>
                    <a:gd name="T63" fmla="*/ 2147483647 h 16384"/>
                    <a:gd name="T64" fmla="*/ 2147483647 w 16384"/>
                    <a:gd name="T65" fmla="*/ 2147483647 h 16384"/>
                    <a:gd name="T66" fmla="*/ 2147483647 w 16384"/>
                    <a:gd name="T67" fmla="*/ 2147483647 h 16384"/>
                    <a:gd name="T68" fmla="*/ 2147483647 w 16384"/>
                    <a:gd name="T69" fmla="*/ 2147483647 h 16384"/>
                    <a:gd name="T70" fmla="*/ 2147483647 w 16384"/>
                    <a:gd name="T71" fmla="*/ 2147483647 h 16384"/>
                    <a:gd name="T72" fmla="*/ 2147483647 w 16384"/>
                    <a:gd name="T73" fmla="*/ 2147483647 h 16384"/>
                    <a:gd name="T74" fmla="*/ 2147483647 w 16384"/>
                    <a:gd name="T75" fmla="*/ 2147483647 h 16384"/>
                    <a:gd name="T76" fmla="*/ 2147483647 w 16384"/>
                    <a:gd name="T77" fmla="*/ 2147483647 h 16384"/>
                    <a:gd name="T78" fmla="*/ 2147483647 w 16384"/>
                    <a:gd name="T79" fmla="*/ 2147483647 h 16384"/>
                    <a:gd name="T80" fmla="*/ 2147483647 w 16384"/>
                    <a:gd name="T81" fmla="*/ 2147483647 h 16384"/>
                    <a:gd name="T82" fmla="*/ 2147483647 w 16384"/>
                    <a:gd name="T83" fmla="*/ 2147483647 h 16384"/>
                    <a:gd name="T84" fmla="*/ 2147483647 w 16384"/>
                    <a:gd name="T85" fmla="*/ 2147483647 h 16384"/>
                    <a:gd name="T86" fmla="*/ 2147483647 w 16384"/>
                    <a:gd name="T87" fmla="*/ 2147483647 h 16384"/>
                    <a:gd name="T88" fmla="*/ 2147483647 w 16384"/>
                    <a:gd name="T89" fmla="*/ 2147483647 h 16384"/>
                    <a:gd name="T90" fmla="*/ 2147483647 w 16384"/>
                    <a:gd name="T91" fmla="*/ 2147483647 h 16384"/>
                    <a:gd name="T92" fmla="*/ 2147483647 w 16384"/>
                    <a:gd name="T93" fmla="*/ 2147483647 h 16384"/>
                    <a:gd name="T94" fmla="*/ 2147483647 w 16384"/>
                    <a:gd name="T95" fmla="*/ 2147483647 h 16384"/>
                    <a:gd name="T96" fmla="*/ 2147483647 w 16384"/>
                    <a:gd name="T97" fmla="*/ 2147483647 h 16384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w 16384"/>
                    <a:gd name="T148" fmla="*/ 0 h 16384"/>
                    <a:gd name="T149" fmla="*/ 16384 w 16384"/>
                    <a:gd name="T150" fmla="*/ 16384 h 16384"/>
                  </a:gdLst>
                  <a:ahLst/>
                  <a:cxnLst>
                    <a:cxn ang="T98">
                      <a:pos x="T0" y="T1"/>
                    </a:cxn>
                    <a:cxn ang="T99">
                      <a:pos x="T2" y="T3"/>
                    </a:cxn>
                    <a:cxn ang="T100">
                      <a:pos x="T4" y="T5"/>
                    </a:cxn>
                    <a:cxn ang="T101">
                      <a:pos x="T6" y="T7"/>
                    </a:cxn>
                    <a:cxn ang="T102">
                      <a:pos x="T8" y="T9"/>
                    </a:cxn>
                    <a:cxn ang="T103">
                      <a:pos x="T10" y="T11"/>
                    </a:cxn>
                    <a:cxn ang="T104">
                      <a:pos x="T12" y="T13"/>
                    </a:cxn>
                    <a:cxn ang="T105">
                      <a:pos x="T14" y="T15"/>
                    </a:cxn>
                    <a:cxn ang="T106">
                      <a:pos x="T16" y="T17"/>
                    </a:cxn>
                    <a:cxn ang="T107">
                      <a:pos x="T18" y="T19"/>
                    </a:cxn>
                    <a:cxn ang="T108">
                      <a:pos x="T20" y="T21"/>
                    </a:cxn>
                    <a:cxn ang="T109">
                      <a:pos x="T22" y="T23"/>
                    </a:cxn>
                    <a:cxn ang="T110">
                      <a:pos x="T24" y="T25"/>
                    </a:cxn>
                    <a:cxn ang="T111">
                      <a:pos x="T26" y="T27"/>
                    </a:cxn>
                    <a:cxn ang="T112">
                      <a:pos x="T28" y="T29"/>
                    </a:cxn>
                    <a:cxn ang="T113">
                      <a:pos x="T30" y="T31"/>
                    </a:cxn>
                    <a:cxn ang="T114">
                      <a:pos x="T32" y="T33"/>
                    </a:cxn>
                    <a:cxn ang="T115">
                      <a:pos x="T34" y="T35"/>
                    </a:cxn>
                    <a:cxn ang="T116">
                      <a:pos x="T36" y="T37"/>
                    </a:cxn>
                    <a:cxn ang="T117">
                      <a:pos x="T38" y="T39"/>
                    </a:cxn>
                    <a:cxn ang="T118">
                      <a:pos x="T40" y="T41"/>
                    </a:cxn>
                    <a:cxn ang="T119">
                      <a:pos x="T42" y="T43"/>
                    </a:cxn>
                    <a:cxn ang="T120">
                      <a:pos x="T44" y="T45"/>
                    </a:cxn>
                    <a:cxn ang="T121">
                      <a:pos x="T46" y="T47"/>
                    </a:cxn>
                    <a:cxn ang="T122">
                      <a:pos x="T48" y="T49"/>
                    </a:cxn>
                    <a:cxn ang="T123">
                      <a:pos x="T50" y="T51"/>
                    </a:cxn>
                    <a:cxn ang="T124">
                      <a:pos x="T52" y="T53"/>
                    </a:cxn>
                    <a:cxn ang="T125">
                      <a:pos x="T54" y="T55"/>
                    </a:cxn>
                    <a:cxn ang="T126">
                      <a:pos x="T56" y="T57"/>
                    </a:cxn>
                    <a:cxn ang="T127">
                      <a:pos x="T58" y="T59"/>
                    </a:cxn>
                    <a:cxn ang="T128">
                      <a:pos x="T60" y="T61"/>
                    </a:cxn>
                    <a:cxn ang="T129">
                      <a:pos x="T62" y="T63"/>
                    </a:cxn>
                    <a:cxn ang="T130">
                      <a:pos x="T64" y="T65"/>
                    </a:cxn>
                    <a:cxn ang="T131">
                      <a:pos x="T66" y="T67"/>
                    </a:cxn>
                    <a:cxn ang="T132">
                      <a:pos x="T68" y="T69"/>
                    </a:cxn>
                    <a:cxn ang="T133">
                      <a:pos x="T70" y="T71"/>
                    </a:cxn>
                    <a:cxn ang="T134">
                      <a:pos x="T72" y="T73"/>
                    </a:cxn>
                    <a:cxn ang="T135">
                      <a:pos x="T74" y="T75"/>
                    </a:cxn>
                    <a:cxn ang="T136">
                      <a:pos x="T76" y="T77"/>
                    </a:cxn>
                    <a:cxn ang="T137">
                      <a:pos x="T78" y="T79"/>
                    </a:cxn>
                    <a:cxn ang="T138">
                      <a:pos x="T80" y="T81"/>
                    </a:cxn>
                    <a:cxn ang="T139">
                      <a:pos x="T82" y="T83"/>
                    </a:cxn>
                    <a:cxn ang="T140">
                      <a:pos x="T84" y="T85"/>
                    </a:cxn>
                    <a:cxn ang="T141">
                      <a:pos x="T86" y="T87"/>
                    </a:cxn>
                    <a:cxn ang="T142">
                      <a:pos x="T88" y="T89"/>
                    </a:cxn>
                    <a:cxn ang="T143">
                      <a:pos x="T90" y="T91"/>
                    </a:cxn>
                    <a:cxn ang="T144">
                      <a:pos x="T92" y="T93"/>
                    </a:cxn>
                    <a:cxn ang="T145">
                      <a:pos x="T94" y="T95"/>
                    </a:cxn>
                    <a:cxn ang="T146">
                      <a:pos x="T96" y="T97"/>
                    </a:cxn>
                  </a:cxnLst>
                  <a:rect l="T147" t="T148" r="T149" b="T150"/>
                  <a:pathLst>
                    <a:path w="16384" h="16384">
                      <a:moveTo>
                        <a:pt x="8041" y="15368"/>
                      </a:moveTo>
                      <a:lnTo>
                        <a:pt x="8268" y="15466"/>
                      </a:lnTo>
                      <a:lnTo>
                        <a:pt x="8721" y="15696"/>
                      </a:lnTo>
                      <a:lnTo>
                        <a:pt x="9023" y="15761"/>
                      </a:lnTo>
                      <a:lnTo>
                        <a:pt x="9929" y="15892"/>
                      </a:lnTo>
                      <a:lnTo>
                        <a:pt x="10344" y="15925"/>
                      </a:lnTo>
                      <a:lnTo>
                        <a:pt x="10646" y="15991"/>
                      </a:lnTo>
                      <a:lnTo>
                        <a:pt x="11552" y="16089"/>
                      </a:lnTo>
                      <a:lnTo>
                        <a:pt x="12496" y="16220"/>
                      </a:lnTo>
                      <a:lnTo>
                        <a:pt x="13515" y="16351"/>
                      </a:lnTo>
                      <a:lnTo>
                        <a:pt x="13968" y="16384"/>
                      </a:lnTo>
                      <a:lnTo>
                        <a:pt x="14421" y="13599"/>
                      </a:lnTo>
                      <a:lnTo>
                        <a:pt x="14572" y="12681"/>
                      </a:lnTo>
                      <a:lnTo>
                        <a:pt x="14761" y="11600"/>
                      </a:lnTo>
                      <a:lnTo>
                        <a:pt x="14987" y="10125"/>
                      </a:lnTo>
                      <a:lnTo>
                        <a:pt x="15327" y="8028"/>
                      </a:lnTo>
                      <a:lnTo>
                        <a:pt x="15516" y="7045"/>
                      </a:lnTo>
                      <a:lnTo>
                        <a:pt x="15969" y="4325"/>
                      </a:lnTo>
                      <a:lnTo>
                        <a:pt x="16384" y="1704"/>
                      </a:lnTo>
                      <a:lnTo>
                        <a:pt x="16120" y="1704"/>
                      </a:lnTo>
                      <a:lnTo>
                        <a:pt x="15516" y="1606"/>
                      </a:lnTo>
                      <a:lnTo>
                        <a:pt x="14761" y="1507"/>
                      </a:lnTo>
                      <a:lnTo>
                        <a:pt x="14270" y="1442"/>
                      </a:lnTo>
                      <a:lnTo>
                        <a:pt x="14081" y="1409"/>
                      </a:lnTo>
                      <a:lnTo>
                        <a:pt x="13892" y="1409"/>
                      </a:lnTo>
                      <a:lnTo>
                        <a:pt x="13364" y="1343"/>
                      </a:lnTo>
                      <a:lnTo>
                        <a:pt x="12798" y="1245"/>
                      </a:lnTo>
                      <a:lnTo>
                        <a:pt x="12458" y="1212"/>
                      </a:lnTo>
                      <a:lnTo>
                        <a:pt x="12307" y="1180"/>
                      </a:lnTo>
                      <a:lnTo>
                        <a:pt x="12118" y="1147"/>
                      </a:lnTo>
                      <a:lnTo>
                        <a:pt x="11439" y="1081"/>
                      </a:lnTo>
                      <a:lnTo>
                        <a:pt x="11137" y="1016"/>
                      </a:lnTo>
                      <a:lnTo>
                        <a:pt x="10948" y="983"/>
                      </a:lnTo>
                      <a:lnTo>
                        <a:pt x="10759" y="950"/>
                      </a:lnTo>
                      <a:lnTo>
                        <a:pt x="10117" y="885"/>
                      </a:lnTo>
                      <a:lnTo>
                        <a:pt x="9476" y="786"/>
                      </a:lnTo>
                      <a:lnTo>
                        <a:pt x="8872" y="688"/>
                      </a:lnTo>
                      <a:lnTo>
                        <a:pt x="8381" y="623"/>
                      </a:lnTo>
                      <a:lnTo>
                        <a:pt x="8079" y="557"/>
                      </a:lnTo>
                      <a:lnTo>
                        <a:pt x="7626" y="492"/>
                      </a:lnTo>
                      <a:lnTo>
                        <a:pt x="7210" y="426"/>
                      </a:lnTo>
                      <a:lnTo>
                        <a:pt x="6984" y="393"/>
                      </a:lnTo>
                      <a:lnTo>
                        <a:pt x="6304" y="295"/>
                      </a:lnTo>
                      <a:lnTo>
                        <a:pt x="5700" y="197"/>
                      </a:lnTo>
                      <a:lnTo>
                        <a:pt x="5021" y="66"/>
                      </a:lnTo>
                      <a:lnTo>
                        <a:pt x="4530" y="0"/>
                      </a:lnTo>
                      <a:lnTo>
                        <a:pt x="4417" y="393"/>
                      </a:lnTo>
                      <a:lnTo>
                        <a:pt x="4039" y="2032"/>
                      </a:lnTo>
                      <a:lnTo>
                        <a:pt x="3926" y="2195"/>
                      </a:lnTo>
                      <a:lnTo>
                        <a:pt x="3813" y="2294"/>
                      </a:lnTo>
                      <a:lnTo>
                        <a:pt x="3737" y="2425"/>
                      </a:lnTo>
                      <a:lnTo>
                        <a:pt x="3586" y="2458"/>
                      </a:lnTo>
                      <a:lnTo>
                        <a:pt x="3435" y="2425"/>
                      </a:lnTo>
                      <a:lnTo>
                        <a:pt x="3322" y="2359"/>
                      </a:lnTo>
                      <a:lnTo>
                        <a:pt x="3322" y="2163"/>
                      </a:lnTo>
                      <a:lnTo>
                        <a:pt x="3171" y="2064"/>
                      </a:lnTo>
                      <a:lnTo>
                        <a:pt x="2945" y="2032"/>
                      </a:lnTo>
                      <a:lnTo>
                        <a:pt x="2794" y="1966"/>
                      </a:lnTo>
                      <a:lnTo>
                        <a:pt x="2567" y="1966"/>
                      </a:lnTo>
                      <a:lnTo>
                        <a:pt x="2416" y="1999"/>
                      </a:lnTo>
                      <a:lnTo>
                        <a:pt x="2341" y="1999"/>
                      </a:lnTo>
                      <a:lnTo>
                        <a:pt x="2265" y="2130"/>
                      </a:lnTo>
                      <a:lnTo>
                        <a:pt x="2303" y="2261"/>
                      </a:lnTo>
                      <a:lnTo>
                        <a:pt x="2265" y="2392"/>
                      </a:lnTo>
                      <a:lnTo>
                        <a:pt x="2265" y="2523"/>
                      </a:lnTo>
                      <a:lnTo>
                        <a:pt x="2303" y="2589"/>
                      </a:lnTo>
                      <a:lnTo>
                        <a:pt x="2227" y="2818"/>
                      </a:lnTo>
                      <a:lnTo>
                        <a:pt x="2190" y="3015"/>
                      </a:lnTo>
                      <a:lnTo>
                        <a:pt x="2190" y="3178"/>
                      </a:lnTo>
                      <a:lnTo>
                        <a:pt x="2190" y="3310"/>
                      </a:lnTo>
                      <a:lnTo>
                        <a:pt x="2190" y="3473"/>
                      </a:lnTo>
                      <a:lnTo>
                        <a:pt x="2152" y="3604"/>
                      </a:lnTo>
                      <a:lnTo>
                        <a:pt x="2114" y="3736"/>
                      </a:lnTo>
                      <a:lnTo>
                        <a:pt x="2190" y="3867"/>
                      </a:lnTo>
                      <a:lnTo>
                        <a:pt x="2190" y="3998"/>
                      </a:lnTo>
                      <a:lnTo>
                        <a:pt x="2190" y="4194"/>
                      </a:lnTo>
                      <a:lnTo>
                        <a:pt x="2190" y="4325"/>
                      </a:lnTo>
                      <a:lnTo>
                        <a:pt x="2190" y="4456"/>
                      </a:lnTo>
                      <a:lnTo>
                        <a:pt x="2076" y="4588"/>
                      </a:lnTo>
                      <a:lnTo>
                        <a:pt x="1963" y="4620"/>
                      </a:lnTo>
                      <a:lnTo>
                        <a:pt x="1925" y="4850"/>
                      </a:lnTo>
                      <a:lnTo>
                        <a:pt x="1888" y="4981"/>
                      </a:lnTo>
                      <a:lnTo>
                        <a:pt x="1925" y="5210"/>
                      </a:lnTo>
                      <a:lnTo>
                        <a:pt x="2001" y="5276"/>
                      </a:lnTo>
                      <a:lnTo>
                        <a:pt x="2076" y="5308"/>
                      </a:lnTo>
                      <a:lnTo>
                        <a:pt x="2039" y="5374"/>
                      </a:lnTo>
                      <a:lnTo>
                        <a:pt x="1963" y="5439"/>
                      </a:lnTo>
                      <a:lnTo>
                        <a:pt x="2190" y="5734"/>
                      </a:lnTo>
                      <a:lnTo>
                        <a:pt x="2227" y="5997"/>
                      </a:lnTo>
                      <a:lnTo>
                        <a:pt x="2265" y="6062"/>
                      </a:lnTo>
                      <a:lnTo>
                        <a:pt x="2265" y="6390"/>
                      </a:lnTo>
                      <a:lnTo>
                        <a:pt x="2416" y="6521"/>
                      </a:lnTo>
                      <a:lnTo>
                        <a:pt x="2680" y="6816"/>
                      </a:lnTo>
                      <a:lnTo>
                        <a:pt x="2718" y="6914"/>
                      </a:lnTo>
                      <a:lnTo>
                        <a:pt x="2718" y="7012"/>
                      </a:lnTo>
                      <a:lnTo>
                        <a:pt x="2567" y="7045"/>
                      </a:lnTo>
                      <a:lnTo>
                        <a:pt x="2454" y="7143"/>
                      </a:lnTo>
                      <a:lnTo>
                        <a:pt x="2227" y="7209"/>
                      </a:lnTo>
                      <a:lnTo>
                        <a:pt x="1963" y="7274"/>
                      </a:lnTo>
                      <a:lnTo>
                        <a:pt x="1888" y="7373"/>
                      </a:lnTo>
                      <a:lnTo>
                        <a:pt x="1812" y="7471"/>
                      </a:lnTo>
                      <a:lnTo>
                        <a:pt x="1737" y="7504"/>
                      </a:lnTo>
                      <a:lnTo>
                        <a:pt x="1774" y="7569"/>
                      </a:lnTo>
                      <a:lnTo>
                        <a:pt x="1586" y="7602"/>
                      </a:lnTo>
                      <a:lnTo>
                        <a:pt x="1510" y="7700"/>
                      </a:lnTo>
                      <a:lnTo>
                        <a:pt x="1435" y="8094"/>
                      </a:lnTo>
                      <a:lnTo>
                        <a:pt x="1435" y="8225"/>
                      </a:lnTo>
                      <a:lnTo>
                        <a:pt x="1359" y="8290"/>
                      </a:lnTo>
                      <a:lnTo>
                        <a:pt x="1359" y="8487"/>
                      </a:lnTo>
                      <a:lnTo>
                        <a:pt x="1284" y="8585"/>
                      </a:lnTo>
                      <a:lnTo>
                        <a:pt x="1208" y="8684"/>
                      </a:lnTo>
                      <a:lnTo>
                        <a:pt x="1095" y="8684"/>
                      </a:lnTo>
                      <a:lnTo>
                        <a:pt x="1095" y="8782"/>
                      </a:lnTo>
                      <a:lnTo>
                        <a:pt x="1019" y="8815"/>
                      </a:lnTo>
                      <a:lnTo>
                        <a:pt x="982" y="8880"/>
                      </a:lnTo>
                      <a:lnTo>
                        <a:pt x="831" y="8913"/>
                      </a:lnTo>
                      <a:lnTo>
                        <a:pt x="755" y="8978"/>
                      </a:lnTo>
                      <a:lnTo>
                        <a:pt x="717" y="9077"/>
                      </a:lnTo>
                      <a:lnTo>
                        <a:pt x="642" y="9208"/>
                      </a:lnTo>
                      <a:lnTo>
                        <a:pt x="717" y="9339"/>
                      </a:lnTo>
                      <a:lnTo>
                        <a:pt x="642" y="9667"/>
                      </a:lnTo>
                      <a:lnTo>
                        <a:pt x="604" y="9830"/>
                      </a:lnTo>
                      <a:lnTo>
                        <a:pt x="717" y="9896"/>
                      </a:lnTo>
                      <a:lnTo>
                        <a:pt x="982" y="9994"/>
                      </a:lnTo>
                      <a:lnTo>
                        <a:pt x="1095" y="10125"/>
                      </a:lnTo>
                      <a:lnTo>
                        <a:pt x="1095" y="10289"/>
                      </a:lnTo>
                      <a:lnTo>
                        <a:pt x="1057" y="10453"/>
                      </a:lnTo>
                      <a:lnTo>
                        <a:pt x="906" y="10551"/>
                      </a:lnTo>
                      <a:lnTo>
                        <a:pt x="793" y="10715"/>
                      </a:lnTo>
                      <a:lnTo>
                        <a:pt x="680" y="10748"/>
                      </a:lnTo>
                      <a:lnTo>
                        <a:pt x="529" y="10715"/>
                      </a:lnTo>
                      <a:lnTo>
                        <a:pt x="415" y="10682"/>
                      </a:lnTo>
                      <a:lnTo>
                        <a:pt x="340" y="10715"/>
                      </a:lnTo>
                      <a:lnTo>
                        <a:pt x="189" y="10846"/>
                      </a:lnTo>
                      <a:lnTo>
                        <a:pt x="38" y="11076"/>
                      </a:lnTo>
                      <a:lnTo>
                        <a:pt x="0" y="11239"/>
                      </a:lnTo>
                      <a:lnTo>
                        <a:pt x="264" y="11370"/>
                      </a:lnTo>
                      <a:lnTo>
                        <a:pt x="1133" y="11829"/>
                      </a:lnTo>
                      <a:lnTo>
                        <a:pt x="1812" y="12190"/>
                      </a:lnTo>
                      <a:lnTo>
                        <a:pt x="2492" y="12517"/>
                      </a:lnTo>
                      <a:lnTo>
                        <a:pt x="3133" y="12878"/>
                      </a:lnTo>
                      <a:lnTo>
                        <a:pt x="3398" y="13009"/>
                      </a:lnTo>
                      <a:lnTo>
                        <a:pt x="3775" y="13206"/>
                      </a:lnTo>
                      <a:lnTo>
                        <a:pt x="4379" y="13533"/>
                      </a:lnTo>
                      <a:lnTo>
                        <a:pt x="5021" y="13861"/>
                      </a:lnTo>
                      <a:lnTo>
                        <a:pt x="5814" y="14254"/>
                      </a:lnTo>
                      <a:lnTo>
                        <a:pt x="6493" y="14582"/>
                      </a:lnTo>
                      <a:lnTo>
                        <a:pt x="7475" y="15073"/>
                      </a:lnTo>
                      <a:lnTo>
                        <a:pt x="8041" y="15368"/>
                      </a:lnTo>
                      <a:close/>
                    </a:path>
                  </a:pathLst>
                </a:custGeom>
                <a:solidFill>
                  <a:srgbClr val="FFFF00"/>
                </a:solidFill>
                <a:ln w="9525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defTabSz="121917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24" name="Arkansas">
                  <a:extLst>
                    <a:ext uri="{FF2B5EF4-FFF2-40B4-BE49-F238E27FC236}">
                      <a16:creationId xmlns:a16="http://schemas.microsoft.com/office/drawing/2014/main" id="{1EFA602B-DB6D-A65C-0B4D-E1CDFFCF552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6331460" y="10648950"/>
                  <a:ext cx="3751156" cy="2590801"/>
                </a:xfrm>
                <a:custGeom>
                  <a:avLst/>
                  <a:gdLst>
                    <a:gd name="T0" fmla="*/ 2147483647 w 16384"/>
                    <a:gd name="T1" fmla="*/ 2147483647 h 16384"/>
                    <a:gd name="T2" fmla="*/ 2147483647 w 16384"/>
                    <a:gd name="T3" fmla="*/ 2147483647 h 16384"/>
                    <a:gd name="T4" fmla="*/ 2147483647 w 16384"/>
                    <a:gd name="T5" fmla="*/ 2147483647 h 16384"/>
                    <a:gd name="T6" fmla="*/ 2147483647 w 16384"/>
                    <a:gd name="T7" fmla="*/ 2147483647 h 16384"/>
                    <a:gd name="T8" fmla="*/ 2147483647 w 16384"/>
                    <a:gd name="T9" fmla="*/ 2147483647 h 16384"/>
                    <a:gd name="T10" fmla="*/ 2147483647 w 16384"/>
                    <a:gd name="T11" fmla="*/ 2147483647 h 16384"/>
                    <a:gd name="T12" fmla="*/ 2147483647 w 16384"/>
                    <a:gd name="T13" fmla="*/ 2147483647 h 16384"/>
                    <a:gd name="T14" fmla="*/ 2147483647 w 16384"/>
                    <a:gd name="T15" fmla="*/ 2147483647 h 16384"/>
                    <a:gd name="T16" fmla="*/ 2147483647 w 16384"/>
                    <a:gd name="T17" fmla="*/ 2147483647 h 16384"/>
                    <a:gd name="T18" fmla="*/ 2147483647 w 16384"/>
                    <a:gd name="T19" fmla="*/ 2147483647 h 16384"/>
                    <a:gd name="T20" fmla="*/ 2147483647 w 16384"/>
                    <a:gd name="T21" fmla="*/ 2147483647 h 16384"/>
                    <a:gd name="T22" fmla="*/ 2147483647 w 16384"/>
                    <a:gd name="T23" fmla="*/ 2147483647 h 16384"/>
                    <a:gd name="T24" fmla="*/ 2147483647 w 16384"/>
                    <a:gd name="T25" fmla="*/ 2147483647 h 16384"/>
                    <a:gd name="T26" fmla="*/ 2147483647 w 16384"/>
                    <a:gd name="T27" fmla="*/ 2147483647 h 16384"/>
                    <a:gd name="T28" fmla="*/ 2147483647 w 16384"/>
                    <a:gd name="T29" fmla="*/ 2147483647 h 16384"/>
                    <a:gd name="T30" fmla="*/ 2147483647 w 16384"/>
                    <a:gd name="T31" fmla="*/ 2147483647 h 16384"/>
                    <a:gd name="T32" fmla="*/ 2147483647 w 16384"/>
                    <a:gd name="T33" fmla="*/ 2147483647 h 16384"/>
                    <a:gd name="T34" fmla="*/ 2147483647 w 16384"/>
                    <a:gd name="T35" fmla="*/ 2147483647 h 16384"/>
                    <a:gd name="T36" fmla="*/ 2147483647 w 16384"/>
                    <a:gd name="T37" fmla="*/ 2147483647 h 16384"/>
                    <a:gd name="T38" fmla="*/ 2147483647 w 16384"/>
                    <a:gd name="T39" fmla="*/ 2147483647 h 16384"/>
                    <a:gd name="T40" fmla="*/ 2147483647 w 16384"/>
                    <a:gd name="T41" fmla="*/ 2147483647 h 16384"/>
                    <a:gd name="T42" fmla="*/ 2147483647 w 16384"/>
                    <a:gd name="T43" fmla="*/ 2147483647 h 16384"/>
                    <a:gd name="T44" fmla="*/ 2147483647 w 16384"/>
                    <a:gd name="T45" fmla="*/ 2147483647 h 16384"/>
                    <a:gd name="T46" fmla="*/ 0 w 16384"/>
                    <a:gd name="T47" fmla="*/ 2147483647 h 16384"/>
                    <a:gd name="T48" fmla="*/ 2147483647 w 16384"/>
                    <a:gd name="T49" fmla="*/ 2147483647 h 16384"/>
                    <a:gd name="T50" fmla="*/ 2147483647 w 16384"/>
                    <a:gd name="T51" fmla="*/ 2147483647 h 16384"/>
                    <a:gd name="T52" fmla="*/ 2147483647 w 16384"/>
                    <a:gd name="T53" fmla="*/ 2147483647 h 16384"/>
                    <a:gd name="T54" fmla="*/ 2147483647 w 16384"/>
                    <a:gd name="T55" fmla="*/ 2147483647 h 16384"/>
                    <a:gd name="T56" fmla="*/ 2147483647 w 16384"/>
                    <a:gd name="T57" fmla="*/ 2147483647 h 16384"/>
                    <a:gd name="T58" fmla="*/ 2147483647 w 16384"/>
                    <a:gd name="T59" fmla="*/ 2147483647 h 16384"/>
                    <a:gd name="T60" fmla="*/ 2147483647 w 16384"/>
                    <a:gd name="T61" fmla="*/ 2147483647 h 16384"/>
                    <a:gd name="T62" fmla="*/ 2147483647 w 16384"/>
                    <a:gd name="T63" fmla="*/ 2147483647 h 16384"/>
                    <a:gd name="T64" fmla="*/ 2147483647 w 16384"/>
                    <a:gd name="T65" fmla="*/ 2147483647 h 16384"/>
                    <a:gd name="T66" fmla="*/ 2147483647 w 16384"/>
                    <a:gd name="T67" fmla="*/ 2147483647 h 16384"/>
                    <a:gd name="T68" fmla="*/ 2147483647 w 16384"/>
                    <a:gd name="T69" fmla="*/ 2147483647 h 16384"/>
                    <a:gd name="T70" fmla="*/ 2147483647 w 16384"/>
                    <a:gd name="T71" fmla="*/ 2147483647 h 16384"/>
                    <a:gd name="T72" fmla="*/ 2147483647 w 16384"/>
                    <a:gd name="T73" fmla="*/ 2147483647 h 16384"/>
                    <a:gd name="T74" fmla="*/ 2147483647 w 16384"/>
                    <a:gd name="T75" fmla="*/ 2147483647 h 16384"/>
                    <a:gd name="T76" fmla="*/ 2147483647 w 16384"/>
                    <a:gd name="T77" fmla="*/ 2147483647 h 16384"/>
                    <a:gd name="T78" fmla="*/ 2147483647 w 16384"/>
                    <a:gd name="T79" fmla="*/ 2147483647 h 16384"/>
                    <a:gd name="T80" fmla="*/ 2147483647 w 16384"/>
                    <a:gd name="T81" fmla="*/ 2147483647 h 16384"/>
                    <a:gd name="T82" fmla="*/ 2147483647 w 16384"/>
                    <a:gd name="T83" fmla="*/ 2147483647 h 16384"/>
                    <a:gd name="T84" fmla="*/ 2147483647 w 16384"/>
                    <a:gd name="T85" fmla="*/ 2147483647 h 16384"/>
                    <a:gd name="T86" fmla="*/ 2147483647 w 16384"/>
                    <a:gd name="T87" fmla="*/ 2147483647 h 16384"/>
                    <a:gd name="T88" fmla="*/ 2147483647 w 16384"/>
                    <a:gd name="T89" fmla="*/ 2147483647 h 16384"/>
                    <a:gd name="T90" fmla="*/ 2147483647 w 16384"/>
                    <a:gd name="T91" fmla="*/ 2147483647 h 16384"/>
                    <a:gd name="T92" fmla="*/ 2147483647 w 16384"/>
                    <a:gd name="T93" fmla="*/ 2147483647 h 16384"/>
                    <a:gd name="T94" fmla="*/ 2147483647 w 16384"/>
                    <a:gd name="T95" fmla="*/ 2147483647 h 16384"/>
                    <a:gd name="T96" fmla="*/ 2147483647 w 16384"/>
                    <a:gd name="T97" fmla="*/ 2147483647 h 16384"/>
                    <a:gd name="T98" fmla="*/ 2147483647 w 16384"/>
                    <a:gd name="T99" fmla="*/ 2147483647 h 16384"/>
                    <a:gd name="T100" fmla="*/ 2147483647 w 16384"/>
                    <a:gd name="T101" fmla="*/ 2147483647 h 16384"/>
                    <a:gd name="T102" fmla="*/ 2147483647 w 16384"/>
                    <a:gd name="T103" fmla="*/ 2147483647 h 16384"/>
                    <a:gd name="T104" fmla="*/ 2147483647 w 16384"/>
                    <a:gd name="T105" fmla="*/ 2147483647 h 16384"/>
                    <a:gd name="T106" fmla="*/ 2147483647 w 16384"/>
                    <a:gd name="T107" fmla="*/ 2147483647 h 16384"/>
                    <a:gd name="T108" fmla="*/ 2147483647 w 16384"/>
                    <a:gd name="T109" fmla="*/ 2147483647 h 16384"/>
                    <a:gd name="T110" fmla="*/ 2147483647 w 16384"/>
                    <a:gd name="T111" fmla="*/ 2147483647 h 16384"/>
                    <a:gd name="T112" fmla="*/ 2147483647 w 16384"/>
                    <a:gd name="T113" fmla="*/ 2147483647 h 16384"/>
                    <a:gd name="T114" fmla="*/ 2147483647 w 16384"/>
                    <a:gd name="T115" fmla="*/ 2147483647 h 16384"/>
                    <a:gd name="T116" fmla="*/ 2147483647 w 16384"/>
                    <a:gd name="T117" fmla="*/ 2147483647 h 16384"/>
                    <a:gd name="T118" fmla="*/ 2147483647 w 16384"/>
                    <a:gd name="T119" fmla="*/ 2147483647 h 16384"/>
                    <a:gd name="T120" fmla="*/ 2147483647 w 16384"/>
                    <a:gd name="T121" fmla="*/ 2147483647 h 16384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60000 65536"/>
                    <a:gd name="T178" fmla="*/ 0 60000 65536"/>
                    <a:gd name="T179" fmla="*/ 0 60000 65536"/>
                    <a:gd name="T180" fmla="*/ 0 60000 65536"/>
                    <a:gd name="T181" fmla="*/ 0 60000 65536"/>
                    <a:gd name="T182" fmla="*/ 0 60000 65536"/>
                    <a:gd name="T183" fmla="*/ 0 w 16384"/>
                    <a:gd name="T184" fmla="*/ 0 h 16384"/>
                    <a:gd name="T185" fmla="*/ 16384 w 16384"/>
                    <a:gd name="T186" fmla="*/ 16384 h 16384"/>
                  </a:gdLst>
                  <a:ahLst/>
                  <a:cxnLst>
                    <a:cxn ang="T122">
                      <a:pos x="T0" y="T1"/>
                    </a:cxn>
                    <a:cxn ang="T123">
                      <a:pos x="T2" y="T3"/>
                    </a:cxn>
                    <a:cxn ang="T124">
                      <a:pos x="T4" y="T5"/>
                    </a:cxn>
                    <a:cxn ang="T125">
                      <a:pos x="T6" y="T7"/>
                    </a:cxn>
                    <a:cxn ang="T126">
                      <a:pos x="T8" y="T9"/>
                    </a:cxn>
                    <a:cxn ang="T127">
                      <a:pos x="T10" y="T11"/>
                    </a:cxn>
                    <a:cxn ang="T128">
                      <a:pos x="T12" y="T13"/>
                    </a:cxn>
                    <a:cxn ang="T129">
                      <a:pos x="T14" y="T15"/>
                    </a:cxn>
                    <a:cxn ang="T130">
                      <a:pos x="T16" y="T17"/>
                    </a:cxn>
                    <a:cxn ang="T131">
                      <a:pos x="T18" y="T19"/>
                    </a:cxn>
                    <a:cxn ang="T132">
                      <a:pos x="T20" y="T21"/>
                    </a:cxn>
                    <a:cxn ang="T133">
                      <a:pos x="T22" y="T23"/>
                    </a:cxn>
                    <a:cxn ang="T134">
                      <a:pos x="T24" y="T25"/>
                    </a:cxn>
                    <a:cxn ang="T135">
                      <a:pos x="T26" y="T27"/>
                    </a:cxn>
                    <a:cxn ang="T136">
                      <a:pos x="T28" y="T29"/>
                    </a:cxn>
                    <a:cxn ang="T137">
                      <a:pos x="T30" y="T31"/>
                    </a:cxn>
                    <a:cxn ang="T138">
                      <a:pos x="T32" y="T33"/>
                    </a:cxn>
                    <a:cxn ang="T139">
                      <a:pos x="T34" y="T35"/>
                    </a:cxn>
                    <a:cxn ang="T140">
                      <a:pos x="T36" y="T37"/>
                    </a:cxn>
                    <a:cxn ang="T141">
                      <a:pos x="T38" y="T39"/>
                    </a:cxn>
                    <a:cxn ang="T142">
                      <a:pos x="T40" y="T41"/>
                    </a:cxn>
                    <a:cxn ang="T143">
                      <a:pos x="T42" y="T43"/>
                    </a:cxn>
                    <a:cxn ang="T144">
                      <a:pos x="T44" y="T45"/>
                    </a:cxn>
                    <a:cxn ang="T145">
                      <a:pos x="T46" y="T47"/>
                    </a:cxn>
                    <a:cxn ang="T146">
                      <a:pos x="T48" y="T49"/>
                    </a:cxn>
                    <a:cxn ang="T147">
                      <a:pos x="T50" y="T51"/>
                    </a:cxn>
                    <a:cxn ang="T148">
                      <a:pos x="T52" y="T53"/>
                    </a:cxn>
                    <a:cxn ang="T149">
                      <a:pos x="T54" y="T55"/>
                    </a:cxn>
                    <a:cxn ang="T150">
                      <a:pos x="T56" y="T57"/>
                    </a:cxn>
                    <a:cxn ang="T151">
                      <a:pos x="T58" y="T59"/>
                    </a:cxn>
                    <a:cxn ang="T152">
                      <a:pos x="T60" y="T61"/>
                    </a:cxn>
                    <a:cxn ang="T153">
                      <a:pos x="T62" y="T63"/>
                    </a:cxn>
                    <a:cxn ang="T154">
                      <a:pos x="T64" y="T65"/>
                    </a:cxn>
                    <a:cxn ang="T155">
                      <a:pos x="T66" y="T67"/>
                    </a:cxn>
                    <a:cxn ang="T156">
                      <a:pos x="T68" y="T69"/>
                    </a:cxn>
                    <a:cxn ang="T157">
                      <a:pos x="T70" y="T71"/>
                    </a:cxn>
                    <a:cxn ang="T158">
                      <a:pos x="T72" y="T73"/>
                    </a:cxn>
                    <a:cxn ang="T159">
                      <a:pos x="T74" y="T75"/>
                    </a:cxn>
                    <a:cxn ang="T160">
                      <a:pos x="T76" y="T77"/>
                    </a:cxn>
                    <a:cxn ang="T161">
                      <a:pos x="T78" y="T79"/>
                    </a:cxn>
                    <a:cxn ang="T162">
                      <a:pos x="T80" y="T81"/>
                    </a:cxn>
                    <a:cxn ang="T163">
                      <a:pos x="T82" y="T83"/>
                    </a:cxn>
                    <a:cxn ang="T164">
                      <a:pos x="T84" y="T85"/>
                    </a:cxn>
                    <a:cxn ang="T165">
                      <a:pos x="T86" y="T87"/>
                    </a:cxn>
                    <a:cxn ang="T166">
                      <a:pos x="T88" y="T89"/>
                    </a:cxn>
                    <a:cxn ang="T167">
                      <a:pos x="T90" y="T91"/>
                    </a:cxn>
                    <a:cxn ang="T168">
                      <a:pos x="T92" y="T93"/>
                    </a:cxn>
                    <a:cxn ang="T169">
                      <a:pos x="T94" y="T95"/>
                    </a:cxn>
                    <a:cxn ang="T170">
                      <a:pos x="T96" y="T97"/>
                    </a:cxn>
                    <a:cxn ang="T171">
                      <a:pos x="T98" y="T99"/>
                    </a:cxn>
                    <a:cxn ang="T172">
                      <a:pos x="T100" y="T101"/>
                    </a:cxn>
                    <a:cxn ang="T173">
                      <a:pos x="T102" y="T103"/>
                    </a:cxn>
                    <a:cxn ang="T174">
                      <a:pos x="T104" y="T105"/>
                    </a:cxn>
                    <a:cxn ang="T175">
                      <a:pos x="T106" y="T107"/>
                    </a:cxn>
                    <a:cxn ang="T176">
                      <a:pos x="T108" y="T109"/>
                    </a:cxn>
                    <a:cxn ang="T177">
                      <a:pos x="T110" y="T111"/>
                    </a:cxn>
                    <a:cxn ang="T178">
                      <a:pos x="T112" y="T113"/>
                    </a:cxn>
                    <a:cxn ang="T179">
                      <a:pos x="T114" y="T115"/>
                    </a:cxn>
                    <a:cxn ang="T180">
                      <a:pos x="T116" y="T117"/>
                    </a:cxn>
                    <a:cxn ang="T181">
                      <a:pos x="T118" y="T119"/>
                    </a:cxn>
                    <a:cxn ang="T182">
                      <a:pos x="T120" y="T121"/>
                    </a:cxn>
                  </a:cxnLst>
                  <a:rect l="T183" t="T184" r="T185" b="T186"/>
                  <a:pathLst>
                    <a:path w="16384" h="16384">
                      <a:moveTo>
                        <a:pt x="14094" y="7597"/>
                      </a:moveTo>
                      <a:lnTo>
                        <a:pt x="14349" y="7540"/>
                      </a:lnTo>
                      <a:lnTo>
                        <a:pt x="14450" y="7427"/>
                      </a:lnTo>
                      <a:lnTo>
                        <a:pt x="14552" y="7370"/>
                      </a:lnTo>
                      <a:lnTo>
                        <a:pt x="14603" y="7200"/>
                      </a:lnTo>
                      <a:lnTo>
                        <a:pt x="14654" y="7143"/>
                      </a:lnTo>
                      <a:lnTo>
                        <a:pt x="14654" y="7087"/>
                      </a:lnTo>
                      <a:lnTo>
                        <a:pt x="14603" y="7030"/>
                      </a:lnTo>
                      <a:lnTo>
                        <a:pt x="14501" y="6860"/>
                      </a:lnTo>
                      <a:lnTo>
                        <a:pt x="14501" y="6746"/>
                      </a:lnTo>
                      <a:lnTo>
                        <a:pt x="14552" y="6690"/>
                      </a:lnTo>
                      <a:lnTo>
                        <a:pt x="14603" y="6690"/>
                      </a:lnTo>
                      <a:lnTo>
                        <a:pt x="14705" y="6633"/>
                      </a:lnTo>
                      <a:lnTo>
                        <a:pt x="14756" y="6576"/>
                      </a:lnTo>
                      <a:lnTo>
                        <a:pt x="14807" y="6463"/>
                      </a:lnTo>
                      <a:lnTo>
                        <a:pt x="14858" y="6463"/>
                      </a:lnTo>
                      <a:lnTo>
                        <a:pt x="14908" y="6463"/>
                      </a:lnTo>
                      <a:lnTo>
                        <a:pt x="15010" y="6463"/>
                      </a:lnTo>
                      <a:lnTo>
                        <a:pt x="15061" y="6463"/>
                      </a:lnTo>
                      <a:lnTo>
                        <a:pt x="15163" y="6350"/>
                      </a:lnTo>
                      <a:lnTo>
                        <a:pt x="15214" y="6179"/>
                      </a:lnTo>
                      <a:lnTo>
                        <a:pt x="15163" y="6066"/>
                      </a:lnTo>
                      <a:lnTo>
                        <a:pt x="15163" y="6009"/>
                      </a:lnTo>
                      <a:lnTo>
                        <a:pt x="15214" y="5953"/>
                      </a:lnTo>
                      <a:lnTo>
                        <a:pt x="15163" y="5839"/>
                      </a:lnTo>
                      <a:lnTo>
                        <a:pt x="15112" y="5669"/>
                      </a:lnTo>
                      <a:lnTo>
                        <a:pt x="15061" y="5442"/>
                      </a:lnTo>
                      <a:lnTo>
                        <a:pt x="15061" y="5272"/>
                      </a:lnTo>
                      <a:lnTo>
                        <a:pt x="15061" y="5159"/>
                      </a:lnTo>
                      <a:lnTo>
                        <a:pt x="15010" y="5102"/>
                      </a:lnTo>
                      <a:lnTo>
                        <a:pt x="15010" y="5046"/>
                      </a:lnTo>
                      <a:lnTo>
                        <a:pt x="14858" y="5159"/>
                      </a:lnTo>
                      <a:lnTo>
                        <a:pt x="14807" y="5159"/>
                      </a:lnTo>
                      <a:lnTo>
                        <a:pt x="14756" y="5102"/>
                      </a:lnTo>
                      <a:lnTo>
                        <a:pt x="14705" y="5046"/>
                      </a:lnTo>
                      <a:lnTo>
                        <a:pt x="14756" y="4932"/>
                      </a:lnTo>
                      <a:lnTo>
                        <a:pt x="14807" y="4876"/>
                      </a:lnTo>
                      <a:lnTo>
                        <a:pt x="14858" y="4876"/>
                      </a:lnTo>
                      <a:lnTo>
                        <a:pt x="14908" y="4762"/>
                      </a:lnTo>
                      <a:lnTo>
                        <a:pt x="14959" y="4705"/>
                      </a:lnTo>
                      <a:lnTo>
                        <a:pt x="15010" y="4649"/>
                      </a:lnTo>
                      <a:lnTo>
                        <a:pt x="15061" y="4705"/>
                      </a:lnTo>
                      <a:lnTo>
                        <a:pt x="15061" y="4876"/>
                      </a:lnTo>
                      <a:lnTo>
                        <a:pt x="15112" y="4932"/>
                      </a:lnTo>
                      <a:lnTo>
                        <a:pt x="15214" y="4932"/>
                      </a:lnTo>
                      <a:lnTo>
                        <a:pt x="15265" y="4932"/>
                      </a:lnTo>
                      <a:lnTo>
                        <a:pt x="15315" y="4819"/>
                      </a:lnTo>
                      <a:lnTo>
                        <a:pt x="15366" y="4535"/>
                      </a:lnTo>
                      <a:lnTo>
                        <a:pt x="15366" y="4479"/>
                      </a:lnTo>
                      <a:lnTo>
                        <a:pt x="15468" y="4422"/>
                      </a:lnTo>
                      <a:lnTo>
                        <a:pt x="15570" y="4422"/>
                      </a:lnTo>
                      <a:lnTo>
                        <a:pt x="15621" y="4365"/>
                      </a:lnTo>
                      <a:lnTo>
                        <a:pt x="15621" y="4252"/>
                      </a:lnTo>
                      <a:lnTo>
                        <a:pt x="15621" y="4195"/>
                      </a:lnTo>
                      <a:lnTo>
                        <a:pt x="15621" y="4025"/>
                      </a:lnTo>
                      <a:lnTo>
                        <a:pt x="15723" y="3855"/>
                      </a:lnTo>
                      <a:lnTo>
                        <a:pt x="15723" y="3798"/>
                      </a:lnTo>
                      <a:lnTo>
                        <a:pt x="15672" y="3742"/>
                      </a:lnTo>
                      <a:lnTo>
                        <a:pt x="15570" y="3742"/>
                      </a:lnTo>
                      <a:lnTo>
                        <a:pt x="15468" y="3685"/>
                      </a:lnTo>
                      <a:lnTo>
                        <a:pt x="15468" y="3572"/>
                      </a:lnTo>
                      <a:lnTo>
                        <a:pt x="15468" y="3458"/>
                      </a:lnTo>
                      <a:lnTo>
                        <a:pt x="15570" y="3402"/>
                      </a:lnTo>
                      <a:lnTo>
                        <a:pt x="15824" y="3288"/>
                      </a:lnTo>
                      <a:lnTo>
                        <a:pt x="15875" y="3231"/>
                      </a:lnTo>
                      <a:lnTo>
                        <a:pt x="15926" y="3175"/>
                      </a:lnTo>
                      <a:lnTo>
                        <a:pt x="15977" y="3118"/>
                      </a:lnTo>
                      <a:lnTo>
                        <a:pt x="16079" y="3005"/>
                      </a:lnTo>
                      <a:lnTo>
                        <a:pt x="16130" y="2948"/>
                      </a:lnTo>
                      <a:lnTo>
                        <a:pt x="16130" y="2891"/>
                      </a:lnTo>
                      <a:lnTo>
                        <a:pt x="16079" y="2778"/>
                      </a:lnTo>
                      <a:lnTo>
                        <a:pt x="16079" y="2665"/>
                      </a:lnTo>
                      <a:lnTo>
                        <a:pt x="16180" y="2608"/>
                      </a:lnTo>
                      <a:lnTo>
                        <a:pt x="16333" y="2608"/>
                      </a:lnTo>
                      <a:lnTo>
                        <a:pt x="16384" y="2551"/>
                      </a:lnTo>
                      <a:lnTo>
                        <a:pt x="16333" y="2438"/>
                      </a:lnTo>
                      <a:lnTo>
                        <a:pt x="16231" y="2324"/>
                      </a:lnTo>
                      <a:lnTo>
                        <a:pt x="16130" y="2268"/>
                      </a:lnTo>
                      <a:lnTo>
                        <a:pt x="16130" y="2154"/>
                      </a:lnTo>
                      <a:lnTo>
                        <a:pt x="16028" y="2211"/>
                      </a:lnTo>
                      <a:lnTo>
                        <a:pt x="15875" y="2211"/>
                      </a:lnTo>
                      <a:lnTo>
                        <a:pt x="15315" y="2268"/>
                      </a:lnTo>
                      <a:lnTo>
                        <a:pt x="14196" y="2324"/>
                      </a:lnTo>
                      <a:lnTo>
                        <a:pt x="13942" y="2324"/>
                      </a:lnTo>
                      <a:lnTo>
                        <a:pt x="13942" y="2268"/>
                      </a:lnTo>
                      <a:lnTo>
                        <a:pt x="14298" y="1757"/>
                      </a:lnTo>
                      <a:lnTo>
                        <a:pt x="14552" y="1474"/>
                      </a:lnTo>
                      <a:lnTo>
                        <a:pt x="14552" y="1417"/>
                      </a:lnTo>
                      <a:lnTo>
                        <a:pt x="14705" y="1304"/>
                      </a:lnTo>
                      <a:lnTo>
                        <a:pt x="14756" y="1077"/>
                      </a:lnTo>
                      <a:lnTo>
                        <a:pt x="14858" y="1020"/>
                      </a:lnTo>
                      <a:lnTo>
                        <a:pt x="14908" y="680"/>
                      </a:lnTo>
                      <a:lnTo>
                        <a:pt x="14858" y="510"/>
                      </a:lnTo>
                      <a:lnTo>
                        <a:pt x="14756" y="454"/>
                      </a:lnTo>
                      <a:lnTo>
                        <a:pt x="14705" y="397"/>
                      </a:lnTo>
                      <a:lnTo>
                        <a:pt x="14603" y="170"/>
                      </a:lnTo>
                      <a:lnTo>
                        <a:pt x="14501" y="0"/>
                      </a:lnTo>
                      <a:lnTo>
                        <a:pt x="14349" y="0"/>
                      </a:lnTo>
                      <a:lnTo>
                        <a:pt x="13178" y="57"/>
                      </a:lnTo>
                      <a:lnTo>
                        <a:pt x="12517" y="113"/>
                      </a:lnTo>
                      <a:lnTo>
                        <a:pt x="11347" y="227"/>
                      </a:lnTo>
                      <a:lnTo>
                        <a:pt x="10431" y="283"/>
                      </a:lnTo>
                      <a:lnTo>
                        <a:pt x="10329" y="283"/>
                      </a:lnTo>
                      <a:lnTo>
                        <a:pt x="10278" y="283"/>
                      </a:lnTo>
                      <a:lnTo>
                        <a:pt x="9617" y="283"/>
                      </a:lnTo>
                      <a:lnTo>
                        <a:pt x="8141" y="397"/>
                      </a:lnTo>
                      <a:lnTo>
                        <a:pt x="8039" y="397"/>
                      </a:lnTo>
                      <a:lnTo>
                        <a:pt x="6767" y="454"/>
                      </a:lnTo>
                      <a:lnTo>
                        <a:pt x="6055" y="454"/>
                      </a:lnTo>
                      <a:lnTo>
                        <a:pt x="5801" y="454"/>
                      </a:lnTo>
                      <a:lnTo>
                        <a:pt x="4325" y="510"/>
                      </a:lnTo>
                      <a:lnTo>
                        <a:pt x="4274" y="510"/>
                      </a:lnTo>
                      <a:lnTo>
                        <a:pt x="4223" y="510"/>
                      </a:lnTo>
                      <a:lnTo>
                        <a:pt x="3358" y="567"/>
                      </a:lnTo>
                      <a:lnTo>
                        <a:pt x="3358" y="510"/>
                      </a:lnTo>
                      <a:lnTo>
                        <a:pt x="2442" y="567"/>
                      </a:lnTo>
                      <a:lnTo>
                        <a:pt x="2391" y="567"/>
                      </a:lnTo>
                      <a:lnTo>
                        <a:pt x="1781" y="567"/>
                      </a:lnTo>
                      <a:lnTo>
                        <a:pt x="1730" y="567"/>
                      </a:lnTo>
                      <a:lnTo>
                        <a:pt x="0" y="567"/>
                      </a:lnTo>
                      <a:lnTo>
                        <a:pt x="153" y="2041"/>
                      </a:lnTo>
                      <a:lnTo>
                        <a:pt x="204" y="2381"/>
                      </a:lnTo>
                      <a:lnTo>
                        <a:pt x="458" y="3968"/>
                      </a:lnTo>
                      <a:lnTo>
                        <a:pt x="509" y="4422"/>
                      </a:lnTo>
                      <a:lnTo>
                        <a:pt x="611" y="5386"/>
                      </a:lnTo>
                      <a:lnTo>
                        <a:pt x="661" y="5613"/>
                      </a:lnTo>
                      <a:lnTo>
                        <a:pt x="611" y="7483"/>
                      </a:lnTo>
                      <a:lnTo>
                        <a:pt x="611" y="8560"/>
                      </a:lnTo>
                      <a:lnTo>
                        <a:pt x="560" y="9581"/>
                      </a:lnTo>
                      <a:lnTo>
                        <a:pt x="560" y="10998"/>
                      </a:lnTo>
                      <a:lnTo>
                        <a:pt x="560" y="12132"/>
                      </a:lnTo>
                      <a:lnTo>
                        <a:pt x="560" y="13436"/>
                      </a:lnTo>
                      <a:lnTo>
                        <a:pt x="560" y="13493"/>
                      </a:lnTo>
                      <a:lnTo>
                        <a:pt x="611" y="13549"/>
                      </a:lnTo>
                      <a:lnTo>
                        <a:pt x="611" y="13663"/>
                      </a:lnTo>
                      <a:lnTo>
                        <a:pt x="712" y="13719"/>
                      </a:lnTo>
                      <a:lnTo>
                        <a:pt x="712" y="13776"/>
                      </a:lnTo>
                      <a:lnTo>
                        <a:pt x="814" y="13833"/>
                      </a:lnTo>
                      <a:lnTo>
                        <a:pt x="865" y="13890"/>
                      </a:lnTo>
                      <a:lnTo>
                        <a:pt x="916" y="13946"/>
                      </a:lnTo>
                      <a:lnTo>
                        <a:pt x="1018" y="13890"/>
                      </a:lnTo>
                      <a:lnTo>
                        <a:pt x="1221" y="13946"/>
                      </a:lnTo>
                      <a:lnTo>
                        <a:pt x="1272" y="13890"/>
                      </a:lnTo>
                      <a:lnTo>
                        <a:pt x="1323" y="13833"/>
                      </a:lnTo>
                      <a:lnTo>
                        <a:pt x="1374" y="13833"/>
                      </a:lnTo>
                      <a:lnTo>
                        <a:pt x="1425" y="13890"/>
                      </a:lnTo>
                      <a:lnTo>
                        <a:pt x="1476" y="13776"/>
                      </a:lnTo>
                      <a:lnTo>
                        <a:pt x="1526" y="13776"/>
                      </a:lnTo>
                      <a:lnTo>
                        <a:pt x="1526" y="13719"/>
                      </a:lnTo>
                      <a:lnTo>
                        <a:pt x="1628" y="13719"/>
                      </a:lnTo>
                      <a:lnTo>
                        <a:pt x="1730" y="13833"/>
                      </a:lnTo>
                      <a:lnTo>
                        <a:pt x="1832" y="13833"/>
                      </a:lnTo>
                      <a:lnTo>
                        <a:pt x="1934" y="13776"/>
                      </a:lnTo>
                      <a:lnTo>
                        <a:pt x="1984" y="13833"/>
                      </a:lnTo>
                      <a:lnTo>
                        <a:pt x="2035" y="13890"/>
                      </a:lnTo>
                      <a:lnTo>
                        <a:pt x="2086" y="15137"/>
                      </a:lnTo>
                      <a:lnTo>
                        <a:pt x="2137" y="16327"/>
                      </a:lnTo>
                      <a:lnTo>
                        <a:pt x="2849" y="16384"/>
                      </a:lnTo>
                      <a:lnTo>
                        <a:pt x="3918" y="16384"/>
                      </a:lnTo>
                      <a:lnTo>
                        <a:pt x="4020" y="16327"/>
                      </a:lnTo>
                      <a:lnTo>
                        <a:pt x="4885" y="16327"/>
                      </a:lnTo>
                      <a:lnTo>
                        <a:pt x="5750" y="16327"/>
                      </a:lnTo>
                      <a:lnTo>
                        <a:pt x="6615" y="16271"/>
                      </a:lnTo>
                      <a:lnTo>
                        <a:pt x="8803" y="16271"/>
                      </a:lnTo>
                      <a:lnTo>
                        <a:pt x="8904" y="16214"/>
                      </a:lnTo>
                      <a:lnTo>
                        <a:pt x="10940" y="16157"/>
                      </a:lnTo>
                      <a:lnTo>
                        <a:pt x="11041" y="16157"/>
                      </a:lnTo>
                      <a:lnTo>
                        <a:pt x="11550" y="16157"/>
                      </a:lnTo>
                      <a:lnTo>
                        <a:pt x="11856" y="16157"/>
                      </a:lnTo>
                      <a:lnTo>
                        <a:pt x="11906" y="16101"/>
                      </a:lnTo>
                      <a:lnTo>
                        <a:pt x="12059" y="15930"/>
                      </a:lnTo>
                      <a:lnTo>
                        <a:pt x="12059" y="15817"/>
                      </a:lnTo>
                      <a:lnTo>
                        <a:pt x="12059" y="15760"/>
                      </a:lnTo>
                      <a:lnTo>
                        <a:pt x="11906" y="15590"/>
                      </a:lnTo>
                      <a:lnTo>
                        <a:pt x="11906" y="15534"/>
                      </a:lnTo>
                      <a:lnTo>
                        <a:pt x="11906" y="15477"/>
                      </a:lnTo>
                      <a:lnTo>
                        <a:pt x="12059" y="15420"/>
                      </a:lnTo>
                      <a:lnTo>
                        <a:pt x="12212" y="15364"/>
                      </a:lnTo>
                      <a:lnTo>
                        <a:pt x="12212" y="15250"/>
                      </a:lnTo>
                      <a:lnTo>
                        <a:pt x="12212" y="15137"/>
                      </a:lnTo>
                      <a:lnTo>
                        <a:pt x="12263" y="15023"/>
                      </a:lnTo>
                      <a:lnTo>
                        <a:pt x="12313" y="14910"/>
                      </a:lnTo>
                      <a:lnTo>
                        <a:pt x="12313" y="14853"/>
                      </a:lnTo>
                      <a:lnTo>
                        <a:pt x="12313" y="14797"/>
                      </a:lnTo>
                      <a:lnTo>
                        <a:pt x="12212" y="14797"/>
                      </a:lnTo>
                      <a:lnTo>
                        <a:pt x="12161" y="14853"/>
                      </a:lnTo>
                      <a:lnTo>
                        <a:pt x="12161" y="14967"/>
                      </a:lnTo>
                      <a:lnTo>
                        <a:pt x="12110" y="14967"/>
                      </a:lnTo>
                      <a:lnTo>
                        <a:pt x="12059" y="14967"/>
                      </a:lnTo>
                      <a:lnTo>
                        <a:pt x="11906" y="14683"/>
                      </a:lnTo>
                      <a:lnTo>
                        <a:pt x="11906" y="14570"/>
                      </a:lnTo>
                      <a:lnTo>
                        <a:pt x="11906" y="14513"/>
                      </a:lnTo>
                      <a:lnTo>
                        <a:pt x="12008" y="14400"/>
                      </a:lnTo>
                      <a:lnTo>
                        <a:pt x="12161" y="14286"/>
                      </a:lnTo>
                      <a:lnTo>
                        <a:pt x="12212" y="14173"/>
                      </a:lnTo>
                      <a:lnTo>
                        <a:pt x="12161" y="14116"/>
                      </a:lnTo>
                      <a:lnTo>
                        <a:pt x="12110" y="14116"/>
                      </a:lnTo>
                      <a:lnTo>
                        <a:pt x="12059" y="14116"/>
                      </a:lnTo>
                      <a:lnTo>
                        <a:pt x="11957" y="14286"/>
                      </a:lnTo>
                      <a:lnTo>
                        <a:pt x="11906" y="14343"/>
                      </a:lnTo>
                      <a:lnTo>
                        <a:pt x="11856" y="14343"/>
                      </a:lnTo>
                      <a:lnTo>
                        <a:pt x="11805" y="14286"/>
                      </a:lnTo>
                      <a:lnTo>
                        <a:pt x="11805" y="14173"/>
                      </a:lnTo>
                      <a:lnTo>
                        <a:pt x="11906" y="14060"/>
                      </a:lnTo>
                      <a:lnTo>
                        <a:pt x="12008" y="14003"/>
                      </a:lnTo>
                      <a:lnTo>
                        <a:pt x="11957" y="13890"/>
                      </a:lnTo>
                      <a:lnTo>
                        <a:pt x="11957" y="13833"/>
                      </a:lnTo>
                      <a:lnTo>
                        <a:pt x="11856" y="13890"/>
                      </a:lnTo>
                      <a:lnTo>
                        <a:pt x="11805" y="13946"/>
                      </a:lnTo>
                      <a:lnTo>
                        <a:pt x="11754" y="14060"/>
                      </a:lnTo>
                      <a:lnTo>
                        <a:pt x="11652" y="14060"/>
                      </a:lnTo>
                      <a:lnTo>
                        <a:pt x="11652" y="14003"/>
                      </a:lnTo>
                      <a:lnTo>
                        <a:pt x="11652" y="13890"/>
                      </a:lnTo>
                      <a:lnTo>
                        <a:pt x="11703" y="13776"/>
                      </a:lnTo>
                      <a:lnTo>
                        <a:pt x="11703" y="13719"/>
                      </a:lnTo>
                      <a:lnTo>
                        <a:pt x="11652" y="13663"/>
                      </a:lnTo>
                      <a:lnTo>
                        <a:pt x="11601" y="13549"/>
                      </a:lnTo>
                      <a:lnTo>
                        <a:pt x="11703" y="13436"/>
                      </a:lnTo>
                      <a:lnTo>
                        <a:pt x="11856" y="13379"/>
                      </a:lnTo>
                      <a:lnTo>
                        <a:pt x="11856" y="13323"/>
                      </a:lnTo>
                      <a:lnTo>
                        <a:pt x="11805" y="13209"/>
                      </a:lnTo>
                      <a:lnTo>
                        <a:pt x="11703" y="13096"/>
                      </a:lnTo>
                      <a:lnTo>
                        <a:pt x="11703" y="12982"/>
                      </a:lnTo>
                      <a:lnTo>
                        <a:pt x="11652" y="12869"/>
                      </a:lnTo>
                      <a:lnTo>
                        <a:pt x="11703" y="12812"/>
                      </a:lnTo>
                      <a:lnTo>
                        <a:pt x="11754" y="12812"/>
                      </a:lnTo>
                      <a:lnTo>
                        <a:pt x="11906" y="12982"/>
                      </a:lnTo>
                      <a:lnTo>
                        <a:pt x="12008" y="13039"/>
                      </a:lnTo>
                      <a:lnTo>
                        <a:pt x="12110" y="12982"/>
                      </a:lnTo>
                      <a:lnTo>
                        <a:pt x="12161" y="12926"/>
                      </a:lnTo>
                      <a:lnTo>
                        <a:pt x="12110" y="12812"/>
                      </a:lnTo>
                      <a:lnTo>
                        <a:pt x="11906" y="12756"/>
                      </a:lnTo>
                      <a:lnTo>
                        <a:pt x="11906" y="12642"/>
                      </a:lnTo>
                      <a:lnTo>
                        <a:pt x="12059" y="12529"/>
                      </a:lnTo>
                      <a:lnTo>
                        <a:pt x="12161" y="12416"/>
                      </a:lnTo>
                      <a:lnTo>
                        <a:pt x="12212" y="12302"/>
                      </a:lnTo>
                      <a:lnTo>
                        <a:pt x="12161" y="12075"/>
                      </a:lnTo>
                      <a:lnTo>
                        <a:pt x="12161" y="12019"/>
                      </a:lnTo>
                      <a:lnTo>
                        <a:pt x="12161" y="11905"/>
                      </a:lnTo>
                      <a:lnTo>
                        <a:pt x="12161" y="11735"/>
                      </a:lnTo>
                      <a:lnTo>
                        <a:pt x="12059" y="11622"/>
                      </a:lnTo>
                      <a:lnTo>
                        <a:pt x="12059" y="11508"/>
                      </a:lnTo>
                      <a:lnTo>
                        <a:pt x="12110" y="11508"/>
                      </a:lnTo>
                      <a:lnTo>
                        <a:pt x="12212" y="11508"/>
                      </a:lnTo>
                      <a:lnTo>
                        <a:pt x="12313" y="11622"/>
                      </a:lnTo>
                      <a:lnTo>
                        <a:pt x="12364" y="11622"/>
                      </a:lnTo>
                      <a:lnTo>
                        <a:pt x="12415" y="11565"/>
                      </a:lnTo>
                      <a:lnTo>
                        <a:pt x="12415" y="11452"/>
                      </a:lnTo>
                      <a:lnTo>
                        <a:pt x="12517" y="11338"/>
                      </a:lnTo>
                      <a:lnTo>
                        <a:pt x="12568" y="11225"/>
                      </a:lnTo>
                      <a:lnTo>
                        <a:pt x="12568" y="11055"/>
                      </a:lnTo>
                      <a:lnTo>
                        <a:pt x="12517" y="10998"/>
                      </a:lnTo>
                      <a:lnTo>
                        <a:pt x="12364" y="10828"/>
                      </a:lnTo>
                      <a:lnTo>
                        <a:pt x="12415" y="10771"/>
                      </a:lnTo>
                      <a:lnTo>
                        <a:pt x="12568" y="10771"/>
                      </a:lnTo>
                      <a:lnTo>
                        <a:pt x="12771" y="10828"/>
                      </a:lnTo>
                      <a:lnTo>
                        <a:pt x="12873" y="10828"/>
                      </a:lnTo>
                      <a:lnTo>
                        <a:pt x="12924" y="10715"/>
                      </a:lnTo>
                      <a:lnTo>
                        <a:pt x="12873" y="10658"/>
                      </a:lnTo>
                      <a:lnTo>
                        <a:pt x="12670" y="10601"/>
                      </a:lnTo>
                      <a:lnTo>
                        <a:pt x="12568" y="10545"/>
                      </a:lnTo>
                      <a:lnTo>
                        <a:pt x="12568" y="10488"/>
                      </a:lnTo>
                      <a:lnTo>
                        <a:pt x="12619" y="10431"/>
                      </a:lnTo>
                      <a:lnTo>
                        <a:pt x="12771" y="10431"/>
                      </a:lnTo>
                      <a:lnTo>
                        <a:pt x="12822" y="10431"/>
                      </a:lnTo>
                      <a:lnTo>
                        <a:pt x="12873" y="10318"/>
                      </a:lnTo>
                      <a:lnTo>
                        <a:pt x="12924" y="10205"/>
                      </a:lnTo>
                      <a:lnTo>
                        <a:pt x="13026" y="10148"/>
                      </a:lnTo>
                      <a:lnTo>
                        <a:pt x="13128" y="10148"/>
                      </a:lnTo>
                      <a:lnTo>
                        <a:pt x="13178" y="10091"/>
                      </a:lnTo>
                      <a:lnTo>
                        <a:pt x="13128" y="9978"/>
                      </a:lnTo>
                      <a:lnTo>
                        <a:pt x="13128" y="9864"/>
                      </a:lnTo>
                      <a:lnTo>
                        <a:pt x="13128" y="9751"/>
                      </a:lnTo>
                      <a:lnTo>
                        <a:pt x="13178" y="9751"/>
                      </a:lnTo>
                      <a:lnTo>
                        <a:pt x="13331" y="9751"/>
                      </a:lnTo>
                      <a:lnTo>
                        <a:pt x="13433" y="9751"/>
                      </a:lnTo>
                      <a:lnTo>
                        <a:pt x="13535" y="9638"/>
                      </a:lnTo>
                      <a:lnTo>
                        <a:pt x="13687" y="9581"/>
                      </a:lnTo>
                      <a:lnTo>
                        <a:pt x="13687" y="9468"/>
                      </a:lnTo>
                      <a:lnTo>
                        <a:pt x="13636" y="9127"/>
                      </a:lnTo>
                      <a:lnTo>
                        <a:pt x="13687" y="9071"/>
                      </a:lnTo>
                      <a:lnTo>
                        <a:pt x="13789" y="8957"/>
                      </a:lnTo>
                      <a:lnTo>
                        <a:pt x="13789" y="8901"/>
                      </a:lnTo>
                      <a:lnTo>
                        <a:pt x="13789" y="8787"/>
                      </a:lnTo>
                      <a:lnTo>
                        <a:pt x="13636" y="8674"/>
                      </a:lnTo>
                      <a:lnTo>
                        <a:pt x="13636" y="8560"/>
                      </a:lnTo>
                      <a:lnTo>
                        <a:pt x="13687" y="8390"/>
                      </a:lnTo>
                      <a:lnTo>
                        <a:pt x="13738" y="8334"/>
                      </a:lnTo>
                      <a:lnTo>
                        <a:pt x="13891" y="8447"/>
                      </a:lnTo>
                      <a:lnTo>
                        <a:pt x="13942" y="8447"/>
                      </a:lnTo>
                      <a:lnTo>
                        <a:pt x="13993" y="8447"/>
                      </a:lnTo>
                      <a:lnTo>
                        <a:pt x="13993" y="8390"/>
                      </a:lnTo>
                      <a:lnTo>
                        <a:pt x="13942" y="8277"/>
                      </a:lnTo>
                      <a:lnTo>
                        <a:pt x="13942" y="8220"/>
                      </a:lnTo>
                      <a:lnTo>
                        <a:pt x="13738" y="8107"/>
                      </a:lnTo>
                      <a:lnTo>
                        <a:pt x="13687" y="8107"/>
                      </a:lnTo>
                      <a:lnTo>
                        <a:pt x="13738" y="7994"/>
                      </a:lnTo>
                      <a:lnTo>
                        <a:pt x="13789" y="7994"/>
                      </a:lnTo>
                      <a:lnTo>
                        <a:pt x="13942" y="8050"/>
                      </a:lnTo>
                      <a:lnTo>
                        <a:pt x="13993" y="7994"/>
                      </a:lnTo>
                      <a:lnTo>
                        <a:pt x="14043" y="7937"/>
                      </a:lnTo>
                      <a:lnTo>
                        <a:pt x="14043" y="7824"/>
                      </a:lnTo>
                      <a:lnTo>
                        <a:pt x="14043" y="7767"/>
                      </a:lnTo>
                      <a:lnTo>
                        <a:pt x="14094" y="7653"/>
                      </a:lnTo>
                      <a:lnTo>
                        <a:pt x="14094" y="7597"/>
                      </a:lnTo>
                      <a:close/>
                    </a:path>
                  </a:pathLst>
                </a:custGeom>
                <a:solidFill>
                  <a:srgbClr val="00B050"/>
                </a:solidFill>
                <a:ln w="9525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defTabSz="121917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25" name="California">
                  <a:extLst>
                    <a:ext uri="{FF2B5EF4-FFF2-40B4-BE49-F238E27FC236}">
                      <a16:creationId xmlns:a16="http://schemas.microsoft.com/office/drawing/2014/main" id="{87B7D692-C76B-F372-3602-555C2E606AA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0" y="4543425"/>
                  <a:ext cx="4772025" cy="7791450"/>
                </a:xfrm>
                <a:custGeom>
                  <a:avLst/>
                  <a:gdLst>
                    <a:gd name="T0" fmla="*/ 2147483647 w 16384"/>
                    <a:gd name="T1" fmla="*/ 2147483647 h 16384"/>
                    <a:gd name="T2" fmla="*/ 2147483647 w 16384"/>
                    <a:gd name="T3" fmla="*/ 2147483647 h 16384"/>
                    <a:gd name="T4" fmla="*/ 2147483647 w 16384"/>
                    <a:gd name="T5" fmla="*/ 2147483647 h 16384"/>
                    <a:gd name="T6" fmla="*/ 2147483647 w 16384"/>
                    <a:gd name="T7" fmla="*/ 2147483647 h 16384"/>
                    <a:gd name="T8" fmla="*/ 2147483647 w 16384"/>
                    <a:gd name="T9" fmla="*/ 2147483647 h 16384"/>
                    <a:gd name="T10" fmla="*/ 2147483647 w 16384"/>
                    <a:gd name="T11" fmla="*/ 2147483647 h 16384"/>
                    <a:gd name="T12" fmla="*/ 2147483647 w 16384"/>
                    <a:gd name="T13" fmla="*/ 2147483647 h 16384"/>
                    <a:gd name="T14" fmla="*/ 2147483647 w 16384"/>
                    <a:gd name="T15" fmla="*/ 2147483647 h 16384"/>
                    <a:gd name="T16" fmla="*/ 2147483647 w 16384"/>
                    <a:gd name="T17" fmla="*/ 2147483647 h 16384"/>
                    <a:gd name="T18" fmla="*/ 2147483647 w 16384"/>
                    <a:gd name="T19" fmla="*/ 2147483647 h 16384"/>
                    <a:gd name="T20" fmla="*/ 2147483647 w 16384"/>
                    <a:gd name="T21" fmla="*/ 2147483647 h 16384"/>
                    <a:gd name="T22" fmla="*/ 2147483647 w 16384"/>
                    <a:gd name="T23" fmla="*/ 2147483647 h 16384"/>
                    <a:gd name="T24" fmla="*/ 2147483647 w 16384"/>
                    <a:gd name="T25" fmla="*/ 2147483647 h 16384"/>
                    <a:gd name="T26" fmla="*/ 2147483647 w 16384"/>
                    <a:gd name="T27" fmla="*/ 2147483647 h 16384"/>
                    <a:gd name="T28" fmla="*/ 2147483647 w 16384"/>
                    <a:gd name="T29" fmla="*/ 2147483647 h 16384"/>
                    <a:gd name="T30" fmla="*/ 2147483647 w 16384"/>
                    <a:gd name="T31" fmla="*/ 2147483647 h 16384"/>
                    <a:gd name="T32" fmla="*/ 2147483647 w 16384"/>
                    <a:gd name="T33" fmla="*/ 2147483647 h 16384"/>
                    <a:gd name="T34" fmla="*/ 2147483647 w 16384"/>
                    <a:gd name="T35" fmla="*/ 2147483647 h 16384"/>
                    <a:gd name="T36" fmla="*/ 2147483647 w 16384"/>
                    <a:gd name="T37" fmla="*/ 2147483647 h 16384"/>
                    <a:gd name="T38" fmla="*/ 2147483647 w 16384"/>
                    <a:gd name="T39" fmla="*/ 2147483647 h 16384"/>
                    <a:gd name="T40" fmla="*/ 2147483647 w 16384"/>
                    <a:gd name="T41" fmla="*/ 2147483647 h 16384"/>
                    <a:gd name="T42" fmla="*/ 2147483647 w 16384"/>
                    <a:gd name="T43" fmla="*/ 2147483647 h 16384"/>
                    <a:gd name="T44" fmla="*/ 2147483647 w 16384"/>
                    <a:gd name="T45" fmla="*/ 2147483647 h 16384"/>
                    <a:gd name="T46" fmla="*/ 2147483647 w 16384"/>
                    <a:gd name="T47" fmla="*/ 2147483647 h 16384"/>
                    <a:gd name="T48" fmla="*/ 2147483647 w 16384"/>
                    <a:gd name="T49" fmla="*/ 2147483647 h 16384"/>
                    <a:gd name="T50" fmla="*/ 2147483647 w 16384"/>
                    <a:gd name="T51" fmla="*/ 2147483647 h 16384"/>
                    <a:gd name="T52" fmla="*/ 2147483647 w 16384"/>
                    <a:gd name="T53" fmla="*/ 2147483647 h 16384"/>
                    <a:gd name="T54" fmla="*/ 2147483647 w 16384"/>
                    <a:gd name="T55" fmla="*/ 2147483647 h 16384"/>
                    <a:gd name="T56" fmla="*/ 2147483647 w 16384"/>
                    <a:gd name="T57" fmla="*/ 2147483647 h 16384"/>
                    <a:gd name="T58" fmla="*/ 2147483647 w 16384"/>
                    <a:gd name="T59" fmla="*/ 2147483647 h 16384"/>
                    <a:gd name="T60" fmla="*/ 2147483647 w 16384"/>
                    <a:gd name="T61" fmla="*/ 2147483647 h 16384"/>
                    <a:gd name="T62" fmla="*/ 2147483647 w 16384"/>
                    <a:gd name="T63" fmla="*/ 2147483647 h 16384"/>
                    <a:gd name="T64" fmla="*/ 2147483647 w 16384"/>
                    <a:gd name="T65" fmla="*/ 2147483647 h 16384"/>
                    <a:gd name="T66" fmla="*/ 2147483647 w 16384"/>
                    <a:gd name="T67" fmla="*/ 2147483647 h 16384"/>
                    <a:gd name="T68" fmla="*/ 2147483647 w 16384"/>
                    <a:gd name="T69" fmla="*/ 2147483647 h 16384"/>
                    <a:gd name="T70" fmla="*/ 2147483647 w 16384"/>
                    <a:gd name="T71" fmla="*/ 2147483647 h 16384"/>
                    <a:gd name="T72" fmla="*/ 2147483647 w 16384"/>
                    <a:gd name="T73" fmla="*/ 2147483647 h 16384"/>
                    <a:gd name="T74" fmla="*/ 2147483647 w 16384"/>
                    <a:gd name="T75" fmla="*/ 2147483647 h 16384"/>
                    <a:gd name="T76" fmla="*/ 2147483647 w 16384"/>
                    <a:gd name="T77" fmla="*/ 2147483647 h 16384"/>
                    <a:gd name="T78" fmla="*/ 2147483647 w 16384"/>
                    <a:gd name="T79" fmla="*/ 2147483647 h 16384"/>
                    <a:gd name="T80" fmla="*/ 2147483647 w 16384"/>
                    <a:gd name="T81" fmla="*/ 2147483647 h 16384"/>
                    <a:gd name="T82" fmla="*/ 2147483647 w 16384"/>
                    <a:gd name="T83" fmla="*/ 2147483647 h 16384"/>
                    <a:gd name="T84" fmla="*/ 2147483647 w 16384"/>
                    <a:gd name="T85" fmla="*/ 2147483647 h 16384"/>
                    <a:gd name="T86" fmla="*/ 2147483647 w 16384"/>
                    <a:gd name="T87" fmla="*/ 2147483647 h 16384"/>
                    <a:gd name="T88" fmla="*/ 2147483647 w 16384"/>
                    <a:gd name="T89" fmla="*/ 2147483647 h 16384"/>
                    <a:gd name="T90" fmla="*/ 2147483647 w 16384"/>
                    <a:gd name="T91" fmla="*/ 2147483647 h 16384"/>
                    <a:gd name="T92" fmla="*/ 2147483647 w 16384"/>
                    <a:gd name="T93" fmla="*/ 2147483647 h 16384"/>
                    <a:gd name="T94" fmla="*/ 2147483647 w 16384"/>
                    <a:gd name="T95" fmla="*/ 2147483647 h 16384"/>
                    <a:gd name="T96" fmla="*/ 2147483647 w 16384"/>
                    <a:gd name="T97" fmla="*/ 2147483647 h 16384"/>
                    <a:gd name="T98" fmla="*/ 2147483647 w 16384"/>
                    <a:gd name="T99" fmla="*/ 2147483647 h 16384"/>
                    <a:gd name="T100" fmla="*/ 2147483647 w 16384"/>
                    <a:gd name="T101" fmla="*/ 2147483647 h 16384"/>
                    <a:gd name="T102" fmla="*/ 2147483647 w 16384"/>
                    <a:gd name="T103" fmla="*/ 2147483647 h 16384"/>
                    <a:gd name="T104" fmla="*/ 2147483647 w 16384"/>
                    <a:gd name="T105" fmla="*/ 2147483647 h 16384"/>
                    <a:gd name="T106" fmla="*/ 2147483647 w 16384"/>
                    <a:gd name="T107" fmla="*/ 2147483647 h 16384"/>
                    <a:gd name="T108" fmla="*/ 2147483647 w 16384"/>
                    <a:gd name="T109" fmla="*/ 2147483647 h 16384"/>
                    <a:gd name="T110" fmla="*/ 2147483647 w 16384"/>
                    <a:gd name="T111" fmla="*/ 2147483647 h 16384"/>
                    <a:gd name="T112" fmla="*/ 2147483647 w 16384"/>
                    <a:gd name="T113" fmla="*/ 2147483647 h 16384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w 16384"/>
                    <a:gd name="T172" fmla="*/ 0 h 16384"/>
                    <a:gd name="T173" fmla="*/ 16384 w 16384"/>
                    <a:gd name="T174" fmla="*/ 16384 h 16384"/>
                  </a:gdLst>
                  <a:ahLst/>
                  <a:cxnLst>
                    <a:cxn ang="T114">
                      <a:pos x="T0" y="T1"/>
                    </a:cxn>
                    <a:cxn ang="T115">
                      <a:pos x="T2" y="T3"/>
                    </a:cxn>
                    <a:cxn ang="T116">
                      <a:pos x="T4" y="T5"/>
                    </a:cxn>
                    <a:cxn ang="T117">
                      <a:pos x="T6" y="T7"/>
                    </a:cxn>
                    <a:cxn ang="T118">
                      <a:pos x="T8" y="T9"/>
                    </a:cxn>
                    <a:cxn ang="T119">
                      <a:pos x="T10" y="T11"/>
                    </a:cxn>
                    <a:cxn ang="T120">
                      <a:pos x="T12" y="T13"/>
                    </a:cxn>
                    <a:cxn ang="T121">
                      <a:pos x="T14" y="T15"/>
                    </a:cxn>
                    <a:cxn ang="T122">
                      <a:pos x="T16" y="T17"/>
                    </a:cxn>
                    <a:cxn ang="T123">
                      <a:pos x="T18" y="T19"/>
                    </a:cxn>
                    <a:cxn ang="T124">
                      <a:pos x="T20" y="T21"/>
                    </a:cxn>
                    <a:cxn ang="T125">
                      <a:pos x="T22" y="T23"/>
                    </a:cxn>
                    <a:cxn ang="T126">
                      <a:pos x="T24" y="T25"/>
                    </a:cxn>
                    <a:cxn ang="T127">
                      <a:pos x="T26" y="T27"/>
                    </a:cxn>
                    <a:cxn ang="T128">
                      <a:pos x="T28" y="T29"/>
                    </a:cxn>
                    <a:cxn ang="T129">
                      <a:pos x="T30" y="T31"/>
                    </a:cxn>
                    <a:cxn ang="T130">
                      <a:pos x="T32" y="T33"/>
                    </a:cxn>
                    <a:cxn ang="T131">
                      <a:pos x="T34" y="T35"/>
                    </a:cxn>
                    <a:cxn ang="T132">
                      <a:pos x="T36" y="T37"/>
                    </a:cxn>
                    <a:cxn ang="T133">
                      <a:pos x="T38" y="T39"/>
                    </a:cxn>
                    <a:cxn ang="T134">
                      <a:pos x="T40" y="T41"/>
                    </a:cxn>
                    <a:cxn ang="T135">
                      <a:pos x="T42" y="T43"/>
                    </a:cxn>
                    <a:cxn ang="T136">
                      <a:pos x="T44" y="T45"/>
                    </a:cxn>
                    <a:cxn ang="T137">
                      <a:pos x="T46" y="T47"/>
                    </a:cxn>
                    <a:cxn ang="T138">
                      <a:pos x="T48" y="T49"/>
                    </a:cxn>
                    <a:cxn ang="T139">
                      <a:pos x="T50" y="T51"/>
                    </a:cxn>
                    <a:cxn ang="T140">
                      <a:pos x="T52" y="T53"/>
                    </a:cxn>
                    <a:cxn ang="T141">
                      <a:pos x="T54" y="T55"/>
                    </a:cxn>
                    <a:cxn ang="T142">
                      <a:pos x="T56" y="T57"/>
                    </a:cxn>
                    <a:cxn ang="T143">
                      <a:pos x="T58" y="T59"/>
                    </a:cxn>
                    <a:cxn ang="T144">
                      <a:pos x="T60" y="T61"/>
                    </a:cxn>
                    <a:cxn ang="T145">
                      <a:pos x="T62" y="T63"/>
                    </a:cxn>
                    <a:cxn ang="T146">
                      <a:pos x="T64" y="T65"/>
                    </a:cxn>
                    <a:cxn ang="T147">
                      <a:pos x="T66" y="T67"/>
                    </a:cxn>
                    <a:cxn ang="T148">
                      <a:pos x="T68" y="T69"/>
                    </a:cxn>
                    <a:cxn ang="T149">
                      <a:pos x="T70" y="T71"/>
                    </a:cxn>
                    <a:cxn ang="T150">
                      <a:pos x="T72" y="T73"/>
                    </a:cxn>
                    <a:cxn ang="T151">
                      <a:pos x="T74" y="T75"/>
                    </a:cxn>
                    <a:cxn ang="T152">
                      <a:pos x="T76" y="T77"/>
                    </a:cxn>
                    <a:cxn ang="T153">
                      <a:pos x="T78" y="T79"/>
                    </a:cxn>
                    <a:cxn ang="T154">
                      <a:pos x="T80" y="T81"/>
                    </a:cxn>
                    <a:cxn ang="T155">
                      <a:pos x="T82" y="T83"/>
                    </a:cxn>
                    <a:cxn ang="T156">
                      <a:pos x="T84" y="T85"/>
                    </a:cxn>
                    <a:cxn ang="T157">
                      <a:pos x="T86" y="T87"/>
                    </a:cxn>
                    <a:cxn ang="T158">
                      <a:pos x="T88" y="T89"/>
                    </a:cxn>
                    <a:cxn ang="T159">
                      <a:pos x="T90" y="T91"/>
                    </a:cxn>
                    <a:cxn ang="T160">
                      <a:pos x="T92" y="T93"/>
                    </a:cxn>
                    <a:cxn ang="T161">
                      <a:pos x="T94" y="T95"/>
                    </a:cxn>
                    <a:cxn ang="T162">
                      <a:pos x="T96" y="T97"/>
                    </a:cxn>
                    <a:cxn ang="T163">
                      <a:pos x="T98" y="T99"/>
                    </a:cxn>
                    <a:cxn ang="T164">
                      <a:pos x="T100" y="T101"/>
                    </a:cxn>
                    <a:cxn ang="T165">
                      <a:pos x="T102" y="T103"/>
                    </a:cxn>
                    <a:cxn ang="T166">
                      <a:pos x="T104" y="T105"/>
                    </a:cxn>
                    <a:cxn ang="T167">
                      <a:pos x="T106" y="T107"/>
                    </a:cxn>
                    <a:cxn ang="T168">
                      <a:pos x="T108" y="T109"/>
                    </a:cxn>
                    <a:cxn ang="T169">
                      <a:pos x="T110" y="T111"/>
                    </a:cxn>
                    <a:cxn ang="T170">
                      <a:pos x="T112" y="T113"/>
                    </a:cxn>
                  </a:cxnLst>
                  <a:rect l="T171" t="T172" r="T173" b="T174"/>
                  <a:pathLst>
                    <a:path w="16384" h="16384">
                      <a:moveTo>
                        <a:pt x="7374" y="5562"/>
                      </a:moveTo>
                      <a:lnTo>
                        <a:pt x="7406" y="5505"/>
                      </a:lnTo>
                      <a:lnTo>
                        <a:pt x="7439" y="5430"/>
                      </a:lnTo>
                      <a:lnTo>
                        <a:pt x="7535" y="5223"/>
                      </a:lnTo>
                      <a:lnTo>
                        <a:pt x="7631" y="5034"/>
                      </a:lnTo>
                      <a:lnTo>
                        <a:pt x="7791" y="4638"/>
                      </a:lnTo>
                      <a:lnTo>
                        <a:pt x="8753" y="2451"/>
                      </a:lnTo>
                      <a:lnTo>
                        <a:pt x="9266" y="1263"/>
                      </a:lnTo>
                      <a:lnTo>
                        <a:pt x="7663" y="999"/>
                      </a:lnTo>
                      <a:lnTo>
                        <a:pt x="6573" y="848"/>
                      </a:lnTo>
                      <a:lnTo>
                        <a:pt x="5066" y="584"/>
                      </a:lnTo>
                      <a:lnTo>
                        <a:pt x="3335" y="302"/>
                      </a:lnTo>
                      <a:lnTo>
                        <a:pt x="2789" y="207"/>
                      </a:lnTo>
                      <a:lnTo>
                        <a:pt x="2244" y="94"/>
                      </a:lnTo>
                      <a:lnTo>
                        <a:pt x="1603" y="0"/>
                      </a:lnTo>
                      <a:lnTo>
                        <a:pt x="1571" y="38"/>
                      </a:lnTo>
                      <a:lnTo>
                        <a:pt x="1539" y="75"/>
                      </a:lnTo>
                      <a:lnTo>
                        <a:pt x="1475" y="132"/>
                      </a:lnTo>
                      <a:lnTo>
                        <a:pt x="1411" y="207"/>
                      </a:lnTo>
                      <a:lnTo>
                        <a:pt x="1379" y="264"/>
                      </a:lnTo>
                      <a:lnTo>
                        <a:pt x="1443" y="321"/>
                      </a:lnTo>
                      <a:lnTo>
                        <a:pt x="1475" y="358"/>
                      </a:lnTo>
                      <a:lnTo>
                        <a:pt x="1507" y="415"/>
                      </a:lnTo>
                      <a:lnTo>
                        <a:pt x="1507" y="490"/>
                      </a:lnTo>
                      <a:lnTo>
                        <a:pt x="1475" y="566"/>
                      </a:lnTo>
                      <a:lnTo>
                        <a:pt x="1539" y="641"/>
                      </a:lnTo>
                      <a:lnTo>
                        <a:pt x="1539" y="698"/>
                      </a:lnTo>
                      <a:lnTo>
                        <a:pt x="1475" y="698"/>
                      </a:lnTo>
                      <a:lnTo>
                        <a:pt x="1475" y="716"/>
                      </a:lnTo>
                      <a:lnTo>
                        <a:pt x="1475" y="754"/>
                      </a:lnTo>
                      <a:lnTo>
                        <a:pt x="1475" y="830"/>
                      </a:lnTo>
                      <a:lnTo>
                        <a:pt x="1475" y="848"/>
                      </a:lnTo>
                      <a:lnTo>
                        <a:pt x="1411" y="905"/>
                      </a:lnTo>
                      <a:lnTo>
                        <a:pt x="1347" y="980"/>
                      </a:lnTo>
                      <a:lnTo>
                        <a:pt x="1218" y="1075"/>
                      </a:lnTo>
                      <a:lnTo>
                        <a:pt x="1186" y="1169"/>
                      </a:lnTo>
                      <a:lnTo>
                        <a:pt x="1154" y="1207"/>
                      </a:lnTo>
                      <a:lnTo>
                        <a:pt x="1122" y="1169"/>
                      </a:lnTo>
                      <a:lnTo>
                        <a:pt x="1058" y="1188"/>
                      </a:lnTo>
                      <a:lnTo>
                        <a:pt x="1026" y="1226"/>
                      </a:lnTo>
                      <a:lnTo>
                        <a:pt x="1026" y="1320"/>
                      </a:lnTo>
                      <a:lnTo>
                        <a:pt x="1058" y="1414"/>
                      </a:lnTo>
                      <a:lnTo>
                        <a:pt x="962" y="1489"/>
                      </a:lnTo>
                      <a:lnTo>
                        <a:pt x="834" y="1584"/>
                      </a:lnTo>
                      <a:lnTo>
                        <a:pt x="641" y="1716"/>
                      </a:lnTo>
                      <a:lnTo>
                        <a:pt x="449" y="1848"/>
                      </a:lnTo>
                      <a:lnTo>
                        <a:pt x="289" y="1942"/>
                      </a:lnTo>
                      <a:lnTo>
                        <a:pt x="128" y="2074"/>
                      </a:lnTo>
                      <a:lnTo>
                        <a:pt x="64" y="2168"/>
                      </a:lnTo>
                      <a:lnTo>
                        <a:pt x="96" y="2225"/>
                      </a:lnTo>
                      <a:lnTo>
                        <a:pt x="96" y="2300"/>
                      </a:lnTo>
                      <a:lnTo>
                        <a:pt x="32" y="2376"/>
                      </a:lnTo>
                      <a:lnTo>
                        <a:pt x="0" y="2413"/>
                      </a:lnTo>
                      <a:lnTo>
                        <a:pt x="64" y="2470"/>
                      </a:lnTo>
                      <a:lnTo>
                        <a:pt x="160" y="2526"/>
                      </a:lnTo>
                      <a:lnTo>
                        <a:pt x="224" y="2602"/>
                      </a:lnTo>
                      <a:lnTo>
                        <a:pt x="257" y="2658"/>
                      </a:lnTo>
                      <a:lnTo>
                        <a:pt x="321" y="2696"/>
                      </a:lnTo>
                      <a:lnTo>
                        <a:pt x="385" y="2753"/>
                      </a:lnTo>
                      <a:lnTo>
                        <a:pt x="353" y="2790"/>
                      </a:lnTo>
                      <a:lnTo>
                        <a:pt x="385" y="2866"/>
                      </a:lnTo>
                      <a:lnTo>
                        <a:pt x="417" y="2903"/>
                      </a:lnTo>
                      <a:lnTo>
                        <a:pt x="449" y="2941"/>
                      </a:lnTo>
                      <a:lnTo>
                        <a:pt x="481" y="2998"/>
                      </a:lnTo>
                      <a:lnTo>
                        <a:pt x="513" y="3035"/>
                      </a:lnTo>
                      <a:lnTo>
                        <a:pt x="545" y="3111"/>
                      </a:lnTo>
                      <a:lnTo>
                        <a:pt x="545" y="3167"/>
                      </a:lnTo>
                      <a:lnTo>
                        <a:pt x="609" y="3205"/>
                      </a:lnTo>
                      <a:lnTo>
                        <a:pt x="673" y="3299"/>
                      </a:lnTo>
                      <a:lnTo>
                        <a:pt x="609" y="3375"/>
                      </a:lnTo>
                      <a:lnTo>
                        <a:pt x="641" y="3450"/>
                      </a:lnTo>
                      <a:lnTo>
                        <a:pt x="641" y="3526"/>
                      </a:lnTo>
                      <a:lnTo>
                        <a:pt x="609" y="3582"/>
                      </a:lnTo>
                      <a:lnTo>
                        <a:pt x="577" y="3677"/>
                      </a:lnTo>
                      <a:lnTo>
                        <a:pt x="481" y="3752"/>
                      </a:lnTo>
                      <a:lnTo>
                        <a:pt x="385" y="3827"/>
                      </a:lnTo>
                      <a:lnTo>
                        <a:pt x="321" y="3959"/>
                      </a:lnTo>
                      <a:lnTo>
                        <a:pt x="289" y="4072"/>
                      </a:lnTo>
                      <a:lnTo>
                        <a:pt x="321" y="4261"/>
                      </a:lnTo>
                      <a:lnTo>
                        <a:pt x="353" y="4393"/>
                      </a:lnTo>
                      <a:lnTo>
                        <a:pt x="321" y="4450"/>
                      </a:lnTo>
                      <a:lnTo>
                        <a:pt x="224" y="4506"/>
                      </a:lnTo>
                      <a:lnTo>
                        <a:pt x="192" y="4544"/>
                      </a:lnTo>
                      <a:lnTo>
                        <a:pt x="224" y="4600"/>
                      </a:lnTo>
                      <a:lnTo>
                        <a:pt x="289" y="4695"/>
                      </a:lnTo>
                      <a:lnTo>
                        <a:pt x="353" y="4732"/>
                      </a:lnTo>
                      <a:lnTo>
                        <a:pt x="385" y="4789"/>
                      </a:lnTo>
                      <a:lnTo>
                        <a:pt x="417" y="4845"/>
                      </a:lnTo>
                      <a:lnTo>
                        <a:pt x="481" y="4883"/>
                      </a:lnTo>
                      <a:lnTo>
                        <a:pt x="481" y="4940"/>
                      </a:lnTo>
                      <a:lnTo>
                        <a:pt x="513" y="4977"/>
                      </a:lnTo>
                      <a:lnTo>
                        <a:pt x="577" y="5015"/>
                      </a:lnTo>
                      <a:lnTo>
                        <a:pt x="641" y="5109"/>
                      </a:lnTo>
                      <a:lnTo>
                        <a:pt x="673" y="5223"/>
                      </a:lnTo>
                      <a:lnTo>
                        <a:pt x="737" y="5298"/>
                      </a:lnTo>
                      <a:lnTo>
                        <a:pt x="834" y="5354"/>
                      </a:lnTo>
                      <a:lnTo>
                        <a:pt x="962" y="5411"/>
                      </a:lnTo>
                      <a:lnTo>
                        <a:pt x="1026" y="5505"/>
                      </a:lnTo>
                      <a:lnTo>
                        <a:pt x="1026" y="5618"/>
                      </a:lnTo>
                      <a:lnTo>
                        <a:pt x="1026" y="5694"/>
                      </a:lnTo>
                      <a:lnTo>
                        <a:pt x="1090" y="5713"/>
                      </a:lnTo>
                      <a:lnTo>
                        <a:pt x="1154" y="5732"/>
                      </a:lnTo>
                      <a:lnTo>
                        <a:pt x="1186" y="5769"/>
                      </a:lnTo>
                      <a:lnTo>
                        <a:pt x="1218" y="5807"/>
                      </a:lnTo>
                      <a:lnTo>
                        <a:pt x="1250" y="5882"/>
                      </a:lnTo>
                      <a:lnTo>
                        <a:pt x="1250" y="5939"/>
                      </a:lnTo>
                      <a:lnTo>
                        <a:pt x="1186" y="5939"/>
                      </a:lnTo>
                      <a:lnTo>
                        <a:pt x="1154" y="5939"/>
                      </a:lnTo>
                      <a:lnTo>
                        <a:pt x="1122" y="5882"/>
                      </a:lnTo>
                      <a:lnTo>
                        <a:pt x="1090" y="5882"/>
                      </a:lnTo>
                      <a:lnTo>
                        <a:pt x="1122" y="5939"/>
                      </a:lnTo>
                      <a:lnTo>
                        <a:pt x="1090" y="5996"/>
                      </a:lnTo>
                      <a:lnTo>
                        <a:pt x="1026" y="6033"/>
                      </a:lnTo>
                      <a:lnTo>
                        <a:pt x="962" y="6109"/>
                      </a:lnTo>
                      <a:lnTo>
                        <a:pt x="898" y="6165"/>
                      </a:lnTo>
                      <a:lnTo>
                        <a:pt x="930" y="6184"/>
                      </a:lnTo>
                      <a:lnTo>
                        <a:pt x="962" y="6184"/>
                      </a:lnTo>
                      <a:lnTo>
                        <a:pt x="994" y="6184"/>
                      </a:lnTo>
                      <a:lnTo>
                        <a:pt x="1058" y="6128"/>
                      </a:lnTo>
                      <a:lnTo>
                        <a:pt x="1122" y="6109"/>
                      </a:lnTo>
                      <a:lnTo>
                        <a:pt x="1122" y="6146"/>
                      </a:lnTo>
                      <a:lnTo>
                        <a:pt x="1122" y="6184"/>
                      </a:lnTo>
                      <a:lnTo>
                        <a:pt x="1218" y="6203"/>
                      </a:lnTo>
                      <a:lnTo>
                        <a:pt x="1283" y="6259"/>
                      </a:lnTo>
                      <a:lnTo>
                        <a:pt x="1315" y="6316"/>
                      </a:lnTo>
                      <a:lnTo>
                        <a:pt x="1379" y="6354"/>
                      </a:lnTo>
                      <a:lnTo>
                        <a:pt x="1443" y="6391"/>
                      </a:lnTo>
                      <a:lnTo>
                        <a:pt x="1443" y="6410"/>
                      </a:lnTo>
                      <a:lnTo>
                        <a:pt x="1475" y="6410"/>
                      </a:lnTo>
                      <a:lnTo>
                        <a:pt x="1507" y="6410"/>
                      </a:lnTo>
                      <a:lnTo>
                        <a:pt x="1539" y="6429"/>
                      </a:lnTo>
                      <a:lnTo>
                        <a:pt x="1571" y="6486"/>
                      </a:lnTo>
                      <a:lnTo>
                        <a:pt x="1635" y="6505"/>
                      </a:lnTo>
                      <a:lnTo>
                        <a:pt x="1667" y="6542"/>
                      </a:lnTo>
                      <a:lnTo>
                        <a:pt x="1699" y="6561"/>
                      </a:lnTo>
                      <a:lnTo>
                        <a:pt x="1731" y="6580"/>
                      </a:lnTo>
                      <a:lnTo>
                        <a:pt x="1796" y="6599"/>
                      </a:lnTo>
                      <a:lnTo>
                        <a:pt x="1828" y="6580"/>
                      </a:lnTo>
                      <a:lnTo>
                        <a:pt x="1828" y="6542"/>
                      </a:lnTo>
                      <a:lnTo>
                        <a:pt x="1828" y="6505"/>
                      </a:lnTo>
                      <a:lnTo>
                        <a:pt x="1860" y="6523"/>
                      </a:lnTo>
                      <a:lnTo>
                        <a:pt x="1892" y="6561"/>
                      </a:lnTo>
                      <a:lnTo>
                        <a:pt x="1924" y="6561"/>
                      </a:lnTo>
                      <a:lnTo>
                        <a:pt x="1924" y="6523"/>
                      </a:lnTo>
                      <a:lnTo>
                        <a:pt x="1924" y="6505"/>
                      </a:lnTo>
                      <a:lnTo>
                        <a:pt x="1892" y="6467"/>
                      </a:lnTo>
                      <a:lnTo>
                        <a:pt x="1860" y="6448"/>
                      </a:lnTo>
                      <a:lnTo>
                        <a:pt x="1892" y="6410"/>
                      </a:lnTo>
                      <a:lnTo>
                        <a:pt x="1892" y="6391"/>
                      </a:lnTo>
                      <a:lnTo>
                        <a:pt x="1956" y="6391"/>
                      </a:lnTo>
                      <a:lnTo>
                        <a:pt x="1956" y="6373"/>
                      </a:lnTo>
                      <a:lnTo>
                        <a:pt x="1956" y="6354"/>
                      </a:lnTo>
                      <a:lnTo>
                        <a:pt x="1892" y="6335"/>
                      </a:lnTo>
                      <a:lnTo>
                        <a:pt x="1892" y="6316"/>
                      </a:lnTo>
                      <a:lnTo>
                        <a:pt x="1924" y="6278"/>
                      </a:lnTo>
                      <a:lnTo>
                        <a:pt x="1956" y="6241"/>
                      </a:lnTo>
                      <a:lnTo>
                        <a:pt x="1988" y="6184"/>
                      </a:lnTo>
                      <a:lnTo>
                        <a:pt x="1956" y="6184"/>
                      </a:lnTo>
                      <a:lnTo>
                        <a:pt x="1924" y="6146"/>
                      </a:lnTo>
                      <a:lnTo>
                        <a:pt x="1956" y="6146"/>
                      </a:lnTo>
                      <a:lnTo>
                        <a:pt x="1988" y="6146"/>
                      </a:lnTo>
                      <a:lnTo>
                        <a:pt x="2052" y="6165"/>
                      </a:lnTo>
                      <a:lnTo>
                        <a:pt x="2084" y="6165"/>
                      </a:lnTo>
                      <a:lnTo>
                        <a:pt x="2116" y="6146"/>
                      </a:lnTo>
                      <a:lnTo>
                        <a:pt x="2148" y="6128"/>
                      </a:lnTo>
                      <a:lnTo>
                        <a:pt x="2212" y="6146"/>
                      </a:lnTo>
                      <a:lnTo>
                        <a:pt x="2244" y="6165"/>
                      </a:lnTo>
                      <a:lnTo>
                        <a:pt x="2276" y="6203"/>
                      </a:lnTo>
                      <a:lnTo>
                        <a:pt x="2341" y="6203"/>
                      </a:lnTo>
                      <a:lnTo>
                        <a:pt x="2405" y="6222"/>
                      </a:lnTo>
                      <a:lnTo>
                        <a:pt x="2405" y="6278"/>
                      </a:lnTo>
                      <a:lnTo>
                        <a:pt x="2437" y="6297"/>
                      </a:lnTo>
                      <a:lnTo>
                        <a:pt x="2501" y="6335"/>
                      </a:lnTo>
                      <a:lnTo>
                        <a:pt x="2597" y="6373"/>
                      </a:lnTo>
                      <a:lnTo>
                        <a:pt x="2597" y="6410"/>
                      </a:lnTo>
                      <a:lnTo>
                        <a:pt x="2533" y="6391"/>
                      </a:lnTo>
                      <a:lnTo>
                        <a:pt x="2373" y="6354"/>
                      </a:lnTo>
                      <a:lnTo>
                        <a:pt x="2437" y="6354"/>
                      </a:lnTo>
                      <a:lnTo>
                        <a:pt x="2373" y="6354"/>
                      </a:lnTo>
                      <a:lnTo>
                        <a:pt x="2309" y="6391"/>
                      </a:lnTo>
                      <a:lnTo>
                        <a:pt x="2244" y="6391"/>
                      </a:lnTo>
                      <a:lnTo>
                        <a:pt x="2180" y="6373"/>
                      </a:lnTo>
                      <a:lnTo>
                        <a:pt x="2148" y="6391"/>
                      </a:lnTo>
                      <a:lnTo>
                        <a:pt x="2116" y="6410"/>
                      </a:lnTo>
                      <a:lnTo>
                        <a:pt x="2052" y="6429"/>
                      </a:lnTo>
                      <a:lnTo>
                        <a:pt x="2052" y="6448"/>
                      </a:lnTo>
                      <a:lnTo>
                        <a:pt x="2052" y="6486"/>
                      </a:lnTo>
                      <a:lnTo>
                        <a:pt x="2116" y="6505"/>
                      </a:lnTo>
                      <a:lnTo>
                        <a:pt x="2148" y="6542"/>
                      </a:lnTo>
                      <a:lnTo>
                        <a:pt x="2180" y="6580"/>
                      </a:lnTo>
                      <a:lnTo>
                        <a:pt x="2180" y="6618"/>
                      </a:lnTo>
                      <a:lnTo>
                        <a:pt x="2148" y="6637"/>
                      </a:lnTo>
                      <a:lnTo>
                        <a:pt x="2148" y="6674"/>
                      </a:lnTo>
                      <a:lnTo>
                        <a:pt x="2116" y="6712"/>
                      </a:lnTo>
                      <a:lnTo>
                        <a:pt x="2180" y="6787"/>
                      </a:lnTo>
                      <a:lnTo>
                        <a:pt x="2244" y="6844"/>
                      </a:lnTo>
                      <a:lnTo>
                        <a:pt x="2309" y="6901"/>
                      </a:lnTo>
                      <a:lnTo>
                        <a:pt x="2341" y="6995"/>
                      </a:lnTo>
                      <a:lnTo>
                        <a:pt x="2341" y="7089"/>
                      </a:lnTo>
                      <a:lnTo>
                        <a:pt x="2341" y="7164"/>
                      </a:lnTo>
                      <a:lnTo>
                        <a:pt x="2373" y="7183"/>
                      </a:lnTo>
                      <a:lnTo>
                        <a:pt x="2469" y="7240"/>
                      </a:lnTo>
                      <a:lnTo>
                        <a:pt x="2533" y="7278"/>
                      </a:lnTo>
                      <a:lnTo>
                        <a:pt x="2533" y="7296"/>
                      </a:lnTo>
                      <a:lnTo>
                        <a:pt x="2469" y="7315"/>
                      </a:lnTo>
                      <a:lnTo>
                        <a:pt x="2405" y="7296"/>
                      </a:lnTo>
                      <a:lnTo>
                        <a:pt x="2341" y="7278"/>
                      </a:lnTo>
                      <a:lnTo>
                        <a:pt x="2309" y="7240"/>
                      </a:lnTo>
                      <a:lnTo>
                        <a:pt x="2276" y="7221"/>
                      </a:lnTo>
                      <a:lnTo>
                        <a:pt x="2276" y="7202"/>
                      </a:lnTo>
                      <a:lnTo>
                        <a:pt x="2244" y="7164"/>
                      </a:lnTo>
                      <a:lnTo>
                        <a:pt x="2180" y="7146"/>
                      </a:lnTo>
                      <a:lnTo>
                        <a:pt x="2116" y="7108"/>
                      </a:lnTo>
                      <a:lnTo>
                        <a:pt x="2084" y="7070"/>
                      </a:lnTo>
                      <a:lnTo>
                        <a:pt x="2020" y="7032"/>
                      </a:lnTo>
                      <a:lnTo>
                        <a:pt x="1924" y="6995"/>
                      </a:lnTo>
                      <a:lnTo>
                        <a:pt x="1860" y="6957"/>
                      </a:lnTo>
                      <a:lnTo>
                        <a:pt x="1892" y="6938"/>
                      </a:lnTo>
                      <a:lnTo>
                        <a:pt x="1924" y="6901"/>
                      </a:lnTo>
                      <a:lnTo>
                        <a:pt x="1892" y="6863"/>
                      </a:lnTo>
                      <a:lnTo>
                        <a:pt x="1892" y="6825"/>
                      </a:lnTo>
                      <a:lnTo>
                        <a:pt x="1892" y="6806"/>
                      </a:lnTo>
                      <a:lnTo>
                        <a:pt x="1924" y="6806"/>
                      </a:lnTo>
                      <a:lnTo>
                        <a:pt x="1988" y="6787"/>
                      </a:lnTo>
                      <a:lnTo>
                        <a:pt x="1988" y="6750"/>
                      </a:lnTo>
                      <a:lnTo>
                        <a:pt x="1988" y="6712"/>
                      </a:lnTo>
                      <a:lnTo>
                        <a:pt x="1988" y="6693"/>
                      </a:lnTo>
                      <a:lnTo>
                        <a:pt x="1924" y="6674"/>
                      </a:lnTo>
                      <a:lnTo>
                        <a:pt x="1892" y="6674"/>
                      </a:lnTo>
                      <a:lnTo>
                        <a:pt x="1860" y="6655"/>
                      </a:lnTo>
                      <a:lnTo>
                        <a:pt x="1796" y="6655"/>
                      </a:lnTo>
                      <a:lnTo>
                        <a:pt x="1763" y="6655"/>
                      </a:lnTo>
                      <a:lnTo>
                        <a:pt x="1699" y="6674"/>
                      </a:lnTo>
                      <a:lnTo>
                        <a:pt x="1699" y="6712"/>
                      </a:lnTo>
                      <a:lnTo>
                        <a:pt x="1699" y="6769"/>
                      </a:lnTo>
                      <a:lnTo>
                        <a:pt x="1699" y="6806"/>
                      </a:lnTo>
                      <a:lnTo>
                        <a:pt x="1667" y="6844"/>
                      </a:lnTo>
                      <a:lnTo>
                        <a:pt x="1667" y="6882"/>
                      </a:lnTo>
                      <a:lnTo>
                        <a:pt x="1635" y="6901"/>
                      </a:lnTo>
                      <a:lnTo>
                        <a:pt x="1571" y="6919"/>
                      </a:lnTo>
                      <a:lnTo>
                        <a:pt x="1539" y="6976"/>
                      </a:lnTo>
                      <a:lnTo>
                        <a:pt x="1539" y="7014"/>
                      </a:lnTo>
                      <a:lnTo>
                        <a:pt x="1539" y="7070"/>
                      </a:lnTo>
                      <a:lnTo>
                        <a:pt x="1603" y="7089"/>
                      </a:lnTo>
                      <a:lnTo>
                        <a:pt x="1635" y="7127"/>
                      </a:lnTo>
                      <a:lnTo>
                        <a:pt x="1603" y="7183"/>
                      </a:lnTo>
                      <a:lnTo>
                        <a:pt x="1603" y="7221"/>
                      </a:lnTo>
                      <a:lnTo>
                        <a:pt x="1635" y="7259"/>
                      </a:lnTo>
                      <a:lnTo>
                        <a:pt x="1603" y="7334"/>
                      </a:lnTo>
                      <a:lnTo>
                        <a:pt x="1571" y="7391"/>
                      </a:lnTo>
                      <a:lnTo>
                        <a:pt x="1507" y="7466"/>
                      </a:lnTo>
                      <a:lnTo>
                        <a:pt x="1539" y="7523"/>
                      </a:lnTo>
                      <a:lnTo>
                        <a:pt x="1571" y="7598"/>
                      </a:lnTo>
                      <a:lnTo>
                        <a:pt x="1571" y="7636"/>
                      </a:lnTo>
                      <a:lnTo>
                        <a:pt x="1603" y="7674"/>
                      </a:lnTo>
                      <a:lnTo>
                        <a:pt x="1603" y="7711"/>
                      </a:lnTo>
                      <a:lnTo>
                        <a:pt x="1667" y="7730"/>
                      </a:lnTo>
                      <a:lnTo>
                        <a:pt x="1699" y="7768"/>
                      </a:lnTo>
                      <a:lnTo>
                        <a:pt x="1731" y="7824"/>
                      </a:lnTo>
                      <a:lnTo>
                        <a:pt x="1796" y="7900"/>
                      </a:lnTo>
                      <a:lnTo>
                        <a:pt x="1892" y="7956"/>
                      </a:lnTo>
                      <a:lnTo>
                        <a:pt x="2020" y="8013"/>
                      </a:lnTo>
                      <a:lnTo>
                        <a:pt x="2052" y="8013"/>
                      </a:lnTo>
                      <a:lnTo>
                        <a:pt x="2116" y="8013"/>
                      </a:lnTo>
                      <a:lnTo>
                        <a:pt x="2148" y="8032"/>
                      </a:lnTo>
                      <a:lnTo>
                        <a:pt x="2212" y="8051"/>
                      </a:lnTo>
                      <a:lnTo>
                        <a:pt x="2276" y="8032"/>
                      </a:lnTo>
                      <a:lnTo>
                        <a:pt x="2309" y="8051"/>
                      </a:lnTo>
                      <a:lnTo>
                        <a:pt x="2405" y="8088"/>
                      </a:lnTo>
                      <a:lnTo>
                        <a:pt x="2437" y="8164"/>
                      </a:lnTo>
                      <a:lnTo>
                        <a:pt x="2469" y="8220"/>
                      </a:lnTo>
                      <a:lnTo>
                        <a:pt x="2437" y="8258"/>
                      </a:lnTo>
                      <a:lnTo>
                        <a:pt x="2437" y="8277"/>
                      </a:lnTo>
                      <a:lnTo>
                        <a:pt x="2405" y="8371"/>
                      </a:lnTo>
                      <a:lnTo>
                        <a:pt x="2341" y="8465"/>
                      </a:lnTo>
                      <a:lnTo>
                        <a:pt x="2244" y="8541"/>
                      </a:lnTo>
                      <a:lnTo>
                        <a:pt x="2180" y="8560"/>
                      </a:lnTo>
                      <a:lnTo>
                        <a:pt x="2148" y="8560"/>
                      </a:lnTo>
                      <a:lnTo>
                        <a:pt x="2052" y="8522"/>
                      </a:lnTo>
                      <a:lnTo>
                        <a:pt x="1988" y="8560"/>
                      </a:lnTo>
                      <a:lnTo>
                        <a:pt x="1924" y="8597"/>
                      </a:lnTo>
                      <a:lnTo>
                        <a:pt x="1956" y="8616"/>
                      </a:lnTo>
                      <a:lnTo>
                        <a:pt x="1956" y="8673"/>
                      </a:lnTo>
                      <a:lnTo>
                        <a:pt x="1924" y="8673"/>
                      </a:lnTo>
                      <a:lnTo>
                        <a:pt x="1892" y="8692"/>
                      </a:lnTo>
                      <a:lnTo>
                        <a:pt x="1956" y="8748"/>
                      </a:lnTo>
                      <a:lnTo>
                        <a:pt x="1924" y="8786"/>
                      </a:lnTo>
                      <a:lnTo>
                        <a:pt x="1924" y="8918"/>
                      </a:lnTo>
                      <a:lnTo>
                        <a:pt x="1924" y="8956"/>
                      </a:lnTo>
                      <a:lnTo>
                        <a:pt x="1892" y="9012"/>
                      </a:lnTo>
                      <a:lnTo>
                        <a:pt x="1956" y="9069"/>
                      </a:lnTo>
                      <a:lnTo>
                        <a:pt x="2020" y="9144"/>
                      </a:lnTo>
                      <a:lnTo>
                        <a:pt x="2084" y="9182"/>
                      </a:lnTo>
                      <a:lnTo>
                        <a:pt x="2148" y="9201"/>
                      </a:lnTo>
                      <a:lnTo>
                        <a:pt x="2212" y="9257"/>
                      </a:lnTo>
                      <a:lnTo>
                        <a:pt x="2244" y="9314"/>
                      </a:lnTo>
                      <a:lnTo>
                        <a:pt x="2309" y="9427"/>
                      </a:lnTo>
                      <a:lnTo>
                        <a:pt x="2341" y="9521"/>
                      </a:lnTo>
                      <a:lnTo>
                        <a:pt x="2405" y="9559"/>
                      </a:lnTo>
                      <a:lnTo>
                        <a:pt x="2437" y="9634"/>
                      </a:lnTo>
                      <a:lnTo>
                        <a:pt x="2437" y="9729"/>
                      </a:lnTo>
                      <a:lnTo>
                        <a:pt x="2501" y="9785"/>
                      </a:lnTo>
                      <a:lnTo>
                        <a:pt x="2565" y="9842"/>
                      </a:lnTo>
                      <a:lnTo>
                        <a:pt x="2597" y="9898"/>
                      </a:lnTo>
                      <a:lnTo>
                        <a:pt x="2629" y="9955"/>
                      </a:lnTo>
                      <a:lnTo>
                        <a:pt x="2693" y="9974"/>
                      </a:lnTo>
                      <a:lnTo>
                        <a:pt x="2661" y="10030"/>
                      </a:lnTo>
                      <a:lnTo>
                        <a:pt x="2693" y="10106"/>
                      </a:lnTo>
                      <a:lnTo>
                        <a:pt x="2757" y="10143"/>
                      </a:lnTo>
                      <a:lnTo>
                        <a:pt x="2822" y="10219"/>
                      </a:lnTo>
                      <a:lnTo>
                        <a:pt x="2886" y="10256"/>
                      </a:lnTo>
                      <a:lnTo>
                        <a:pt x="2950" y="10351"/>
                      </a:lnTo>
                      <a:lnTo>
                        <a:pt x="3046" y="10483"/>
                      </a:lnTo>
                      <a:lnTo>
                        <a:pt x="3110" y="10539"/>
                      </a:lnTo>
                      <a:lnTo>
                        <a:pt x="3270" y="10577"/>
                      </a:lnTo>
                      <a:lnTo>
                        <a:pt x="3335" y="10596"/>
                      </a:lnTo>
                      <a:lnTo>
                        <a:pt x="3335" y="10615"/>
                      </a:lnTo>
                      <a:lnTo>
                        <a:pt x="3335" y="10690"/>
                      </a:lnTo>
                      <a:lnTo>
                        <a:pt x="3367" y="10784"/>
                      </a:lnTo>
                      <a:lnTo>
                        <a:pt x="3335" y="10803"/>
                      </a:lnTo>
                      <a:lnTo>
                        <a:pt x="3302" y="10766"/>
                      </a:lnTo>
                      <a:lnTo>
                        <a:pt x="3238" y="10803"/>
                      </a:lnTo>
                      <a:lnTo>
                        <a:pt x="3206" y="10841"/>
                      </a:lnTo>
                      <a:lnTo>
                        <a:pt x="3238" y="10935"/>
                      </a:lnTo>
                      <a:lnTo>
                        <a:pt x="3335" y="10992"/>
                      </a:lnTo>
                      <a:lnTo>
                        <a:pt x="3399" y="11048"/>
                      </a:lnTo>
                      <a:lnTo>
                        <a:pt x="3431" y="11048"/>
                      </a:lnTo>
                      <a:lnTo>
                        <a:pt x="3463" y="11048"/>
                      </a:lnTo>
                      <a:lnTo>
                        <a:pt x="3527" y="11048"/>
                      </a:lnTo>
                      <a:lnTo>
                        <a:pt x="3591" y="11086"/>
                      </a:lnTo>
                      <a:lnTo>
                        <a:pt x="3623" y="11161"/>
                      </a:lnTo>
                      <a:lnTo>
                        <a:pt x="3559" y="11256"/>
                      </a:lnTo>
                      <a:lnTo>
                        <a:pt x="3495" y="11312"/>
                      </a:lnTo>
                      <a:lnTo>
                        <a:pt x="3463" y="11388"/>
                      </a:lnTo>
                      <a:lnTo>
                        <a:pt x="3431" y="11425"/>
                      </a:lnTo>
                      <a:lnTo>
                        <a:pt x="3431" y="11463"/>
                      </a:lnTo>
                      <a:lnTo>
                        <a:pt x="3463" y="11482"/>
                      </a:lnTo>
                      <a:lnTo>
                        <a:pt x="3463" y="11539"/>
                      </a:lnTo>
                      <a:lnTo>
                        <a:pt x="3399" y="11595"/>
                      </a:lnTo>
                      <a:lnTo>
                        <a:pt x="3367" y="11652"/>
                      </a:lnTo>
                      <a:lnTo>
                        <a:pt x="3367" y="11727"/>
                      </a:lnTo>
                      <a:lnTo>
                        <a:pt x="3335" y="11803"/>
                      </a:lnTo>
                      <a:lnTo>
                        <a:pt x="3238" y="11878"/>
                      </a:lnTo>
                      <a:lnTo>
                        <a:pt x="3238" y="11953"/>
                      </a:lnTo>
                      <a:lnTo>
                        <a:pt x="3302" y="11991"/>
                      </a:lnTo>
                      <a:lnTo>
                        <a:pt x="3431" y="12029"/>
                      </a:lnTo>
                      <a:lnTo>
                        <a:pt x="3463" y="12104"/>
                      </a:lnTo>
                      <a:lnTo>
                        <a:pt x="3527" y="12161"/>
                      </a:lnTo>
                      <a:lnTo>
                        <a:pt x="3591" y="12198"/>
                      </a:lnTo>
                      <a:lnTo>
                        <a:pt x="3848" y="12217"/>
                      </a:lnTo>
                      <a:lnTo>
                        <a:pt x="4136" y="12255"/>
                      </a:lnTo>
                      <a:lnTo>
                        <a:pt x="4264" y="12293"/>
                      </a:lnTo>
                      <a:lnTo>
                        <a:pt x="4393" y="12312"/>
                      </a:lnTo>
                      <a:lnTo>
                        <a:pt x="4489" y="12330"/>
                      </a:lnTo>
                      <a:lnTo>
                        <a:pt x="4617" y="12387"/>
                      </a:lnTo>
                      <a:lnTo>
                        <a:pt x="4713" y="12425"/>
                      </a:lnTo>
                      <a:lnTo>
                        <a:pt x="4841" y="12444"/>
                      </a:lnTo>
                      <a:lnTo>
                        <a:pt x="4938" y="12462"/>
                      </a:lnTo>
                      <a:lnTo>
                        <a:pt x="5066" y="12481"/>
                      </a:lnTo>
                      <a:lnTo>
                        <a:pt x="5226" y="12481"/>
                      </a:lnTo>
                      <a:lnTo>
                        <a:pt x="5322" y="12500"/>
                      </a:lnTo>
                      <a:lnTo>
                        <a:pt x="5419" y="12538"/>
                      </a:lnTo>
                      <a:lnTo>
                        <a:pt x="5515" y="12576"/>
                      </a:lnTo>
                      <a:lnTo>
                        <a:pt x="5579" y="12651"/>
                      </a:lnTo>
                      <a:lnTo>
                        <a:pt x="5675" y="12726"/>
                      </a:lnTo>
                      <a:lnTo>
                        <a:pt x="5835" y="12802"/>
                      </a:lnTo>
                      <a:lnTo>
                        <a:pt x="5867" y="12839"/>
                      </a:lnTo>
                      <a:lnTo>
                        <a:pt x="5867" y="12915"/>
                      </a:lnTo>
                      <a:lnTo>
                        <a:pt x="5932" y="13028"/>
                      </a:lnTo>
                      <a:lnTo>
                        <a:pt x="6028" y="13103"/>
                      </a:lnTo>
                      <a:lnTo>
                        <a:pt x="6124" y="13122"/>
                      </a:lnTo>
                      <a:lnTo>
                        <a:pt x="6188" y="13122"/>
                      </a:lnTo>
                      <a:lnTo>
                        <a:pt x="6220" y="13179"/>
                      </a:lnTo>
                      <a:lnTo>
                        <a:pt x="6316" y="13198"/>
                      </a:lnTo>
                      <a:lnTo>
                        <a:pt x="6348" y="13235"/>
                      </a:lnTo>
                      <a:lnTo>
                        <a:pt x="6573" y="13292"/>
                      </a:lnTo>
                      <a:lnTo>
                        <a:pt x="6637" y="13330"/>
                      </a:lnTo>
                      <a:lnTo>
                        <a:pt x="6733" y="13311"/>
                      </a:lnTo>
                      <a:lnTo>
                        <a:pt x="6893" y="13330"/>
                      </a:lnTo>
                      <a:lnTo>
                        <a:pt x="7150" y="13386"/>
                      </a:lnTo>
                      <a:lnTo>
                        <a:pt x="7246" y="13424"/>
                      </a:lnTo>
                      <a:lnTo>
                        <a:pt x="7278" y="13443"/>
                      </a:lnTo>
                      <a:lnTo>
                        <a:pt x="7310" y="13499"/>
                      </a:lnTo>
                      <a:lnTo>
                        <a:pt x="7342" y="13612"/>
                      </a:lnTo>
                      <a:lnTo>
                        <a:pt x="7374" y="13707"/>
                      </a:lnTo>
                      <a:lnTo>
                        <a:pt x="7342" y="13744"/>
                      </a:lnTo>
                      <a:lnTo>
                        <a:pt x="7278" y="13763"/>
                      </a:lnTo>
                      <a:lnTo>
                        <a:pt x="7278" y="13801"/>
                      </a:lnTo>
                      <a:lnTo>
                        <a:pt x="7310" y="13839"/>
                      </a:lnTo>
                      <a:lnTo>
                        <a:pt x="7406" y="13858"/>
                      </a:lnTo>
                      <a:lnTo>
                        <a:pt x="7439" y="13895"/>
                      </a:lnTo>
                      <a:lnTo>
                        <a:pt x="7471" y="13914"/>
                      </a:lnTo>
                      <a:lnTo>
                        <a:pt x="7535" y="13914"/>
                      </a:lnTo>
                      <a:lnTo>
                        <a:pt x="7567" y="13895"/>
                      </a:lnTo>
                      <a:lnTo>
                        <a:pt x="7599" y="13858"/>
                      </a:lnTo>
                      <a:lnTo>
                        <a:pt x="7663" y="13876"/>
                      </a:lnTo>
                      <a:lnTo>
                        <a:pt x="7727" y="13858"/>
                      </a:lnTo>
                      <a:lnTo>
                        <a:pt x="7823" y="13876"/>
                      </a:lnTo>
                      <a:lnTo>
                        <a:pt x="7887" y="13914"/>
                      </a:lnTo>
                      <a:lnTo>
                        <a:pt x="7919" y="13933"/>
                      </a:lnTo>
                      <a:lnTo>
                        <a:pt x="7952" y="13952"/>
                      </a:lnTo>
                      <a:lnTo>
                        <a:pt x="8048" y="14008"/>
                      </a:lnTo>
                      <a:lnTo>
                        <a:pt x="8144" y="14122"/>
                      </a:lnTo>
                      <a:lnTo>
                        <a:pt x="8240" y="14178"/>
                      </a:lnTo>
                      <a:lnTo>
                        <a:pt x="8272" y="14178"/>
                      </a:lnTo>
                      <a:lnTo>
                        <a:pt x="8336" y="14216"/>
                      </a:lnTo>
                      <a:lnTo>
                        <a:pt x="8400" y="14272"/>
                      </a:lnTo>
                      <a:lnTo>
                        <a:pt x="8497" y="14348"/>
                      </a:lnTo>
                      <a:lnTo>
                        <a:pt x="8529" y="14404"/>
                      </a:lnTo>
                      <a:lnTo>
                        <a:pt x="8593" y="14461"/>
                      </a:lnTo>
                      <a:lnTo>
                        <a:pt x="8625" y="14499"/>
                      </a:lnTo>
                      <a:lnTo>
                        <a:pt x="8753" y="14555"/>
                      </a:lnTo>
                      <a:lnTo>
                        <a:pt x="8753" y="14612"/>
                      </a:lnTo>
                      <a:lnTo>
                        <a:pt x="8849" y="14668"/>
                      </a:lnTo>
                      <a:lnTo>
                        <a:pt x="8913" y="14725"/>
                      </a:lnTo>
                      <a:lnTo>
                        <a:pt x="8978" y="14781"/>
                      </a:lnTo>
                      <a:lnTo>
                        <a:pt x="9042" y="14857"/>
                      </a:lnTo>
                      <a:lnTo>
                        <a:pt x="9074" y="14951"/>
                      </a:lnTo>
                      <a:lnTo>
                        <a:pt x="9138" y="15045"/>
                      </a:lnTo>
                      <a:lnTo>
                        <a:pt x="9170" y="15121"/>
                      </a:lnTo>
                      <a:lnTo>
                        <a:pt x="9202" y="15234"/>
                      </a:lnTo>
                      <a:lnTo>
                        <a:pt x="9202" y="15309"/>
                      </a:lnTo>
                      <a:lnTo>
                        <a:pt x="9202" y="15422"/>
                      </a:lnTo>
                      <a:lnTo>
                        <a:pt x="9170" y="15479"/>
                      </a:lnTo>
                      <a:lnTo>
                        <a:pt x="9106" y="15498"/>
                      </a:lnTo>
                      <a:lnTo>
                        <a:pt x="9106" y="15536"/>
                      </a:lnTo>
                      <a:lnTo>
                        <a:pt x="9138" y="15573"/>
                      </a:lnTo>
                      <a:lnTo>
                        <a:pt x="9170" y="15611"/>
                      </a:lnTo>
                      <a:lnTo>
                        <a:pt x="9138" y="15630"/>
                      </a:lnTo>
                      <a:lnTo>
                        <a:pt x="9074" y="15668"/>
                      </a:lnTo>
                      <a:lnTo>
                        <a:pt x="9074" y="15724"/>
                      </a:lnTo>
                      <a:lnTo>
                        <a:pt x="9106" y="15743"/>
                      </a:lnTo>
                      <a:lnTo>
                        <a:pt x="9138" y="15743"/>
                      </a:lnTo>
                      <a:lnTo>
                        <a:pt x="9170" y="15705"/>
                      </a:lnTo>
                      <a:lnTo>
                        <a:pt x="9234" y="15705"/>
                      </a:lnTo>
                      <a:lnTo>
                        <a:pt x="9234" y="15724"/>
                      </a:lnTo>
                      <a:lnTo>
                        <a:pt x="9266" y="15762"/>
                      </a:lnTo>
                      <a:lnTo>
                        <a:pt x="9330" y="15800"/>
                      </a:lnTo>
                      <a:lnTo>
                        <a:pt x="9330" y="15837"/>
                      </a:lnTo>
                      <a:lnTo>
                        <a:pt x="9330" y="15875"/>
                      </a:lnTo>
                      <a:lnTo>
                        <a:pt x="9298" y="15856"/>
                      </a:lnTo>
                      <a:lnTo>
                        <a:pt x="9234" y="15781"/>
                      </a:lnTo>
                      <a:lnTo>
                        <a:pt x="9202" y="15781"/>
                      </a:lnTo>
                      <a:lnTo>
                        <a:pt x="9202" y="15818"/>
                      </a:lnTo>
                      <a:lnTo>
                        <a:pt x="9234" y="15856"/>
                      </a:lnTo>
                      <a:lnTo>
                        <a:pt x="9266" y="15894"/>
                      </a:lnTo>
                      <a:lnTo>
                        <a:pt x="9266" y="15913"/>
                      </a:lnTo>
                      <a:lnTo>
                        <a:pt x="9234" y="16007"/>
                      </a:lnTo>
                      <a:lnTo>
                        <a:pt x="11382" y="16158"/>
                      </a:lnTo>
                      <a:lnTo>
                        <a:pt x="14364" y="16365"/>
                      </a:lnTo>
                      <a:lnTo>
                        <a:pt x="14428" y="16346"/>
                      </a:lnTo>
                      <a:lnTo>
                        <a:pt x="14524" y="16365"/>
                      </a:lnTo>
                      <a:lnTo>
                        <a:pt x="14653" y="16384"/>
                      </a:lnTo>
                      <a:lnTo>
                        <a:pt x="14749" y="16365"/>
                      </a:lnTo>
                      <a:lnTo>
                        <a:pt x="14845" y="16271"/>
                      </a:lnTo>
                      <a:lnTo>
                        <a:pt x="14973" y="16214"/>
                      </a:lnTo>
                      <a:lnTo>
                        <a:pt x="15005" y="16120"/>
                      </a:lnTo>
                      <a:lnTo>
                        <a:pt x="15005" y="16026"/>
                      </a:lnTo>
                      <a:lnTo>
                        <a:pt x="14909" y="15950"/>
                      </a:lnTo>
                      <a:lnTo>
                        <a:pt x="14685" y="15894"/>
                      </a:lnTo>
                      <a:lnTo>
                        <a:pt x="14588" y="15856"/>
                      </a:lnTo>
                      <a:lnTo>
                        <a:pt x="14621" y="15762"/>
                      </a:lnTo>
                      <a:lnTo>
                        <a:pt x="14685" y="15573"/>
                      </a:lnTo>
                      <a:lnTo>
                        <a:pt x="14621" y="15498"/>
                      </a:lnTo>
                      <a:lnTo>
                        <a:pt x="14685" y="15422"/>
                      </a:lnTo>
                      <a:lnTo>
                        <a:pt x="14717" y="15366"/>
                      </a:lnTo>
                      <a:lnTo>
                        <a:pt x="14781" y="15328"/>
                      </a:lnTo>
                      <a:lnTo>
                        <a:pt x="14909" y="15309"/>
                      </a:lnTo>
                      <a:lnTo>
                        <a:pt x="14941" y="15272"/>
                      </a:lnTo>
                      <a:lnTo>
                        <a:pt x="15005" y="15253"/>
                      </a:lnTo>
                      <a:lnTo>
                        <a:pt x="15005" y="15196"/>
                      </a:lnTo>
                      <a:lnTo>
                        <a:pt x="15101" y="15196"/>
                      </a:lnTo>
                      <a:lnTo>
                        <a:pt x="15166" y="15140"/>
                      </a:lnTo>
                      <a:lnTo>
                        <a:pt x="15230" y="15083"/>
                      </a:lnTo>
                      <a:lnTo>
                        <a:pt x="15230" y="14970"/>
                      </a:lnTo>
                      <a:lnTo>
                        <a:pt x="15294" y="14932"/>
                      </a:lnTo>
                      <a:lnTo>
                        <a:pt x="15294" y="14857"/>
                      </a:lnTo>
                      <a:lnTo>
                        <a:pt x="15358" y="14631"/>
                      </a:lnTo>
                      <a:lnTo>
                        <a:pt x="15422" y="14574"/>
                      </a:lnTo>
                      <a:lnTo>
                        <a:pt x="15582" y="14555"/>
                      </a:lnTo>
                      <a:lnTo>
                        <a:pt x="15550" y="14517"/>
                      </a:lnTo>
                      <a:lnTo>
                        <a:pt x="15614" y="14499"/>
                      </a:lnTo>
                      <a:lnTo>
                        <a:pt x="15679" y="14442"/>
                      </a:lnTo>
                      <a:lnTo>
                        <a:pt x="15743" y="14385"/>
                      </a:lnTo>
                      <a:lnTo>
                        <a:pt x="15967" y="14348"/>
                      </a:lnTo>
                      <a:lnTo>
                        <a:pt x="16160" y="14310"/>
                      </a:lnTo>
                      <a:lnTo>
                        <a:pt x="16256" y="14254"/>
                      </a:lnTo>
                      <a:lnTo>
                        <a:pt x="16384" y="14235"/>
                      </a:lnTo>
                      <a:lnTo>
                        <a:pt x="16384" y="14178"/>
                      </a:lnTo>
                      <a:lnTo>
                        <a:pt x="16352" y="14122"/>
                      </a:lnTo>
                      <a:lnTo>
                        <a:pt x="16127" y="13952"/>
                      </a:lnTo>
                      <a:lnTo>
                        <a:pt x="15999" y="13876"/>
                      </a:lnTo>
                      <a:lnTo>
                        <a:pt x="15999" y="13688"/>
                      </a:lnTo>
                      <a:lnTo>
                        <a:pt x="15967" y="13650"/>
                      </a:lnTo>
                      <a:lnTo>
                        <a:pt x="15935" y="13499"/>
                      </a:lnTo>
                      <a:lnTo>
                        <a:pt x="15743" y="13330"/>
                      </a:lnTo>
                      <a:lnTo>
                        <a:pt x="15807" y="13292"/>
                      </a:lnTo>
                      <a:lnTo>
                        <a:pt x="15839" y="13254"/>
                      </a:lnTo>
                      <a:lnTo>
                        <a:pt x="15775" y="13235"/>
                      </a:lnTo>
                      <a:lnTo>
                        <a:pt x="15711" y="13198"/>
                      </a:lnTo>
                      <a:lnTo>
                        <a:pt x="15679" y="13066"/>
                      </a:lnTo>
                      <a:lnTo>
                        <a:pt x="15711" y="12990"/>
                      </a:lnTo>
                      <a:lnTo>
                        <a:pt x="14011" y="11520"/>
                      </a:lnTo>
                      <a:lnTo>
                        <a:pt x="13659" y="11218"/>
                      </a:lnTo>
                      <a:lnTo>
                        <a:pt x="11639" y="9427"/>
                      </a:lnTo>
                      <a:lnTo>
                        <a:pt x="10581" y="8522"/>
                      </a:lnTo>
                      <a:lnTo>
                        <a:pt x="9715" y="7768"/>
                      </a:lnTo>
                      <a:lnTo>
                        <a:pt x="8625" y="6806"/>
                      </a:lnTo>
                      <a:lnTo>
                        <a:pt x="8336" y="6561"/>
                      </a:lnTo>
                      <a:lnTo>
                        <a:pt x="7984" y="6241"/>
                      </a:lnTo>
                      <a:lnTo>
                        <a:pt x="7535" y="5845"/>
                      </a:lnTo>
                      <a:lnTo>
                        <a:pt x="7342" y="5694"/>
                      </a:lnTo>
                      <a:lnTo>
                        <a:pt x="7374" y="5562"/>
                      </a:lnTo>
                      <a:close/>
                    </a:path>
                  </a:pathLst>
                </a:custGeom>
                <a:solidFill>
                  <a:srgbClr val="FF0000"/>
                </a:solidFill>
                <a:ln w="9525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defTabSz="121917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26" name="Colorado">
                  <a:extLst>
                    <a:ext uri="{FF2B5EF4-FFF2-40B4-BE49-F238E27FC236}">
                      <a16:creationId xmlns:a16="http://schemas.microsoft.com/office/drawing/2014/main" id="{70C4C03A-4E8B-AD62-77E1-651808BA85F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143875" y="7019925"/>
                  <a:ext cx="4333875" cy="3257550"/>
                </a:xfrm>
                <a:custGeom>
                  <a:avLst/>
                  <a:gdLst>
                    <a:gd name="T0" fmla="*/ 2147483647 w 16384"/>
                    <a:gd name="T1" fmla="*/ 2147483647 h 16384"/>
                    <a:gd name="T2" fmla="*/ 2147483647 w 16384"/>
                    <a:gd name="T3" fmla="*/ 2147483647 h 16384"/>
                    <a:gd name="T4" fmla="*/ 2147483647 w 16384"/>
                    <a:gd name="T5" fmla="*/ 2147483647 h 16384"/>
                    <a:gd name="T6" fmla="*/ 2147483647 w 16384"/>
                    <a:gd name="T7" fmla="*/ 2147483647 h 16384"/>
                    <a:gd name="T8" fmla="*/ 2147483647 w 16384"/>
                    <a:gd name="T9" fmla="*/ 2147483647 h 16384"/>
                    <a:gd name="T10" fmla="*/ 2147483647 w 16384"/>
                    <a:gd name="T11" fmla="*/ 2147483647 h 16384"/>
                    <a:gd name="T12" fmla="*/ 2147483647 w 16384"/>
                    <a:gd name="T13" fmla="*/ 2147483647 h 16384"/>
                    <a:gd name="T14" fmla="*/ 2147483647 w 16384"/>
                    <a:gd name="T15" fmla="*/ 2147483647 h 16384"/>
                    <a:gd name="T16" fmla="*/ 2147483647 w 16384"/>
                    <a:gd name="T17" fmla="*/ 2147483647 h 16384"/>
                    <a:gd name="T18" fmla="*/ 2147483647 w 16384"/>
                    <a:gd name="T19" fmla="*/ 2147483647 h 16384"/>
                    <a:gd name="T20" fmla="*/ 2147483647 w 16384"/>
                    <a:gd name="T21" fmla="*/ 2147483647 h 16384"/>
                    <a:gd name="T22" fmla="*/ 2147483647 w 16384"/>
                    <a:gd name="T23" fmla="*/ 2147483647 h 16384"/>
                    <a:gd name="T24" fmla="*/ 2147483647 w 16384"/>
                    <a:gd name="T25" fmla="*/ 2147483647 h 16384"/>
                    <a:gd name="T26" fmla="*/ 2147483647 w 16384"/>
                    <a:gd name="T27" fmla="*/ 2147483647 h 16384"/>
                    <a:gd name="T28" fmla="*/ 2147483647 w 16384"/>
                    <a:gd name="T29" fmla="*/ 2147483647 h 16384"/>
                    <a:gd name="T30" fmla="*/ 2147483647 w 16384"/>
                    <a:gd name="T31" fmla="*/ 2147483647 h 16384"/>
                    <a:gd name="T32" fmla="*/ 2147483647 w 16384"/>
                    <a:gd name="T33" fmla="*/ 2147483647 h 16384"/>
                    <a:gd name="T34" fmla="*/ 2147483647 w 16384"/>
                    <a:gd name="T35" fmla="*/ 2147483647 h 16384"/>
                    <a:gd name="T36" fmla="*/ 2147483647 w 16384"/>
                    <a:gd name="T37" fmla="*/ 2147483647 h 16384"/>
                    <a:gd name="T38" fmla="*/ 2147483647 w 16384"/>
                    <a:gd name="T39" fmla="*/ 2147483647 h 16384"/>
                    <a:gd name="T40" fmla="*/ 2147483647 w 16384"/>
                    <a:gd name="T41" fmla="*/ 2147483647 h 16384"/>
                    <a:gd name="T42" fmla="*/ 2147483647 w 16384"/>
                    <a:gd name="T43" fmla="*/ 2147483647 h 16384"/>
                    <a:gd name="T44" fmla="*/ 2147483647 w 16384"/>
                    <a:gd name="T45" fmla="*/ 2147483647 h 16384"/>
                    <a:gd name="T46" fmla="*/ 2147483647 w 16384"/>
                    <a:gd name="T47" fmla="*/ 0 h 16384"/>
                    <a:gd name="T48" fmla="*/ 2147483647 w 16384"/>
                    <a:gd name="T49" fmla="*/ 2147483647 h 16384"/>
                    <a:gd name="T50" fmla="*/ 2147483647 w 16384"/>
                    <a:gd name="T51" fmla="*/ 2147483647 h 16384"/>
                    <a:gd name="T52" fmla="*/ 2147483647 w 16384"/>
                    <a:gd name="T53" fmla="*/ 2147483647 h 16384"/>
                    <a:gd name="T54" fmla="*/ 2147483647 w 16384"/>
                    <a:gd name="T55" fmla="*/ 2147483647 h 16384"/>
                    <a:gd name="T56" fmla="*/ 0 w 16384"/>
                    <a:gd name="T57" fmla="*/ 2147483647 h 16384"/>
                    <a:gd name="T58" fmla="*/ 2147483647 w 16384"/>
                    <a:gd name="T59" fmla="*/ 2147483647 h 16384"/>
                    <a:gd name="T60" fmla="*/ 2147483647 w 16384"/>
                    <a:gd name="T61" fmla="*/ 2147483647 h 16384"/>
                    <a:gd name="T62" fmla="*/ 2147483647 w 16384"/>
                    <a:gd name="T63" fmla="*/ 2147483647 h 16384"/>
                    <a:gd name="T64" fmla="*/ 2147483647 w 16384"/>
                    <a:gd name="T65" fmla="*/ 2147483647 h 16384"/>
                    <a:gd name="T66" fmla="*/ 2147483647 w 16384"/>
                    <a:gd name="T67" fmla="*/ 2147483647 h 16384"/>
                    <a:gd name="T68" fmla="*/ 2147483647 w 16384"/>
                    <a:gd name="T69" fmla="*/ 2147483647 h 16384"/>
                    <a:gd name="T70" fmla="*/ 2147483647 w 16384"/>
                    <a:gd name="T71" fmla="*/ 2147483647 h 16384"/>
                    <a:gd name="T72" fmla="*/ 2147483647 w 16384"/>
                    <a:gd name="T73" fmla="*/ 2147483647 h 16384"/>
                    <a:gd name="T74" fmla="*/ 2147483647 w 16384"/>
                    <a:gd name="T75" fmla="*/ 2147483647 h 16384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w 16384"/>
                    <a:gd name="T115" fmla="*/ 0 h 16384"/>
                    <a:gd name="T116" fmla="*/ 16384 w 16384"/>
                    <a:gd name="T117" fmla="*/ 16384 h 16384"/>
                  </a:gdLst>
                  <a:ahLst/>
                  <a:cxnLst>
                    <a:cxn ang="T76">
                      <a:pos x="T0" y="T1"/>
                    </a:cxn>
                    <a:cxn ang="T77">
                      <a:pos x="T2" y="T3"/>
                    </a:cxn>
                    <a:cxn ang="T78">
                      <a:pos x="T4" y="T5"/>
                    </a:cxn>
                    <a:cxn ang="T79">
                      <a:pos x="T6" y="T7"/>
                    </a:cxn>
                    <a:cxn ang="T80">
                      <a:pos x="T8" y="T9"/>
                    </a:cxn>
                    <a:cxn ang="T81">
                      <a:pos x="T10" y="T11"/>
                    </a:cxn>
                    <a:cxn ang="T82">
                      <a:pos x="T12" y="T13"/>
                    </a:cxn>
                    <a:cxn ang="T83">
                      <a:pos x="T14" y="T15"/>
                    </a:cxn>
                    <a:cxn ang="T84">
                      <a:pos x="T16" y="T17"/>
                    </a:cxn>
                    <a:cxn ang="T85">
                      <a:pos x="T18" y="T19"/>
                    </a:cxn>
                    <a:cxn ang="T86">
                      <a:pos x="T20" y="T21"/>
                    </a:cxn>
                    <a:cxn ang="T87">
                      <a:pos x="T22" y="T23"/>
                    </a:cxn>
                    <a:cxn ang="T88">
                      <a:pos x="T24" y="T25"/>
                    </a:cxn>
                    <a:cxn ang="T89">
                      <a:pos x="T26" y="T27"/>
                    </a:cxn>
                    <a:cxn ang="T90">
                      <a:pos x="T28" y="T29"/>
                    </a:cxn>
                    <a:cxn ang="T91">
                      <a:pos x="T30" y="T31"/>
                    </a:cxn>
                    <a:cxn ang="T92">
                      <a:pos x="T32" y="T33"/>
                    </a:cxn>
                    <a:cxn ang="T93">
                      <a:pos x="T34" y="T35"/>
                    </a:cxn>
                    <a:cxn ang="T94">
                      <a:pos x="T36" y="T37"/>
                    </a:cxn>
                    <a:cxn ang="T95">
                      <a:pos x="T38" y="T39"/>
                    </a:cxn>
                    <a:cxn ang="T96">
                      <a:pos x="T40" y="T41"/>
                    </a:cxn>
                    <a:cxn ang="T97">
                      <a:pos x="T42" y="T43"/>
                    </a:cxn>
                    <a:cxn ang="T98">
                      <a:pos x="T44" y="T45"/>
                    </a:cxn>
                    <a:cxn ang="T99">
                      <a:pos x="T46" y="T47"/>
                    </a:cxn>
                    <a:cxn ang="T100">
                      <a:pos x="T48" y="T49"/>
                    </a:cxn>
                    <a:cxn ang="T101">
                      <a:pos x="T50" y="T51"/>
                    </a:cxn>
                    <a:cxn ang="T102">
                      <a:pos x="T52" y="T53"/>
                    </a:cxn>
                    <a:cxn ang="T103">
                      <a:pos x="T54" y="T55"/>
                    </a:cxn>
                    <a:cxn ang="T104">
                      <a:pos x="T56" y="T57"/>
                    </a:cxn>
                    <a:cxn ang="T105">
                      <a:pos x="T58" y="T59"/>
                    </a:cxn>
                    <a:cxn ang="T106">
                      <a:pos x="T60" y="T61"/>
                    </a:cxn>
                    <a:cxn ang="T107">
                      <a:pos x="T62" y="T63"/>
                    </a:cxn>
                    <a:cxn ang="T108">
                      <a:pos x="T64" y="T65"/>
                    </a:cxn>
                    <a:cxn ang="T109">
                      <a:pos x="T66" y="T67"/>
                    </a:cxn>
                    <a:cxn ang="T110">
                      <a:pos x="T68" y="T69"/>
                    </a:cxn>
                    <a:cxn ang="T111">
                      <a:pos x="T70" y="T71"/>
                    </a:cxn>
                    <a:cxn ang="T112">
                      <a:pos x="T72" y="T73"/>
                    </a:cxn>
                    <a:cxn ang="T113">
                      <a:pos x="T74" y="T75"/>
                    </a:cxn>
                  </a:cxnLst>
                  <a:rect l="T114" t="T115" r="T116" b="T117"/>
                  <a:pathLst>
                    <a:path w="16384" h="16384">
                      <a:moveTo>
                        <a:pt x="8510" y="15662"/>
                      </a:moveTo>
                      <a:lnTo>
                        <a:pt x="8792" y="15707"/>
                      </a:lnTo>
                      <a:lnTo>
                        <a:pt x="9498" y="15797"/>
                      </a:lnTo>
                      <a:lnTo>
                        <a:pt x="10381" y="15888"/>
                      </a:lnTo>
                      <a:lnTo>
                        <a:pt x="11017" y="15978"/>
                      </a:lnTo>
                      <a:lnTo>
                        <a:pt x="11229" y="15978"/>
                      </a:lnTo>
                      <a:lnTo>
                        <a:pt x="11546" y="16023"/>
                      </a:lnTo>
                      <a:lnTo>
                        <a:pt x="12076" y="16068"/>
                      </a:lnTo>
                      <a:lnTo>
                        <a:pt x="12641" y="16113"/>
                      </a:lnTo>
                      <a:lnTo>
                        <a:pt x="13135" y="16203"/>
                      </a:lnTo>
                      <a:lnTo>
                        <a:pt x="13347" y="16203"/>
                      </a:lnTo>
                      <a:lnTo>
                        <a:pt x="13489" y="16203"/>
                      </a:lnTo>
                      <a:lnTo>
                        <a:pt x="13771" y="16249"/>
                      </a:lnTo>
                      <a:lnTo>
                        <a:pt x="14089" y="16294"/>
                      </a:lnTo>
                      <a:lnTo>
                        <a:pt x="14654" y="16339"/>
                      </a:lnTo>
                      <a:lnTo>
                        <a:pt x="15148" y="16384"/>
                      </a:lnTo>
                      <a:lnTo>
                        <a:pt x="15501" y="16384"/>
                      </a:lnTo>
                      <a:lnTo>
                        <a:pt x="15642" y="16384"/>
                      </a:lnTo>
                      <a:lnTo>
                        <a:pt x="15713" y="14985"/>
                      </a:lnTo>
                      <a:lnTo>
                        <a:pt x="15784" y="14037"/>
                      </a:lnTo>
                      <a:lnTo>
                        <a:pt x="15784" y="13721"/>
                      </a:lnTo>
                      <a:lnTo>
                        <a:pt x="15890" y="11825"/>
                      </a:lnTo>
                      <a:lnTo>
                        <a:pt x="15960" y="10562"/>
                      </a:lnTo>
                      <a:lnTo>
                        <a:pt x="15960" y="10246"/>
                      </a:lnTo>
                      <a:lnTo>
                        <a:pt x="16031" y="8937"/>
                      </a:lnTo>
                      <a:lnTo>
                        <a:pt x="16031" y="8666"/>
                      </a:lnTo>
                      <a:lnTo>
                        <a:pt x="16137" y="7086"/>
                      </a:lnTo>
                      <a:lnTo>
                        <a:pt x="16102" y="7041"/>
                      </a:lnTo>
                      <a:lnTo>
                        <a:pt x="16207" y="5506"/>
                      </a:lnTo>
                      <a:lnTo>
                        <a:pt x="16243" y="4288"/>
                      </a:lnTo>
                      <a:lnTo>
                        <a:pt x="16278" y="3972"/>
                      </a:lnTo>
                      <a:lnTo>
                        <a:pt x="16313" y="3024"/>
                      </a:lnTo>
                      <a:lnTo>
                        <a:pt x="16313" y="2979"/>
                      </a:lnTo>
                      <a:lnTo>
                        <a:pt x="16313" y="2844"/>
                      </a:lnTo>
                      <a:lnTo>
                        <a:pt x="16384" y="1896"/>
                      </a:lnTo>
                      <a:lnTo>
                        <a:pt x="15183" y="1805"/>
                      </a:lnTo>
                      <a:lnTo>
                        <a:pt x="15113" y="1805"/>
                      </a:lnTo>
                      <a:lnTo>
                        <a:pt x="13594" y="1625"/>
                      </a:lnTo>
                      <a:lnTo>
                        <a:pt x="13171" y="1580"/>
                      </a:lnTo>
                      <a:lnTo>
                        <a:pt x="12111" y="1489"/>
                      </a:lnTo>
                      <a:lnTo>
                        <a:pt x="10240" y="1264"/>
                      </a:lnTo>
                      <a:lnTo>
                        <a:pt x="9534" y="1174"/>
                      </a:lnTo>
                      <a:lnTo>
                        <a:pt x="7592" y="903"/>
                      </a:lnTo>
                      <a:lnTo>
                        <a:pt x="7309" y="858"/>
                      </a:lnTo>
                      <a:lnTo>
                        <a:pt x="6179" y="677"/>
                      </a:lnTo>
                      <a:lnTo>
                        <a:pt x="5226" y="542"/>
                      </a:lnTo>
                      <a:lnTo>
                        <a:pt x="3955" y="316"/>
                      </a:lnTo>
                      <a:lnTo>
                        <a:pt x="1554" y="0"/>
                      </a:lnTo>
                      <a:lnTo>
                        <a:pt x="1412" y="1174"/>
                      </a:lnTo>
                      <a:lnTo>
                        <a:pt x="1236" y="2753"/>
                      </a:lnTo>
                      <a:lnTo>
                        <a:pt x="1024" y="4784"/>
                      </a:lnTo>
                      <a:lnTo>
                        <a:pt x="953" y="5326"/>
                      </a:lnTo>
                      <a:lnTo>
                        <a:pt x="883" y="5822"/>
                      </a:lnTo>
                      <a:lnTo>
                        <a:pt x="565" y="8892"/>
                      </a:lnTo>
                      <a:lnTo>
                        <a:pt x="424" y="10201"/>
                      </a:lnTo>
                      <a:lnTo>
                        <a:pt x="318" y="11193"/>
                      </a:lnTo>
                      <a:lnTo>
                        <a:pt x="247" y="12051"/>
                      </a:lnTo>
                      <a:lnTo>
                        <a:pt x="0" y="14308"/>
                      </a:lnTo>
                      <a:lnTo>
                        <a:pt x="282" y="14398"/>
                      </a:lnTo>
                      <a:lnTo>
                        <a:pt x="777" y="14488"/>
                      </a:lnTo>
                      <a:lnTo>
                        <a:pt x="1236" y="14533"/>
                      </a:lnTo>
                      <a:lnTo>
                        <a:pt x="1448" y="14579"/>
                      </a:lnTo>
                      <a:lnTo>
                        <a:pt x="1730" y="14624"/>
                      </a:lnTo>
                      <a:lnTo>
                        <a:pt x="2507" y="14759"/>
                      </a:lnTo>
                      <a:lnTo>
                        <a:pt x="3319" y="14895"/>
                      </a:lnTo>
                      <a:lnTo>
                        <a:pt x="3531" y="14940"/>
                      </a:lnTo>
                      <a:lnTo>
                        <a:pt x="3566" y="14940"/>
                      </a:lnTo>
                      <a:lnTo>
                        <a:pt x="3919" y="14985"/>
                      </a:lnTo>
                      <a:lnTo>
                        <a:pt x="4767" y="15120"/>
                      </a:lnTo>
                      <a:lnTo>
                        <a:pt x="5438" y="15256"/>
                      </a:lnTo>
                      <a:lnTo>
                        <a:pt x="5720" y="15301"/>
                      </a:lnTo>
                      <a:lnTo>
                        <a:pt x="6780" y="15436"/>
                      </a:lnTo>
                      <a:lnTo>
                        <a:pt x="7415" y="15526"/>
                      </a:lnTo>
                      <a:lnTo>
                        <a:pt x="7698" y="15572"/>
                      </a:lnTo>
                      <a:lnTo>
                        <a:pt x="8157" y="15662"/>
                      </a:lnTo>
                      <a:lnTo>
                        <a:pt x="8510" y="15662"/>
                      </a:lnTo>
                      <a:close/>
                    </a:path>
                  </a:pathLst>
                </a:custGeom>
                <a:solidFill>
                  <a:srgbClr val="FF0000"/>
                </a:solidFill>
                <a:ln w="9525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defTabSz="121917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27" name="Connecticut">
                  <a:extLst>
                    <a:ext uri="{FF2B5EF4-FFF2-40B4-BE49-F238E27FC236}">
                      <a16:creationId xmlns:a16="http://schemas.microsoft.com/office/drawing/2014/main" id="{CC32A058-FEAC-A712-D386-5B7A174E73C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8260675" y="5162550"/>
                  <a:ext cx="1028700" cy="952500"/>
                </a:xfrm>
                <a:custGeom>
                  <a:avLst/>
                  <a:gdLst>
                    <a:gd name="T0" fmla="*/ 2147483647 w 16384"/>
                    <a:gd name="T1" fmla="*/ 2147483647 h 16384"/>
                    <a:gd name="T2" fmla="*/ 2147483647 w 16384"/>
                    <a:gd name="T3" fmla="*/ 2147483647 h 16384"/>
                    <a:gd name="T4" fmla="*/ 2147483647 w 16384"/>
                    <a:gd name="T5" fmla="*/ 2147483647 h 16384"/>
                    <a:gd name="T6" fmla="*/ 2147483647 w 16384"/>
                    <a:gd name="T7" fmla="*/ 2147483647 h 16384"/>
                    <a:gd name="T8" fmla="*/ 2147483647 w 16384"/>
                    <a:gd name="T9" fmla="*/ 2147483647 h 16384"/>
                    <a:gd name="T10" fmla="*/ 2147483647 w 16384"/>
                    <a:gd name="T11" fmla="*/ 2147483647 h 16384"/>
                    <a:gd name="T12" fmla="*/ 2147483647 w 16384"/>
                    <a:gd name="T13" fmla="*/ 2147483647 h 16384"/>
                    <a:gd name="T14" fmla="*/ 2147483647 w 16384"/>
                    <a:gd name="T15" fmla="*/ 2147483647 h 16384"/>
                    <a:gd name="T16" fmla="*/ 2147483647 w 16384"/>
                    <a:gd name="T17" fmla="*/ 2147483647 h 16384"/>
                    <a:gd name="T18" fmla="*/ 2147483647 w 16384"/>
                    <a:gd name="T19" fmla="*/ 2147483647 h 16384"/>
                    <a:gd name="T20" fmla="*/ 2147483647 w 16384"/>
                    <a:gd name="T21" fmla="*/ 2147483647 h 16384"/>
                    <a:gd name="T22" fmla="*/ 2147483647 w 16384"/>
                    <a:gd name="T23" fmla="*/ 2147483647 h 16384"/>
                    <a:gd name="T24" fmla="*/ 2147483647 w 16384"/>
                    <a:gd name="T25" fmla="*/ 2147483647 h 16384"/>
                    <a:gd name="T26" fmla="*/ 2147483647 w 16384"/>
                    <a:gd name="T27" fmla="*/ 2147483647 h 16384"/>
                    <a:gd name="T28" fmla="*/ 2147483647 w 16384"/>
                    <a:gd name="T29" fmla="*/ 2147483647 h 16384"/>
                    <a:gd name="T30" fmla="*/ 2147483647 w 16384"/>
                    <a:gd name="T31" fmla="*/ 2147483647 h 16384"/>
                    <a:gd name="T32" fmla="*/ 2147483647 w 16384"/>
                    <a:gd name="T33" fmla="*/ 2147483647 h 16384"/>
                    <a:gd name="T34" fmla="*/ 2147483647 w 16384"/>
                    <a:gd name="T35" fmla="*/ 2147483647 h 16384"/>
                    <a:gd name="T36" fmla="*/ 0 w 16384"/>
                    <a:gd name="T37" fmla="*/ 2147483647 h 16384"/>
                    <a:gd name="T38" fmla="*/ 2147483647 w 16384"/>
                    <a:gd name="T39" fmla="*/ 2147483647 h 16384"/>
                    <a:gd name="T40" fmla="*/ 2147483647 w 16384"/>
                    <a:gd name="T41" fmla="*/ 2147483647 h 16384"/>
                    <a:gd name="T42" fmla="*/ 2147483647 w 16384"/>
                    <a:gd name="T43" fmla="*/ 2147483647 h 16384"/>
                    <a:gd name="T44" fmla="*/ 2147483647 w 16384"/>
                    <a:gd name="T45" fmla="*/ 2147483647 h 16384"/>
                    <a:gd name="T46" fmla="*/ 2147483647 w 16384"/>
                    <a:gd name="T47" fmla="*/ 2147483647 h 16384"/>
                    <a:gd name="T48" fmla="*/ 2147483647 w 16384"/>
                    <a:gd name="T49" fmla="*/ 2147483647 h 16384"/>
                    <a:gd name="T50" fmla="*/ 2147483647 w 16384"/>
                    <a:gd name="T51" fmla="*/ 2147483647 h 16384"/>
                    <a:gd name="T52" fmla="*/ 2147483647 w 16384"/>
                    <a:gd name="T53" fmla="*/ 2147483647 h 16384"/>
                    <a:gd name="T54" fmla="*/ 2147483647 w 16384"/>
                    <a:gd name="T55" fmla="*/ 2147483647 h 16384"/>
                    <a:gd name="T56" fmla="*/ 2147483647 w 16384"/>
                    <a:gd name="T57" fmla="*/ 2147483647 h 16384"/>
                    <a:gd name="T58" fmla="*/ 2147483647 w 16384"/>
                    <a:gd name="T59" fmla="*/ 2147483647 h 16384"/>
                    <a:gd name="T60" fmla="*/ 2147483647 w 16384"/>
                    <a:gd name="T61" fmla="*/ 2147483647 h 16384"/>
                    <a:gd name="T62" fmla="*/ 2147483647 w 16384"/>
                    <a:gd name="T63" fmla="*/ 2147483647 h 16384"/>
                    <a:gd name="T64" fmla="*/ 2147483647 w 16384"/>
                    <a:gd name="T65" fmla="*/ 2147483647 h 16384"/>
                    <a:gd name="T66" fmla="*/ 2147483647 w 16384"/>
                    <a:gd name="T67" fmla="*/ 2147483647 h 16384"/>
                    <a:gd name="T68" fmla="*/ 2147483647 w 16384"/>
                    <a:gd name="T69" fmla="*/ 2147483647 h 16384"/>
                    <a:gd name="T70" fmla="*/ 2147483647 w 16384"/>
                    <a:gd name="T71" fmla="*/ 2147483647 h 16384"/>
                    <a:gd name="T72" fmla="*/ 2147483647 w 16384"/>
                    <a:gd name="T73" fmla="*/ 2147483647 h 16384"/>
                    <a:gd name="T74" fmla="*/ 2147483647 w 16384"/>
                    <a:gd name="T75" fmla="*/ 2147483647 h 16384"/>
                    <a:gd name="T76" fmla="*/ 2147483647 w 16384"/>
                    <a:gd name="T77" fmla="*/ 2147483647 h 16384"/>
                    <a:gd name="T78" fmla="*/ 2147483647 w 16384"/>
                    <a:gd name="T79" fmla="*/ 2147483647 h 16384"/>
                    <a:gd name="T80" fmla="*/ 2147483647 w 16384"/>
                    <a:gd name="T81" fmla="*/ 2147483647 h 16384"/>
                    <a:gd name="T82" fmla="*/ 2147483647 w 16384"/>
                    <a:gd name="T83" fmla="*/ 2147483647 h 16384"/>
                    <a:gd name="T84" fmla="*/ 2147483647 w 16384"/>
                    <a:gd name="T85" fmla="*/ 2147483647 h 16384"/>
                    <a:gd name="T86" fmla="*/ 2147483647 w 16384"/>
                    <a:gd name="T87" fmla="*/ 2147483647 h 16384"/>
                    <a:gd name="T88" fmla="*/ 2147483647 w 16384"/>
                    <a:gd name="T89" fmla="*/ 2147483647 h 16384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w 16384"/>
                    <a:gd name="T136" fmla="*/ 0 h 16384"/>
                    <a:gd name="T137" fmla="*/ 16384 w 16384"/>
                    <a:gd name="T138" fmla="*/ 16384 h 16384"/>
                  </a:gdLst>
                  <a:ahLst/>
                  <a:cxnLst>
                    <a:cxn ang="T90">
                      <a:pos x="T0" y="T1"/>
                    </a:cxn>
                    <a:cxn ang="T91">
                      <a:pos x="T2" y="T3"/>
                    </a:cxn>
                    <a:cxn ang="T92">
                      <a:pos x="T4" y="T5"/>
                    </a:cxn>
                    <a:cxn ang="T93">
                      <a:pos x="T6" y="T7"/>
                    </a:cxn>
                    <a:cxn ang="T94">
                      <a:pos x="T8" y="T9"/>
                    </a:cxn>
                    <a:cxn ang="T95">
                      <a:pos x="T10" y="T11"/>
                    </a:cxn>
                    <a:cxn ang="T96">
                      <a:pos x="T12" y="T13"/>
                    </a:cxn>
                    <a:cxn ang="T97">
                      <a:pos x="T14" y="T15"/>
                    </a:cxn>
                    <a:cxn ang="T98">
                      <a:pos x="T16" y="T17"/>
                    </a:cxn>
                    <a:cxn ang="T99">
                      <a:pos x="T18" y="T19"/>
                    </a:cxn>
                    <a:cxn ang="T100">
                      <a:pos x="T20" y="T21"/>
                    </a:cxn>
                    <a:cxn ang="T101">
                      <a:pos x="T22" y="T23"/>
                    </a:cxn>
                    <a:cxn ang="T102">
                      <a:pos x="T24" y="T25"/>
                    </a:cxn>
                    <a:cxn ang="T103">
                      <a:pos x="T26" y="T27"/>
                    </a:cxn>
                    <a:cxn ang="T104">
                      <a:pos x="T28" y="T29"/>
                    </a:cxn>
                    <a:cxn ang="T105">
                      <a:pos x="T30" y="T31"/>
                    </a:cxn>
                    <a:cxn ang="T106">
                      <a:pos x="T32" y="T33"/>
                    </a:cxn>
                    <a:cxn ang="T107">
                      <a:pos x="T34" y="T35"/>
                    </a:cxn>
                    <a:cxn ang="T108">
                      <a:pos x="T36" y="T37"/>
                    </a:cxn>
                    <a:cxn ang="T109">
                      <a:pos x="T38" y="T39"/>
                    </a:cxn>
                    <a:cxn ang="T110">
                      <a:pos x="T40" y="T41"/>
                    </a:cxn>
                    <a:cxn ang="T111">
                      <a:pos x="T42" y="T43"/>
                    </a:cxn>
                    <a:cxn ang="T112">
                      <a:pos x="T44" y="T45"/>
                    </a:cxn>
                    <a:cxn ang="T113">
                      <a:pos x="T46" y="T47"/>
                    </a:cxn>
                    <a:cxn ang="T114">
                      <a:pos x="T48" y="T49"/>
                    </a:cxn>
                    <a:cxn ang="T115">
                      <a:pos x="T50" y="T51"/>
                    </a:cxn>
                    <a:cxn ang="T116">
                      <a:pos x="T52" y="T53"/>
                    </a:cxn>
                    <a:cxn ang="T117">
                      <a:pos x="T54" y="T55"/>
                    </a:cxn>
                    <a:cxn ang="T118">
                      <a:pos x="T56" y="T57"/>
                    </a:cxn>
                    <a:cxn ang="T119">
                      <a:pos x="T58" y="T59"/>
                    </a:cxn>
                    <a:cxn ang="T120">
                      <a:pos x="T60" y="T61"/>
                    </a:cxn>
                    <a:cxn ang="T121">
                      <a:pos x="T62" y="T63"/>
                    </a:cxn>
                    <a:cxn ang="T122">
                      <a:pos x="T64" y="T65"/>
                    </a:cxn>
                    <a:cxn ang="T123">
                      <a:pos x="T66" y="T67"/>
                    </a:cxn>
                    <a:cxn ang="T124">
                      <a:pos x="T68" y="T69"/>
                    </a:cxn>
                    <a:cxn ang="T125">
                      <a:pos x="T70" y="T71"/>
                    </a:cxn>
                    <a:cxn ang="T126">
                      <a:pos x="T72" y="T73"/>
                    </a:cxn>
                    <a:cxn ang="T127">
                      <a:pos x="T74" y="T75"/>
                    </a:cxn>
                    <a:cxn ang="T128">
                      <a:pos x="T76" y="T77"/>
                    </a:cxn>
                    <a:cxn ang="T129">
                      <a:pos x="T78" y="T79"/>
                    </a:cxn>
                    <a:cxn ang="T130">
                      <a:pos x="T80" y="T81"/>
                    </a:cxn>
                    <a:cxn ang="T131">
                      <a:pos x="T82" y="T83"/>
                    </a:cxn>
                    <a:cxn ang="T132">
                      <a:pos x="T84" y="T85"/>
                    </a:cxn>
                    <a:cxn ang="T133">
                      <a:pos x="T86" y="T87"/>
                    </a:cxn>
                    <a:cxn ang="T134">
                      <a:pos x="T88" y="T89"/>
                    </a:cxn>
                  </a:cxnLst>
                  <a:rect l="T135" t="T136" r="T137" b="T138"/>
                  <a:pathLst>
                    <a:path w="16384" h="16384">
                      <a:moveTo>
                        <a:pt x="11767" y="9738"/>
                      </a:moveTo>
                      <a:lnTo>
                        <a:pt x="12362" y="10201"/>
                      </a:lnTo>
                      <a:lnTo>
                        <a:pt x="12511" y="10201"/>
                      </a:lnTo>
                      <a:lnTo>
                        <a:pt x="12660" y="10047"/>
                      </a:lnTo>
                      <a:lnTo>
                        <a:pt x="12958" y="9738"/>
                      </a:lnTo>
                      <a:lnTo>
                        <a:pt x="13256" y="9738"/>
                      </a:lnTo>
                      <a:lnTo>
                        <a:pt x="13256" y="9429"/>
                      </a:lnTo>
                      <a:lnTo>
                        <a:pt x="13554" y="9429"/>
                      </a:lnTo>
                      <a:lnTo>
                        <a:pt x="13852" y="9583"/>
                      </a:lnTo>
                      <a:lnTo>
                        <a:pt x="14001" y="9429"/>
                      </a:lnTo>
                      <a:lnTo>
                        <a:pt x="14001" y="9274"/>
                      </a:lnTo>
                      <a:lnTo>
                        <a:pt x="14299" y="9119"/>
                      </a:lnTo>
                      <a:lnTo>
                        <a:pt x="14597" y="9274"/>
                      </a:lnTo>
                      <a:lnTo>
                        <a:pt x="15043" y="9119"/>
                      </a:lnTo>
                      <a:lnTo>
                        <a:pt x="15043" y="8810"/>
                      </a:lnTo>
                      <a:lnTo>
                        <a:pt x="16235" y="8347"/>
                      </a:lnTo>
                      <a:lnTo>
                        <a:pt x="16086" y="7728"/>
                      </a:lnTo>
                      <a:lnTo>
                        <a:pt x="16086" y="7574"/>
                      </a:lnTo>
                      <a:lnTo>
                        <a:pt x="16086" y="7419"/>
                      </a:lnTo>
                      <a:lnTo>
                        <a:pt x="16384" y="7265"/>
                      </a:lnTo>
                      <a:lnTo>
                        <a:pt x="16384" y="7110"/>
                      </a:lnTo>
                      <a:lnTo>
                        <a:pt x="16384" y="6801"/>
                      </a:lnTo>
                      <a:lnTo>
                        <a:pt x="15937" y="5101"/>
                      </a:lnTo>
                      <a:lnTo>
                        <a:pt x="15937" y="4637"/>
                      </a:lnTo>
                      <a:lnTo>
                        <a:pt x="15639" y="3555"/>
                      </a:lnTo>
                      <a:lnTo>
                        <a:pt x="14746" y="309"/>
                      </a:lnTo>
                      <a:lnTo>
                        <a:pt x="14597" y="0"/>
                      </a:lnTo>
                      <a:lnTo>
                        <a:pt x="12065" y="618"/>
                      </a:lnTo>
                      <a:lnTo>
                        <a:pt x="11767" y="773"/>
                      </a:lnTo>
                      <a:lnTo>
                        <a:pt x="8490" y="1546"/>
                      </a:lnTo>
                      <a:lnTo>
                        <a:pt x="8192" y="1700"/>
                      </a:lnTo>
                      <a:lnTo>
                        <a:pt x="6405" y="2009"/>
                      </a:lnTo>
                      <a:lnTo>
                        <a:pt x="6405" y="2473"/>
                      </a:lnTo>
                      <a:lnTo>
                        <a:pt x="5958" y="2628"/>
                      </a:lnTo>
                      <a:lnTo>
                        <a:pt x="5809" y="2164"/>
                      </a:lnTo>
                      <a:lnTo>
                        <a:pt x="4170" y="2628"/>
                      </a:lnTo>
                      <a:lnTo>
                        <a:pt x="3873" y="2628"/>
                      </a:lnTo>
                      <a:lnTo>
                        <a:pt x="0" y="3555"/>
                      </a:lnTo>
                      <a:lnTo>
                        <a:pt x="745" y="8037"/>
                      </a:lnTo>
                      <a:lnTo>
                        <a:pt x="1043" y="9892"/>
                      </a:lnTo>
                      <a:lnTo>
                        <a:pt x="1341" y="11902"/>
                      </a:lnTo>
                      <a:lnTo>
                        <a:pt x="1489" y="12674"/>
                      </a:lnTo>
                      <a:lnTo>
                        <a:pt x="2234" y="13447"/>
                      </a:lnTo>
                      <a:lnTo>
                        <a:pt x="1936" y="13911"/>
                      </a:lnTo>
                      <a:lnTo>
                        <a:pt x="596" y="15302"/>
                      </a:lnTo>
                      <a:lnTo>
                        <a:pt x="1341" y="16384"/>
                      </a:lnTo>
                      <a:lnTo>
                        <a:pt x="1638" y="16229"/>
                      </a:lnTo>
                      <a:lnTo>
                        <a:pt x="2234" y="16075"/>
                      </a:lnTo>
                      <a:lnTo>
                        <a:pt x="2532" y="15920"/>
                      </a:lnTo>
                      <a:lnTo>
                        <a:pt x="2681" y="15611"/>
                      </a:lnTo>
                      <a:lnTo>
                        <a:pt x="2830" y="15611"/>
                      </a:lnTo>
                      <a:lnTo>
                        <a:pt x="3128" y="15302"/>
                      </a:lnTo>
                      <a:lnTo>
                        <a:pt x="3277" y="14838"/>
                      </a:lnTo>
                      <a:lnTo>
                        <a:pt x="3277" y="14529"/>
                      </a:lnTo>
                      <a:lnTo>
                        <a:pt x="3426" y="14529"/>
                      </a:lnTo>
                      <a:lnTo>
                        <a:pt x="3724" y="14529"/>
                      </a:lnTo>
                      <a:lnTo>
                        <a:pt x="4319" y="14375"/>
                      </a:lnTo>
                      <a:lnTo>
                        <a:pt x="4617" y="14220"/>
                      </a:lnTo>
                      <a:lnTo>
                        <a:pt x="4766" y="13911"/>
                      </a:lnTo>
                      <a:lnTo>
                        <a:pt x="4915" y="13602"/>
                      </a:lnTo>
                      <a:lnTo>
                        <a:pt x="5213" y="13602"/>
                      </a:lnTo>
                      <a:lnTo>
                        <a:pt x="5511" y="13602"/>
                      </a:lnTo>
                      <a:lnTo>
                        <a:pt x="5660" y="13602"/>
                      </a:lnTo>
                      <a:lnTo>
                        <a:pt x="5809" y="13447"/>
                      </a:lnTo>
                      <a:lnTo>
                        <a:pt x="5809" y="13293"/>
                      </a:lnTo>
                      <a:lnTo>
                        <a:pt x="5809" y="13138"/>
                      </a:lnTo>
                      <a:lnTo>
                        <a:pt x="6107" y="12829"/>
                      </a:lnTo>
                      <a:lnTo>
                        <a:pt x="6405" y="12674"/>
                      </a:lnTo>
                      <a:lnTo>
                        <a:pt x="6703" y="12365"/>
                      </a:lnTo>
                      <a:lnTo>
                        <a:pt x="6703" y="11902"/>
                      </a:lnTo>
                      <a:lnTo>
                        <a:pt x="6851" y="11438"/>
                      </a:lnTo>
                      <a:lnTo>
                        <a:pt x="7149" y="11283"/>
                      </a:lnTo>
                      <a:lnTo>
                        <a:pt x="7447" y="11902"/>
                      </a:lnTo>
                      <a:lnTo>
                        <a:pt x="7596" y="11747"/>
                      </a:lnTo>
                      <a:lnTo>
                        <a:pt x="8043" y="11592"/>
                      </a:lnTo>
                      <a:lnTo>
                        <a:pt x="8341" y="11438"/>
                      </a:lnTo>
                      <a:lnTo>
                        <a:pt x="8788" y="11438"/>
                      </a:lnTo>
                      <a:lnTo>
                        <a:pt x="9086" y="11283"/>
                      </a:lnTo>
                      <a:lnTo>
                        <a:pt x="9235" y="11129"/>
                      </a:lnTo>
                      <a:lnTo>
                        <a:pt x="9533" y="10974"/>
                      </a:lnTo>
                      <a:lnTo>
                        <a:pt x="9681" y="10974"/>
                      </a:lnTo>
                      <a:lnTo>
                        <a:pt x="10128" y="10974"/>
                      </a:lnTo>
                      <a:lnTo>
                        <a:pt x="10575" y="10974"/>
                      </a:lnTo>
                      <a:lnTo>
                        <a:pt x="11022" y="10665"/>
                      </a:lnTo>
                      <a:lnTo>
                        <a:pt x="11171" y="10510"/>
                      </a:lnTo>
                      <a:lnTo>
                        <a:pt x="11618" y="10510"/>
                      </a:lnTo>
                      <a:lnTo>
                        <a:pt x="11767" y="10510"/>
                      </a:lnTo>
                      <a:lnTo>
                        <a:pt x="11767" y="10356"/>
                      </a:lnTo>
                      <a:lnTo>
                        <a:pt x="11767" y="10047"/>
                      </a:lnTo>
                      <a:lnTo>
                        <a:pt x="11767" y="9892"/>
                      </a:lnTo>
                      <a:lnTo>
                        <a:pt x="11767" y="9738"/>
                      </a:lnTo>
                      <a:close/>
                    </a:path>
                  </a:pathLst>
                </a:custGeom>
                <a:solidFill>
                  <a:srgbClr val="FFFF00"/>
                </a:solidFill>
                <a:ln w="9525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defTabSz="121917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28" name="Delaware">
                  <a:extLst>
                    <a:ext uri="{FF2B5EF4-FFF2-40B4-BE49-F238E27FC236}">
                      <a16:creationId xmlns:a16="http://schemas.microsoft.com/office/drawing/2014/main" id="{2CB6B9F8-DFC6-7882-CCA4-97098BA83FD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7374850" y="7153275"/>
                  <a:ext cx="628650" cy="1000125"/>
                </a:xfrm>
                <a:custGeom>
                  <a:avLst/>
                  <a:gdLst>
                    <a:gd name="T0" fmla="*/ 2147483647 w 16384"/>
                    <a:gd name="T1" fmla="*/ 2147483647 h 16384"/>
                    <a:gd name="T2" fmla="*/ 2147483647 w 16384"/>
                    <a:gd name="T3" fmla="*/ 2147483647 h 16384"/>
                    <a:gd name="T4" fmla="*/ 2147483647 w 16384"/>
                    <a:gd name="T5" fmla="*/ 2147483647 h 16384"/>
                    <a:gd name="T6" fmla="*/ 2147483647 w 16384"/>
                    <a:gd name="T7" fmla="*/ 2147483647 h 16384"/>
                    <a:gd name="T8" fmla="*/ 2147483647 w 16384"/>
                    <a:gd name="T9" fmla="*/ 2147483647 h 16384"/>
                    <a:gd name="T10" fmla="*/ 2147483647 w 16384"/>
                    <a:gd name="T11" fmla="*/ 2147483647 h 16384"/>
                    <a:gd name="T12" fmla="*/ 2147483647 w 16384"/>
                    <a:gd name="T13" fmla="*/ 2147483647 h 16384"/>
                    <a:gd name="T14" fmla="*/ 2147483647 w 16384"/>
                    <a:gd name="T15" fmla="*/ 2147483647 h 16384"/>
                    <a:gd name="T16" fmla="*/ 2147483647 w 16384"/>
                    <a:gd name="T17" fmla="*/ 2147483647 h 16384"/>
                    <a:gd name="T18" fmla="*/ 2147483647 w 16384"/>
                    <a:gd name="T19" fmla="*/ 2147483647 h 16384"/>
                    <a:gd name="T20" fmla="*/ 2147483647 w 16384"/>
                    <a:gd name="T21" fmla="*/ 0 h 16384"/>
                    <a:gd name="T22" fmla="*/ 2147483647 w 16384"/>
                    <a:gd name="T23" fmla="*/ 2147483647 h 16384"/>
                    <a:gd name="T24" fmla="*/ 2147483647 w 16384"/>
                    <a:gd name="T25" fmla="*/ 2147483647 h 16384"/>
                    <a:gd name="T26" fmla="*/ 2147483647 w 16384"/>
                    <a:gd name="T27" fmla="*/ 2147483647 h 16384"/>
                    <a:gd name="T28" fmla="*/ 2147483647 w 16384"/>
                    <a:gd name="T29" fmla="*/ 2147483647 h 16384"/>
                    <a:gd name="T30" fmla="*/ 2147483647 w 16384"/>
                    <a:gd name="T31" fmla="*/ 2147483647 h 16384"/>
                    <a:gd name="T32" fmla="*/ 2147483647 w 16384"/>
                    <a:gd name="T33" fmla="*/ 2147483647 h 16384"/>
                    <a:gd name="T34" fmla="*/ 2147483647 w 16384"/>
                    <a:gd name="T35" fmla="*/ 2147483647 h 16384"/>
                    <a:gd name="T36" fmla="*/ 2147483647 w 16384"/>
                    <a:gd name="T37" fmla="*/ 2147483647 h 16384"/>
                    <a:gd name="T38" fmla="*/ 2147483647 w 16384"/>
                    <a:gd name="T39" fmla="*/ 2147483647 h 16384"/>
                    <a:gd name="T40" fmla="*/ 2147483647 w 16384"/>
                    <a:gd name="T41" fmla="*/ 2147483647 h 16384"/>
                    <a:gd name="T42" fmla="*/ 2147483647 w 16384"/>
                    <a:gd name="T43" fmla="*/ 2147483647 h 16384"/>
                    <a:gd name="T44" fmla="*/ 2147483647 w 16384"/>
                    <a:gd name="T45" fmla="*/ 2147483647 h 16384"/>
                    <a:gd name="T46" fmla="*/ 2147483647 w 16384"/>
                    <a:gd name="T47" fmla="*/ 2147483647 h 16384"/>
                    <a:gd name="T48" fmla="*/ 2147483647 w 16384"/>
                    <a:gd name="T49" fmla="*/ 2147483647 h 16384"/>
                    <a:gd name="T50" fmla="*/ 2147483647 w 16384"/>
                    <a:gd name="T51" fmla="*/ 2147483647 h 16384"/>
                    <a:gd name="T52" fmla="*/ 2147483647 w 16384"/>
                    <a:gd name="T53" fmla="*/ 2147483647 h 16384"/>
                    <a:gd name="T54" fmla="*/ 2147483647 w 16384"/>
                    <a:gd name="T55" fmla="*/ 2147483647 h 16384"/>
                    <a:gd name="T56" fmla="*/ 2147483647 w 16384"/>
                    <a:gd name="T57" fmla="*/ 2147483647 h 16384"/>
                    <a:gd name="T58" fmla="*/ 2147483647 w 16384"/>
                    <a:gd name="T59" fmla="*/ 2147483647 h 16384"/>
                    <a:gd name="T60" fmla="*/ 2147483647 w 16384"/>
                    <a:gd name="T61" fmla="*/ 2147483647 h 16384"/>
                    <a:gd name="T62" fmla="*/ 2147483647 w 16384"/>
                    <a:gd name="T63" fmla="*/ 2147483647 h 16384"/>
                    <a:gd name="T64" fmla="*/ 2147483647 w 16384"/>
                    <a:gd name="T65" fmla="*/ 2147483647 h 16384"/>
                    <a:gd name="T66" fmla="*/ 2147483647 w 16384"/>
                    <a:gd name="T67" fmla="*/ 2147483647 h 16384"/>
                    <a:gd name="T68" fmla="*/ 2147483647 w 16384"/>
                    <a:gd name="T69" fmla="*/ 2147483647 h 16384"/>
                    <a:gd name="T70" fmla="*/ 2147483647 w 16384"/>
                    <a:gd name="T71" fmla="*/ 2147483647 h 16384"/>
                    <a:gd name="T72" fmla="*/ 2147483647 w 16384"/>
                    <a:gd name="T73" fmla="*/ 2147483647 h 16384"/>
                    <a:gd name="T74" fmla="*/ 2147483647 w 16384"/>
                    <a:gd name="T75" fmla="*/ 2147483647 h 16384"/>
                    <a:gd name="T76" fmla="*/ 2147483647 w 16384"/>
                    <a:gd name="T77" fmla="*/ 2147483647 h 16384"/>
                    <a:gd name="T78" fmla="*/ 2147483647 w 16384"/>
                    <a:gd name="T79" fmla="*/ 2147483647 h 16384"/>
                    <a:gd name="T80" fmla="*/ 2147483647 w 16384"/>
                    <a:gd name="T81" fmla="*/ 2147483647 h 16384"/>
                    <a:gd name="T82" fmla="*/ 2147483647 w 16384"/>
                    <a:gd name="T83" fmla="*/ 2147483647 h 16384"/>
                    <a:gd name="T84" fmla="*/ 2147483647 w 16384"/>
                    <a:gd name="T85" fmla="*/ 2147483647 h 16384"/>
                    <a:gd name="T86" fmla="*/ 2147483647 w 16384"/>
                    <a:gd name="T87" fmla="*/ 2147483647 h 16384"/>
                    <a:gd name="T88" fmla="*/ 2147483647 w 16384"/>
                    <a:gd name="T89" fmla="*/ 2147483647 h 16384"/>
                    <a:gd name="T90" fmla="*/ 2147483647 w 16384"/>
                    <a:gd name="T91" fmla="*/ 2147483647 h 16384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w 16384"/>
                    <a:gd name="T139" fmla="*/ 0 h 16384"/>
                    <a:gd name="T140" fmla="*/ 16384 w 16384"/>
                    <a:gd name="T141" fmla="*/ 16384 h 16384"/>
                  </a:gdLst>
                  <a:ahLst/>
                  <a:cxnLst>
                    <a:cxn ang="T92">
                      <a:pos x="T0" y="T1"/>
                    </a:cxn>
                    <a:cxn ang="T93">
                      <a:pos x="T2" y="T3"/>
                    </a:cxn>
                    <a:cxn ang="T94">
                      <a:pos x="T4" y="T5"/>
                    </a:cxn>
                    <a:cxn ang="T95">
                      <a:pos x="T6" y="T7"/>
                    </a:cxn>
                    <a:cxn ang="T96">
                      <a:pos x="T8" y="T9"/>
                    </a:cxn>
                    <a:cxn ang="T97">
                      <a:pos x="T10" y="T11"/>
                    </a:cxn>
                    <a:cxn ang="T98">
                      <a:pos x="T12" y="T13"/>
                    </a:cxn>
                    <a:cxn ang="T99">
                      <a:pos x="T14" y="T15"/>
                    </a:cxn>
                    <a:cxn ang="T100">
                      <a:pos x="T16" y="T17"/>
                    </a:cxn>
                    <a:cxn ang="T101">
                      <a:pos x="T18" y="T19"/>
                    </a:cxn>
                    <a:cxn ang="T102">
                      <a:pos x="T20" y="T21"/>
                    </a:cxn>
                    <a:cxn ang="T103">
                      <a:pos x="T22" y="T23"/>
                    </a:cxn>
                    <a:cxn ang="T104">
                      <a:pos x="T24" y="T25"/>
                    </a:cxn>
                    <a:cxn ang="T105">
                      <a:pos x="T26" y="T27"/>
                    </a:cxn>
                    <a:cxn ang="T106">
                      <a:pos x="T28" y="T29"/>
                    </a:cxn>
                    <a:cxn ang="T107">
                      <a:pos x="T30" y="T31"/>
                    </a:cxn>
                    <a:cxn ang="T108">
                      <a:pos x="T32" y="T33"/>
                    </a:cxn>
                    <a:cxn ang="T109">
                      <a:pos x="T34" y="T35"/>
                    </a:cxn>
                    <a:cxn ang="T110">
                      <a:pos x="T36" y="T37"/>
                    </a:cxn>
                    <a:cxn ang="T111">
                      <a:pos x="T38" y="T39"/>
                    </a:cxn>
                    <a:cxn ang="T112">
                      <a:pos x="T40" y="T41"/>
                    </a:cxn>
                    <a:cxn ang="T113">
                      <a:pos x="T42" y="T43"/>
                    </a:cxn>
                    <a:cxn ang="T114">
                      <a:pos x="T44" y="T45"/>
                    </a:cxn>
                    <a:cxn ang="T115">
                      <a:pos x="T46" y="T47"/>
                    </a:cxn>
                    <a:cxn ang="T116">
                      <a:pos x="T48" y="T49"/>
                    </a:cxn>
                    <a:cxn ang="T117">
                      <a:pos x="T50" y="T51"/>
                    </a:cxn>
                    <a:cxn ang="T118">
                      <a:pos x="T52" y="T53"/>
                    </a:cxn>
                    <a:cxn ang="T119">
                      <a:pos x="T54" y="T55"/>
                    </a:cxn>
                    <a:cxn ang="T120">
                      <a:pos x="T56" y="T57"/>
                    </a:cxn>
                    <a:cxn ang="T121">
                      <a:pos x="T58" y="T59"/>
                    </a:cxn>
                    <a:cxn ang="T122">
                      <a:pos x="T60" y="T61"/>
                    </a:cxn>
                    <a:cxn ang="T123">
                      <a:pos x="T62" y="T63"/>
                    </a:cxn>
                    <a:cxn ang="T124">
                      <a:pos x="T64" y="T65"/>
                    </a:cxn>
                    <a:cxn ang="T125">
                      <a:pos x="T66" y="T67"/>
                    </a:cxn>
                    <a:cxn ang="T126">
                      <a:pos x="T68" y="T69"/>
                    </a:cxn>
                    <a:cxn ang="T127">
                      <a:pos x="T70" y="T71"/>
                    </a:cxn>
                    <a:cxn ang="T128">
                      <a:pos x="T72" y="T73"/>
                    </a:cxn>
                    <a:cxn ang="T129">
                      <a:pos x="T74" y="T75"/>
                    </a:cxn>
                    <a:cxn ang="T130">
                      <a:pos x="T76" y="T77"/>
                    </a:cxn>
                    <a:cxn ang="T131">
                      <a:pos x="T78" y="T79"/>
                    </a:cxn>
                    <a:cxn ang="T132">
                      <a:pos x="T80" y="T81"/>
                    </a:cxn>
                    <a:cxn ang="T133">
                      <a:pos x="T82" y="T83"/>
                    </a:cxn>
                    <a:cxn ang="T134">
                      <a:pos x="T84" y="T85"/>
                    </a:cxn>
                    <a:cxn ang="T135">
                      <a:pos x="T86" y="T87"/>
                    </a:cxn>
                    <a:cxn ang="T136">
                      <a:pos x="T88" y="T89"/>
                    </a:cxn>
                    <a:cxn ang="T137">
                      <a:pos x="T90" y="T91"/>
                    </a:cxn>
                  </a:cxnLst>
                  <a:rect l="T138" t="T139" r="T140" b="T141"/>
                  <a:pathLst>
                    <a:path w="16384" h="16384">
                      <a:moveTo>
                        <a:pt x="5624" y="5609"/>
                      </a:moveTo>
                      <a:lnTo>
                        <a:pt x="5380" y="5314"/>
                      </a:lnTo>
                      <a:lnTo>
                        <a:pt x="4891" y="5019"/>
                      </a:lnTo>
                      <a:lnTo>
                        <a:pt x="4402" y="4871"/>
                      </a:lnTo>
                      <a:lnTo>
                        <a:pt x="4157" y="4576"/>
                      </a:lnTo>
                      <a:lnTo>
                        <a:pt x="3913" y="4428"/>
                      </a:lnTo>
                      <a:lnTo>
                        <a:pt x="4157" y="3985"/>
                      </a:lnTo>
                      <a:lnTo>
                        <a:pt x="4157" y="3690"/>
                      </a:lnTo>
                      <a:lnTo>
                        <a:pt x="3913" y="3542"/>
                      </a:lnTo>
                      <a:lnTo>
                        <a:pt x="3668" y="3395"/>
                      </a:lnTo>
                      <a:lnTo>
                        <a:pt x="3424" y="3100"/>
                      </a:lnTo>
                      <a:lnTo>
                        <a:pt x="3424" y="2657"/>
                      </a:lnTo>
                      <a:lnTo>
                        <a:pt x="3668" y="2362"/>
                      </a:lnTo>
                      <a:lnTo>
                        <a:pt x="3913" y="2066"/>
                      </a:lnTo>
                      <a:lnTo>
                        <a:pt x="4402" y="2066"/>
                      </a:lnTo>
                      <a:lnTo>
                        <a:pt x="4157" y="1919"/>
                      </a:lnTo>
                      <a:lnTo>
                        <a:pt x="5135" y="590"/>
                      </a:lnTo>
                      <a:lnTo>
                        <a:pt x="5135" y="295"/>
                      </a:lnTo>
                      <a:lnTo>
                        <a:pt x="5380" y="295"/>
                      </a:lnTo>
                      <a:lnTo>
                        <a:pt x="4891" y="148"/>
                      </a:lnTo>
                      <a:lnTo>
                        <a:pt x="4157" y="0"/>
                      </a:lnTo>
                      <a:lnTo>
                        <a:pt x="3668" y="0"/>
                      </a:lnTo>
                      <a:lnTo>
                        <a:pt x="2934" y="148"/>
                      </a:lnTo>
                      <a:lnTo>
                        <a:pt x="2201" y="295"/>
                      </a:lnTo>
                      <a:lnTo>
                        <a:pt x="1956" y="443"/>
                      </a:lnTo>
                      <a:lnTo>
                        <a:pt x="1467" y="738"/>
                      </a:lnTo>
                      <a:lnTo>
                        <a:pt x="978" y="1033"/>
                      </a:lnTo>
                      <a:lnTo>
                        <a:pt x="734" y="1181"/>
                      </a:lnTo>
                      <a:lnTo>
                        <a:pt x="734" y="1476"/>
                      </a:lnTo>
                      <a:lnTo>
                        <a:pt x="489" y="1771"/>
                      </a:lnTo>
                      <a:lnTo>
                        <a:pt x="0" y="1919"/>
                      </a:lnTo>
                      <a:lnTo>
                        <a:pt x="1956" y="6052"/>
                      </a:lnTo>
                      <a:lnTo>
                        <a:pt x="2201" y="6937"/>
                      </a:lnTo>
                      <a:lnTo>
                        <a:pt x="2445" y="7528"/>
                      </a:lnTo>
                      <a:lnTo>
                        <a:pt x="3179" y="8709"/>
                      </a:lnTo>
                      <a:lnTo>
                        <a:pt x="4646" y="12251"/>
                      </a:lnTo>
                      <a:lnTo>
                        <a:pt x="5624" y="14318"/>
                      </a:lnTo>
                      <a:lnTo>
                        <a:pt x="6113" y="15351"/>
                      </a:lnTo>
                      <a:lnTo>
                        <a:pt x="6847" y="16384"/>
                      </a:lnTo>
                      <a:lnTo>
                        <a:pt x="11982" y="15794"/>
                      </a:lnTo>
                      <a:lnTo>
                        <a:pt x="16384" y="15203"/>
                      </a:lnTo>
                      <a:lnTo>
                        <a:pt x="16139" y="14613"/>
                      </a:lnTo>
                      <a:lnTo>
                        <a:pt x="15650" y="14022"/>
                      </a:lnTo>
                      <a:lnTo>
                        <a:pt x="15406" y="14022"/>
                      </a:lnTo>
                      <a:lnTo>
                        <a:pt x="15161" y="14170"/>
                      </a:lnTo>
                      <a:lnTo>
                        <a:pt x="14917" y="14022"/>
                      </a:lnTo>
                      <a:lnTo>
                        <a:pt x="14672" y="14022"/>
                      </a:lnTo>
                      <a:lnTo>
                        <a:pt x="14428" y="14022"/>
                      </a:lnTo>
                      <a:lnTo>
                        <a:pt x="14183" y="14170"/>
                      </a:lnTo>
                      <a:lnTo>
                        <a:pt x="13939" y="14318"/>
                      </a:lnTo>
                      <a:lnTo>
                        <a:pt x="13694" y="14170"/>
                      </a:lnTo>
                      <a:lnTo>
                        <a:pt x="13450" y="14170"/>
                      </a:lnTo>
                      <a:lnTo>
                        <a:pt x="13205" y="13875"/>
                      </a:lnTo>
                      <a:lnTo>
                        <a:pt x="13694" y="13875"/>
                      </a:lnTo>
                      <a:lnTo>
                        <a:pt x="14183" y="13875"/>
                      </a:lnTo>
                      <a:lnTo>
                        <a:pt x="14428" y="13727"/>
                      </a:lnTo>
                      <a:lnTo>
                        <a:pt x="14672" y="13580"/>
                      </a:lnTo>
                      <a:lnTo>
                        <a:pt x="14672" y="13432"/>
                      </a:lnTo>
                      <a:lnTo>
                        <a:pt x="14428" y="13284"/>
                      </a:lnTo>
                      <a:lnTo>
                        <a:pt x="13939" y="13137"/>
                      </a:lnTo>
                      <a:lnTo>
                        <a:pt x="14183" y="12989"/>
                      </a:lnTo>
                      <a:lnTo>
                        <a:pt x="14428" y="12842"/>
                      </a:lnTo>
                      <a:lnTo>
                        <a:pt x="14428" y="12694"/>
                      </a:lnTo>
                      <a:lnTo>
                        <a:pt x="14917" y="12842"/>
                      </a:lnTo>
                      <a:lnTo>
                        <a:pt x="15161" y="13137"/>
                      </a:lnTo>
                      <a:lnTo>
                        <a:pt x="15406" y="13137"/>
                      </a:lnTo>
                      <a:lnTo>
                        <a:pt x="15650" y="12989"/>
                      </a:lnTo>
                      <a:lnTo>
                        <a:pt x="15406" y="12842"/>
                      </a:lnTo>
                      <a:lnTo>
                        <a:pt x="15161" y="12546"/>
                      </a:lnTo>
                      <a:lnTo>
                        <a:pt x="14672" y="11661"/>
                      </a:lnTo>
                      <a:lnTo>
                        <a:pt x="14428" y="11513"/>
                      </a:lnTo>
                      <a:lnTo>
                        <a:pt x="13939" y="11661"/>
                      </a:lnTo>
                      <a:lnTo>
                        <a:pt x="13450" y="11513"/>
                      </a:lnTo>
                      <a:lnTo>
                        <a:pt x="12960" y="11513"/>
                      </a:lnTo>
                      <a:lnTo>
                        <a:pt x="12471" y="11365"/>
                      </a:lnTo>
                      <a:lnTo>
                        <a:pt x="11982" y="10923"/>
                      </a:lnTo>
                      <a:lnTo>
                        <a:pt x="11249" y="10775"/>
                      </a:lnTo>
                      <a:lnTo>
                        <a:pt x="10760" y="10627"/>
                      </a:lnTo>
                      <a:lnTo>
                        <a:pt x="10515" y="10480"/>
                      </a:lnTo>
                      <a:lnTo>
                        <a:pt x="10515" y="10037"/>
                      </a:lnTo>
                      <a:lnTo>
                        <a:pt x="10271" y="9742"/>
                      </a:lnTo>
                      <a:lnTo>
                        <a:pt x="10026" y="9447"/>
                      </a:lnTo>
                      <a:lnTo>
                        <a:pt x="9292" y="9004"/>
                      </a:lnTo>
                      <a:lnTo>
                        <a:pt x="8803" y="8709"/>
                      </a:lnTo>
                      <a:lnTo>
                        <a:pt x="8559" y="8413"/>
                      </a:lnTo>
                      <a:lnTo>
                        <a:pt x="8314" y="7823"/>
                      </a:lnTo>
                      <a:lnTo>
                        <a:pt x="8314" y="7380"/>
                      </a:lnTo>
                      <a:lnTo>
                        <a:pt x="8070" y="6937"/>
                      </a:lnTo>
                      <a:lnTo>
                        <a:pt x="7581" y="6495"/>
                      </a:lnTo>
                      <a:lnTo>
                        <a:pt x="7092" y="6199"/>
                      </a:lnTo>
                      <a:lnTo>
                        <a:pt x="6847" y="6052"/>
                      </a:lnTo>
                      <a:lnTo>
                        <a:pt x="6113" y="5757"/>
                      </a:lnTo>
                      <a:lnTo>
                        <a:pt x="5624" y="5609"/>
                      </a:lnTo>
                      <a:close/>
                    </a:path>
                  </a:pathLst>
                </a:custGeom>
                <a:solidFill>
                  <a:srgbClr val="FF0000"/>
                </a:solidFill>
                <a:ln w="9525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defTabSz="121917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29" name="Florida">
                  <a:extLst>
                    <a:ext uri="{FF2B5EF4-FFF2-40B4-BE49-F238E27FC236}">
                      <a16:creationId xmlns:a16="http://schemas.microsoft.com/office/drawing/2014/main" id="{3F8C2CDC-80EA-0164-03D7-D9A6EA7656C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1240750" y="14192250"/>
                  <a:ext cx="5410200" cy="3933825"/>
                </a:xfrm>
                <a:custGeom>
                  <a:avLst/>
                  <a:gdLst>
                    <a:gd name="T0" fmla="*/ 2147483647 w 16384"/>
                    <a:gd name="T1" fmla="*/ 2147483647 h 16384"/>
                    <a:gd name="T2" fmla="*/ 2147483647 w 16384"/>
                    <a:gd name="T3" fmla="*/ 2147483647 h 16384"/>
                    <a:gd name="T4" fmla="*/ 2147483647 w 16384"/>
                    <a:gd name="T5" fmla="*/ 2147483647 h 16384"/>
                    <a:gd name="T6" fmla="*/ 2147483647 w 16384"/>
                    <a:gd name="T7" fmla="*/ 2147483647 h 16384"/>
                    <a:gd name="T8" fmla="*/ 2147483647 w 16384"/>
                    <a:gd name="T9" fmla="*/ 2147483647 h 16384"/>
                    <a:gd name="T10" fmla="*/ 2147483647 w 16384"/>
                    <a:gd name="T11" fmla="*/ 2147483647 h 16384"/>
                    <a:gd name="T12" fmla="*/ 2147483647 w 16384"/>
                    <a:gd name="T13" fmla="*/ 2147483647 h 16384"/>
                    <a:gd name="T14" fmla="*/ 2147483647 w 16384"/>
                    <a:gd name="T15" fmla="*/ 2147483647 h 16384"/>
                    <a:gd name="T16" fmla="*/ 2147483647 w 16384"/>
                    <a:gd name="T17" fmla="*/ 2147483647 h 16384"/>
                    <a:gd name="T18" fmla="*/ 2147483647 w 16384"/>
                    <a:gd name="T19" fmla="*/ 2147483647 h 16384"/>
                    <a:gd name="T20" fmla="*/ 2147483647 w 16384"/>
                    <a:gd name="T21" fmla="*/ 2147483647 h 16384"/>
                    <a:gd name="T22" fmla="*/ 2147483647 w 16384"/>
                    <a:gd name="T23" fmla="*/ 2147483647 h 16384"/>
                    <a:gd name="T24" fmla="*/ 2147483647 w 16384"/>
                    <a:gd name="T25" fmla="*/ 2147483647 h 16384"/>
                    <a:gd name="T26" fmla="*/ 2147483647 w 16384"/>
                    <a:gd name="T27" fmla="*/ 2147483647 h 16384"/>
                    <a:gd name="T28" fmla="*/ 2147483647 w 16384"/>
                    <a:gd name="T29" fmla="*/ 2147483647 h 16384"/>
                    <a:gd name="T30" fmla="*/ 2147483647 w 16384"/>
                    <a:gd name="T31" fmla="*/ 2147483647 h 16384"/>
                    <a:gd name="T32" fmla="*/ 2147483647 w 16384"/>
                    <a:gd name="T33" fmla="*/ 2147483647 h 16384"/>
                    <a:gd name="T34" fmla="*/ 2147483647 w 16384"/>
                    <a:gd name="T35" fmla="*/ 2147483647 h 16384"/>
                    <a:gd name="T36" fmla="*/ 2147483647 w 16384"/>
                    <a:gd name="T37" fmla="*/ 2147483647 h 16384"/>
                    <a:gd name="T38" fmla="*/ 2147483647 w 16384"/>
                    <a:gd name="T39" fmla="*/ 2147483647 h 16384"/>
                    <a:gd name="T40" fmla="*/ 2147483647 w 16384"/>
                    <a:gd name="T41" fmla="*/ 2147483647 h 16384"/>
                    <a:gd name="T42" fmla="*/ 2147483647 w 16384"/>
                    <a:gd name="T43" fmla="*/ 2147483647 h 16384"/>
                    <a:gd name="T44" fmla="*/ 2147483647 w 16384"/>
                    <a:gd name="T45" fmla="*/ 2147483647 h 16384"/>
                    <a:gd name="T46" fmla="*/ 2147483647 w 16384"/>
                    <a:gd name="T47" fmla="*/ 2147483647 h 16384"/>
                    <a:gd name="T48" fmla="*/ 2147483647 w 16384"/>
                    <a:gd name="T49" fmla="*/ 2147483647 h 16384"/>
                    <a:gd name="T50" fmla="*/ 2147483647 w 16384"/>
                    <a:gd name="T51" fmla="*/ 2147483647 h 16384"/>
                    <a:gd name="T52" fmla="*/ 2147483647 w 16384"/>
                    <a:gd name="T53" fmla="*/ 2147483647 h 16384"/>
                    <a:gd name="T54" fmla="*/ 2147483647 w 16384"/>
                    <a:gd name="T55" fmla="*/ 2147483647 h 16384"/>
                    <a:gd name="T56" fmla="*/ 2147483647 w 16384"/>
                    <a:gd name="T57" fmla="*/ 2147483647 h 16384"/>
                    <a:gd name="T58" fmla="*/ 2147483647 w 16384"/>
                    <a:gd name="T59" fmla="*/ 2147483647 h 16384"/>
                    <a:gd name="T60" fmla="*/ 2147483647 w 16384"/>
                    <a:gd name="T61" fmla="*/ 2147483647 h 16384"/>
                    <a:gd name="T62" fmla="*/ 2147483647 w 16384"/>
                    <a:gd name="T63" fmla="*/ 2147483647 h 16384"/>
                    <a:gd name="T64" fmla="*/ 2147483647 w 16384"/>
                    <a:gd name="T65" fmla="*/ 2147483647 h 16384"/>
                    <a:gd name="T66" fmla="*/ 2147483647 w 16384"/>
                    <a:gd name="T67" fmla="*/ 2147483647 h 16384"/>
                    <a:gd name="T68" fmla="*/ 2147483647 w 16384"/>
                    <a:gd name="T69" fmla="*/ 2147483647 h 16384"/>
                    <a:gd name="T70" fmla="*/ 2147483647 w 16384"/>
                    <a:gd name="T71" fmla="*/ 2147483647 h 16384"/>
                    <a:gd name="T72" fmla="*/ 2147483647 w 16384"/>
                    <a:gd name="T73" fmla="*/ 2147483647 h 16384"/>
                    <a:gd name="T74" fmla="*/ 2147483647 w 16384"/>
                    <a:gd name="T75" fmla="*/ 2147483647 h 16384"/>
                    <a:gd name="T76" fmla="*/ 2147483647 w 16384"/>
                    <a:gd name="T77" fmla="*/ 2147483647 h 16384"/>
                    <a:gd name="T78" fmla="*/ 2147483647 w 16384"/>
                    <a:gd name="T79" fmla="*/ 2147483647 h 16384"/>
                    <a:gd name="T80" fmla="*/ 2147483647 w 16384"/>
                    <a:gd name="T81" fmla="*/ 2147483647 h 16384"/>
                    <a:gd name="T82" fmla="*/ 2147483647 w 16384"/>
                    <a:gd name="T83" fmla="*/ 2147483647 h 16384"/>
                    <a:gd name="T84" fmla="*/ 2147483647 w 16384"/>
                    <a:gd name="T85" fmla="*/ 2147483647 h 16384"/>
                    <a:gd name="T86" fmla="*/ 2147483647 w 16384"/>
                    <a:gd name="T87" fmla="*/ 2147483647 h 16384"/>
                    <a:gd name="T88" fmla="*/ 2147483647 w 16384"/>
                    <a:gd name="T89" fmla="*/ 2147483647 h 16384"/>
                    <a:gd name="T90" fmla="*/ 2147483647 w 16384"/>
                    <a:gd name="T91" fmla="*/ 2147483647 h 16384"/>
                    <a:gd name="T92" fmla="*/ 2147483647 w 16384"/>
                    <a:gd name="T93" fmla="*/ 2147483647 h 16384"/>
                    <a:gd name="T94" fmla="*/ 2147483647 w 16384"/>
                    <a:gd name="T95" fmla="*/ 2147483647 h 16384"/>
                    <a:gd name="T96" fmla="*/ 2147483647 w 16384"/>
                    <a:gd name="T97" fmla="*/ 2147483647 h 16384"/>
                    <a:gd name="T98" fmla="*/ 2147483647 w 16384"/>
                    <a:gd name="T99" fmla="*/ 2147483647 h 16384"/>
                    <a:gd name="T100" fmla="*/ 2147483647 w 16384"/>
                    <a:gd name="T101" fmla="*/ 2147483647 h 16384"/>
                    <a:gd name="T102" fmla="*/ 2147483647 w 16384"/>
                    <a:gd name="T103" fmla="*/ 2147483647 h 16384"/>
                    <a:gd name="T104" fmla="*/ 2147483647 w 16384"/>
                    <a:gd name="T105" fmla="*/ 2147483647 h 16384"/>
                    <a:gd name="T106" fmla="*/ 2147483647 w 16384"/>
                    <a:gd name="T107" fmla="*/ 2147483647 h 16384"/>
                    <a:gd name="T108" fmla="*/ 2147483647 w 16384"/>
                    <a:gd name="T109" fmla="*/ 2147483647 h 16384"/>
                    <a:gd name="T110" fmla="*/ 2147483647 w 16384"/>
                    <a:gd name="T111" fmla="*/ 2147483647 h 16384"/>
                    <a:gd name="T112" fmla="*/ 2147483647 w 16384"/>
                    <a:gd name="T113" fmla="*/ 2147483647 h 16384"/>
                    <a:gd name="T114" fmla="*/ 2147483647 w 16384"/>
                    <a:gd name="T115" fmla="*/ 2147483647 h 16384"/>
                    <a:gd name="T116" fmla="*/ 2147483647 w 16384"/>
                    <a:gd name="T117" fmla="*/ 2147483647 h 16384"/>
                    <a:gd name="T118" fmla="*/ 2147483647 w 16384"/>
                    <a:gd name="T119" fmla="*/ 2147483647 h 16384"/>
                    <a:gd name="T120" fmla="*/ 2147483647 w 16384"/>
                    <a:gd name="T121" fmla="*/ 2147483647 h 16384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60000 65536"/>
                    <a:gd name="T178" fmla="*/ 0 60000 65536"/>
                    <a:gd name="T179" fmla="*/ 0 60000 65536"/>
                    <a:gd name="T180" fmla="*/ 0 60000 65536"/>
                    <a:gd name="T181" fmla="*/ 0 60000 65536"/>
                    <a:gd name="T182" fmla="*/ 0 60000 65536"/>
                    <a:gd name="T183" fmla="*/ 0 w 16384"/>
                    <a:gd name="T184" fmla="*/ 0 h 16384"/>
                    <a:gd name="T185" fmla="*/ 16384 w 16384"/>
                    <a:gd name="T186" fmla="*/ 16384 h 16384"/>
                  </a:gdLst>
                  <a:ahLst/>
                  <a:cxnLst>
                    <a:cxn ang="T122">
                      <a:pos x="T0" y="T1"/>
                    </a:cxn>
                    <a:cxn ang="T123">
                      <a:pos x="T2" y="T3"/>
                    </a:cxn>
                    <a:cxn ang="T124">
                      <a:pos x="T4" y="T5"/>
                    </a:cxn>
                    <a:cxn ang="T125">
                      <a:pos x="T6" y="T7"/>
                    </a:cxn>
                    <a:cxn ang="T126">
                      <a:pos x="T8" y="T9"/>
                    </a:cxn>
                    <a:cxn ang="T127">
                      <a:pos x="T10" y="T11"/>
                    </a:cxn>
                    <a:cxn ang="T128">
                      <a:pos x="T12" y="T13"/>
                    </a:cxn>
                    <a:cxn ang="T129">
                      <a:pos x="T14" y="T15"/>
                    </a:cxn>
                    <a:cxn ang="T130">
                      <a:pos x="T16" y="T17"/>
                    </a:cxn>
                    <a:cxn ang="T131">
                      <a:pos x="T18" y="T19"/>
                    </a:cxn>
                    <a:cxn ang="T132">
                      <a:pos x="T20" y="T21"/>
                    </a:cxn>
                    <a:cxn ang="T133">
                      <a:pos x="T22" y="T23"/>
                    </a:cxn>
                    <a:cxn ang="T134">
                      <a:pos x="T24" y="T25"/>
                    </a:cxn>
                    <a:cxn ang="T135">
                      <a:pos x="T26" y="T27"/>
                    </a:cxn>
                    <a:cxn ang="T136">
                      <a:pos x="T28" y="T29"/>
                    </a:cxn>
                    <a:cxn ang="T137">
                      <a:pos x="T30" y="T31"/>
                    </a:cxn>
                    <a:cxn ang="T138">
                      <a:pos x="T32" y="T33"/>
                    </a:cxn>
                    <a:cxn ang="T139">
                      <a:pos x="T34" y="T35"/>
                    </a:cxn>
                    <a:cxn ang="T140">
                      <a:pos x="T36" y="T37"/>
                    </a:cxn>
                    <a:cxn ang="T141">
                      <a:pos x="T38" y="T39"/>
                    </a:cxn>
                    <a:cxn ang="T142">
                      <a:pos x="T40" y="T41"/>
                    </a:cxn>
                    <a:cxn ang="T143">
                      <a:pos x="T42" y="T43"/>
                    </a:cxn>
                    <a:cxn ang="T144">
                      <a:pos x="T44" y="T45"/>
                    </a:cxn>
                    <a:cxn ang="T145">
                      <a:pos x="T46" y="T47"/>
                    </a:cxn>
                    <a:cxn ang="T146">
                      <a:pos x="T48" y="T49"/>
                    </a:cxn>
                    <a:cxn ang="T147">
                      <a:pos x="T50" y="T51"/>
                    </a:cxn>
                    <a:cxn ang="T148">
                      <a:pos x="T52" y="T53"/>
                    </a:cxn>
                    <a:cxn ang="T149">
                      <a:pos x="T54" y="T55"/>
                    </a:cxn>
                    <a:cxn ang="T150">
                      <a:pos x="T56" y="T57"/>
                    </a:cxn>
                    <a:cxn ang="T151">
                      <a:pos x="T58" y="T59"/>
                    </a:cxn>
                    <a:cxn ang="T152">
                      <a:pos x="T60" y="T61"/>
                    </a:cxn>
                    <a:cxn ang="T153">
                      <a:pos x="T62" y="T63"/>
                    </a:cxn>
                    <a:cxn ang="T154">
                      <a:pos x="T64" y="T65"/>
                    </a:cxn>
                    <a:cxn ang="T155">
                      <a:pos x="T66" y="T67"/>
                    </a:cxn>
                    <a:cxn ang="T156">
                      <a:pos x="T68" y="T69"/>
                    </a:cxn>
                    <a:cxn ang="T157">
                      <a:pos x="T70" y="T71"/>
                    </a:cxn>
                    <a:cxn ang="T158">
                      <a:pos x="T72" y="T73"/>
                    </a:cxn>
                    <a:cxn ang="T159">
                      <a:pos x="T74" y="T75"/>
                    </a:cxn>
                    <a:cxn ang="T160">
                      <a:pos x="T76" y="T77"/>
                    </a:cxn>
                    <a:cxn ang="T161">
                      <a:pos x="T78" y="T79"/>
                    </a:cxn>
                    <a:cxn ang="T162">
                      <a:pos x="T80" y="T81"/>
                    </a:cxn>
                    <a:cxn ang="T163">
                      <a:pos x="T82" y="T83"/>
                    </a:cxn>
                    <a:cxn ang="T164">
                      <a:pos x="T84" y="T85"/>
                    </a:cxn>
                    <a:cxn ang="T165">
                      <a:pos x="T86" y="T87"/>
                    </a:cxn>
                    <a:cxn ang="T166">
                      <a:pos x="T88" y="T89"/>
                    </a:cxn>
                    <a:cxn ang="T167">
                      <a:pos x="T90" y="T91"/>
                    </a:cxn>
                    <a:cxn ang="T168">
                      <a:pos x="T92" y="T93"/>
                    </a:cxn>
                    <a:cxn ang="T169">
                      <a:pos x="T94" y="T95"/>
                    </a:cxn>
                    <a:cxn ang="T170">
                      <a:pos x="T96" y="T97"/>
                    </a:cxn>
                    <a:cxn ang="T171">
                      <a:pos x="T98" y="T99"/>
                    </a:cxn>
                    <a:cxn ang="T172">
                      <a:pos x="T100" y="T101"/>
                    </a:cxn>
                    <a:cxn ang="T173">
                      <a:pos x="T102" y="T103"/>
                    </a:cxn>
                    <a:cxn ang="T174">
                      <a:pos x="T104" y="T105"/>
                    </a:cxn>
                    <a:cxn ang="T175">
                      <a:pos x="T106" y="T107"/>
                    </a:cxn>
                    <a:cxn ang="T176">
                      <a:pos x="T108" y="T109"/>
                    </a:cxn>
                    <a:cxn ang="T177">
                      <a:pos x="T110" y="T111"/>
                    </a:cxn>
                    <a:cxn ang="T178">
                      <a:pos x="T112" y="T113"/>
                    </a:cxn>
                    <a:cxn ang="T179">
                      <a:pos x="T114" y="T115"/>
                    </a:cxn>
                    <a:cxn ang="T180">
                      <a:pos x="T116" y="T117"/>
                    </a:cxn>
                    <a:cxn ang="T181">
                      <a:pos x="T118" y="T119"/>
                    </a:cxn>
                    <a:cxn ang="T182">
                      <a:pos x="T120" y="T121"/>
                    </a:cxn>
                  </a:cxnLst>
                  <a:rect l="T183" t="T184" r="T185" b="T186"/>
                  <a:pathLst>
                    <a:path w="16384" h="16384">
                      <a:moveTo>
                        <a:pt x="7119" y="2911"/>
                      </a:moveTo>
                      <a:lnTo>
                        <a:pt x="7203" y="2874"/>
                      </a:lnTo>
                      <a:lnTo>
                        <a:pt x="7288" y="2874"/>
                      </a:lnTo>
                      <a:lnTo>
                        <a:pt x="7373" y="2948"/>
                      </a:lnTo>
                      <a:lnTo>
                        <a:pt x="7627" y="3172"/>
                      </a:lnTo>
                      <a:lnTo>
                        <a:pt x="7655" y="3172"/>
                      </a:lnTo>
                      <a:lnTo>
                        <a:pt x="7740" y="3172"/>
                      </a:lnTo>
                      <a:lnTo>
                        <a:pt x="7797" y="3247"/>
                      </a:lnTo>
                      <a:lnTo>
                        <a:pt x="7910" y="3284"/>
                      </a:lnTo>
                      <a:lnTo>
                        <a:pt x="7994" y="3396"/>
                      </a:lnTo>
                      <a:lnTo>
                        <a:pt x="8079" y="3471"/>
                      </a:lnTo>
                      <a:lnTo>
                        <a:pt x="8136" y="3508"/>
                      </a:lnTo>
                      <a:lnTo>
                        <a:pt x="8164" y="3546"/>
                      </a:lnTo>
                      <a:lnTo>
                        <a:pt x="8164" y="3583"/>
                      </a:lnTo>
                      <a:lnTo>
                        <a:pt x="8136" y="3620"/>
                      </a:lnTo>
                      <a:lnTo>
                        <a:pt x="8136" y="3695"/>
                      </a:lnTo>
                      <a:lnTo>
                        <a:pt x="8164" y="3732"/>
                      </a:lnTo>
                      <a:lnTo>
                        <a:pt x="8192" y="3732"/>
                      </a:lnTo>
                      <a:lnTo>
                        <a:pt x="8248" y="3844"/>
                      </a:lnTo>
                      <a:lnTo>
                        <a:pt x="8305" y="3844"/>
                      </a:lnTo>
                      <a:lnTo>
                        <a:pt x="8333" y="3844"/>
                      </a:lnTo>
                      <a:lnTo>
                        <a:pt x="8361" y="3844"/>
                      </a:lnTo>
                      <a:lnTo>
                        <a:pt x="8390" y="3919"/>
                      </a:lnTo>
                      <a:lnTo>
                        <a:pt x="8446" y="3956"/>
                      </a:lnTo>
                      <a:lnTo>
                        <a:pt x="8531" y="3956"/>
                      </a:lnTo>
                      <a:lnTo>
                        <a:pt x="8559" y="4105"/>
                      </a:lnTo>
                      <a:lnTo>
                        <a:pt x="8587" y="4180"/>
                      </a:lnTo>
                      <a:lnTo>
                        <a:pt x="8587" y="4255"/>
                      </a:lnTo>
                      <a:lnTo>
                        <a:pt x="8587" y="4367"/>
                      </a:lnTo>
                      <a:lnTo>
                        <a:pt x="8644" y="4404"/>
                      </a:lnTo>
                      <a:lnTo>
                        <a:pt x="8672" y="4441"/>
                      </a:lnTo>
                      <a:lnTo>
                        <a:pt x="8700" y="4441"/>
                      </a:lnTo>
                      <a:lnTo>
                        <a:pt x="8729" y="4479"/>
                      </a:lnTo>
                      <a:lnTo>
                        <a:pt x="8785" y="4516"/>
                      </a:lnTo>
                      <a:lnTo>
                        <a:pt x="8785" y="4591"/>
                      </a:lnTo>
                      <a:lnTo>
                        <a:pt x="8842" y="4628"/>
                      </a:lnTo>
                      <a:lnTo>
                        <a:pt x="8870" y="4591"/>
                      </a:lnTo>
                      <a:lnTo>
                        <a:pt x="8898" y="4591"/>
                      </a:lnTo>
                      <a:lnTo>
                        <a:pt x="8926" y="4591"/>
                      </a:lnTo>
                      <a:lnTo>
                        <a:pt x="8955" y="4591"/>
                      </a:lnTo>
                      <a:lnTo>
                        <a:pt x="9011" y="4628"/>
                      </a:lnTo>
                      <a:lnTo>
                        <a:pt x="9068" y="4702"/>
                      </a:lnTo>
                      <a:lnTo>
                        <a:pt x="9124" y="4814"/>
                      </a:lnTo>
                      <a:lnTo>
                        <a:pt x="9124" y="4889"/>
                      </a:lnTo>
                      <a:lnTo>
                        <a:pt x="9152" y="4964"/>
                      </a:lnTo>
                      <a:lnTo>
                        <a:pt x="9181" y="4964"/>
                      </a:lnTo>
                      <a:lnTo>
                        <a:pt x="9209" y="4964"/>
                      </a:lnTo>
                      <a:lnTo>
                        <a:pt x="9294" y="5001"/>
                      </a:lnTo>
                      <a:lnTo>
                        <a:pt x="9322" y="5038"/>
                      </a:lnTo>
                      <a:lnTo>
                        <a:pt x="9322" y="5113"/>
                      </a:lnTo>
                      <a:lnTo>
                        <a:pt x="9322" y="5188"/>
                      </a:lnTo>
                      <a:lnTo>
                        <a:pt x="9350" y="5225"/>
                      </a:lnTo>
                      <a:lnTo>
                        <a:pt x="9407" y="5225"/>
                      </a:lnTo>
                      <a:lnTo>
                        <a:pt x="9463" y="5262"/>
                      </a:lnTo>
                      <a:lnTo>
                        <a:pt x="9520" y="5262"/>
                      </a:lnTo>
                      <a:lnTo>
                        <a:pt x="9717" y="5262"/>
                      </a:lnTo>
                      <a:lnTo>
                        <a:pt x="9802" y="5262"/>
                      </a:lnTo>
                      <a:lnTo>
                        <a:pt x="9859" y="5225"/>
                      </a:lnTo>
                      <a:lnTo>
                        <a:pt x="9887" y="5300"/>
                      </a:lnTo>
                      <a:lnTo>
                        <a:pt x="9887" y="5337"/>
                      </a:lnTo>
                      <a:lnTo>
                        <a:pt x="9887" y="5374"/>
                      </a:lnTo>
                      <a:lnTo>
                        <a:pt x="9887" y="5449"/>
                      </a:lnTo>
                      <a:lnTo>
                        <a:pt x="9943" y="5486"/>
                      </a:lnTo>
                      <a:lnTo>
                        <a:pt x="10000" y="5486"/>
                      </a:lnTo>
                      <a:lnTo>
                        <a:pt x="10028" y="5486"/>
                      </a:lnTo>
                      <a:lnTo>
                        <a:pt x="10028" y="5524"/>
                      </a:lnTo>
                      <a:lnTo>
                        <a:pt x="10028" y="5561"/>
                      </a:lnTo>
                      <a:lnTo>
                        <a:pt x="10028" y="5635"/>
                      </a:lnTo>
                      <a:lnTo>
                        <a:pt x="10085" y="5673"/>
                      </a:lnTo>
                      <a:lnTo>
                        <a:pt x="10085" y="5710"/>
                      </a:lnTo>
                      <a:lnTo>
                        <a:pt x="10113" y="5785"/>
                      </a:lnTo>
                      <a:lnTo>
                        <a:pt x="10113" y="5822"/>
                      </a:lnTo>
                      <a:lnTo>
                        <a:pt x="10169" y="5859"/>
                      </a:lnTo>
                      <a:lnTo>
                        <a:pt x="10254" y="5934"/>
                      </a:lnTo>
                      <a:lnTo>
                        <a:pt x="10311" y="5971"/>
                      </a:lnTo>
                      <a:lnTo>
                        <a:pt x="10339" y="6009"/>
                      </a:lnTo>
                      <a:lnTo>
                        <a:pt x="10311" y="6046"/>
                      </a:lnTo>
                      <a:lnTo>
                        <a:pt x="10311" y="6083"/>
                      </a:lnTo>
                      <a:lnTo>
                        <a:pt x="10282" y="6083"/>
                      </a:lnTo>
                      <a:lnTo>
                        <a:pt x="10226" y="6083"/>
                      </a:lnTo>
                      <a:lnTo>
                        <a:pt x="10198" y="6083"/>
                      </a:lnTo>
                      <a:lnTo>
                        <a:pt x="10198" y="6121"/>
                      </a:lnTo>
                      <a:lnTo>
                        <a:pt x="10198" y="6158"/>
                      </a:lnTo>
                      <a:lnTo>
                        <a:pt x="10198" y="6233"/>
                      </a:lnTo>
                      <a:lnTo>
                        <a:pt x="10226" y="6233"/>
                      </a:lnTo>
                      <a:lnTo>
                        <a:pt x="10282" y="6270"/>
                      </a:lnTo>
                      <a:lnTo>
                        <a:pt x="10311" y="6270"/>
                      </a:lnTo>
                      <a:lnTo>
                        <a:pt x="10311" y="6307"/>
                      </a:lnTo>
                      <a:lnTo>
                        <a:pt x="10311" y="6345"/>
                      </a:lnTo>
                      <a:lnTo>
                        <a:pt x="10311" y="6382"/>
                      </a:lnTo>
                      <a:lnTo>
                        <a:pt x="10311" y="6457"/>
                      </a:lnTo>
                      <a:lnTo>
                        <a:pt x="10339" y="6494"/>
                      </a:lnTo>
                      <a:lnTo>
                        <a:pt x="10367" y="6569"/>
                      </a:lnTo>
                      <a:lnTo>
                        <a:pt x="10339" y="6643"/>
                      </a:lnTo>
                      <a:lnTo>
                        <a:pt x="10311" y="6680"/>
                      </a:lnTo>
                      <a:lnTo>
                        <a:pt x="10311" y="6755"/>
                      </a:lnTo>
                      <a:lnTo>
                        <a:pt x="10311" y="6830"/>
                      </a:lnTo>
                      <a:lnTo>
                        <a:pt x="10339" y="6904"/>
                      </a:lnTo>
                      <a:lnTo>
                        <a:pt x="10367" y="7016"/>
                      </a:lnTo>
                      <a:lnTo>
                        <a:pt x="10367" y="7054"/>
                      </a:lnTo>
                      <a:lnTo>
                        <a:pt x="10339" y="7128"/>
                      </a:lnTo>
                      <a:lnTo>
                        <a:pt x="10311" y="7240"/>
                      </a:lnTo>
                      <a:lnTo>
                        <a:pt x="10339" y="7278"/>
                      </a:lnTo>
                      <a:lnTo>
                        <a:pt x="10339" y="7352"/>
                      </a:lnTo>
                      <a:lnTo>
                        <a:pt x="10311" y="7390"/>
                      </a:lnTo>
                      <a:lnTo>
                        <a:pt x="10311" y="7502"/>
                      </a:lnTo>
                      <a:lnTo>
                        <a:pt x="10282" y="7539"/>
                      </a:lnTo>
                      <a:lnTo>
                        <a:pt x="10282" y="7651"/>
                      </a:lnTo>
                      <a:lnTo>
                        <a:pt x="10282" y="7763"/>
                      </a:lnTo>
                      <a:lnTo>
                        <a:pt x="10282" y="7837"/>
                      </a:lnTo>
                      <a:lnTo>
                        <a:pt x="10282" y="7875"/>
                      </a:lnTo>
                      <a:lnTo>
                        <a:pt x="10226" y="8024"/>
                      </a:lnTo>
                      <a:lnTo>
                        <a:pt x="10198" y="8136"/>
                      </a:lnTo>
                      <a:lnTo>
                        <a:pt x="10198" y="8173"/>
                      </a:lnTo>
                      <a:lnTo>
                        <a:pt x="10226" y="8285"/>
                      </a:lnTo>
                      <a:lnTo>
                        <a:pt x="10254" y="8397"/>
                      </a:lnTo>
                      <a:lnTo>
                        <a:pt x="10254" y="8509"/>
                      </a:lnTo>
                      <a:lnTo>
                        <a:pt x="10226" y="8621"/>
                      </a:lnTo>
                      <a:lnTo>
                        <a:pt x="10198" y="8808"/>
                      </a:lnTo>
                      <a:lnTo>
                        <a:pt x="10169" y="8920"/>
                      </a:lnTo>
                      <a:lnTo>
                        <a:pt x="10169" y="8994"/>
                      </a:lnTo>
                      <a:lnTo>
                        <a:pt x="10198" y="9069"/>
                      </a:lnTo>
                      <a:lnTo>
                        <a:pt x="10254" y="9144"/>
                      </a:lnTo>
                      <a:lnTo>
                        <a:pt x="10254" y="9181"/>
                      </a:lnTo>
                      <a:lnTo>
                        <a:pt x="10282" y="9181"/>
                      </a:lnTo>
                      <a:lnTo>
                        <a:pt x="10282" y="9106"/>
                      </a:lnTo>
                      <a:lnTo>
                        <a:pt x="10311" y="9106"/>
                      </a:lnTo>
                      <a:lnTo>
                        <a:pt x="10339" y="9106"/>
                      </a:lnTo>
                      <a:lnTo>
                        <a:pt x="10367" y="9144"/>
                      </a:lnTo>
                      <a:lnTo>
                        <a:pt x="10395" y="9330"/>
                      </a:lnTo>
                      <a:lnTo>
                        <a:pt x="10452" y="9368"/>
                      </a:lnTo>
                      <a:lnTo>
                        <a:pt x="10480" y="9368"/>
                      </a:lnTo>
                      <a:lnTo>
                        <a:pt x="10508" y="9405"/>
                      </a:lnTo>
                      <a:lnTo>
                        <a:pt x="10537" y="9442"/>
                      </a:lnTo>
                      <a:lnTo>
                        <a:pt x="10565" y="9442"/>
                      </a:lnTo>
                      <a:lnTo>
                        <a:pt x="10593" y="9442"/>
                      </a:lnTo>
                      <a:lnTo>
                        <a:pt x="10621" y="9405"/>
                      </a:lnTo>
                      <a:lnTo>
                        <a:pt x="10650" y="9368"/>
                      </a:lnTo>
                      <a:lnTo>
                        <a:pt x="10621" y="9293"/>
                      </a:lnTo>
                      <a:lnTo>
                        <a:pt x="10621" y="9218"/>
                      </a:lnTo>
                      <a:lnTo>
                        <a:pt x="10650" y="9181"/>
                      </a:lnTo>
                      <a:lnTo>
                        <a:pt x="10621" y="9106"/>
                      </a:lnTo>
                      <a:lnTo>
                        <a:pt x="10593" y="9032"/>
                      </a:lnTo>
                      <a:lnTo>
                        <a:pt x="10593" y="8994"/>
                      </a:lnTo>
                      <a:lnTo>
                        <a:pt x="10650" y="8994"/>
                      </a:lnTo>
                      <a:lnTo>
                        <a:pt x="10621" y="8957"/>
                      </a:lnTo>
                      <a:lnTo>
                        <a:pt x="10565" y="8920"/>
                      </a:lnTo>
                      <a:lnTo>
                        <a:pt x="10537" y="8882"/>
                      </a:lnTo>
                      <a:lnTo>
                        <a:pt x="10424" y="8845"/>
                      </a:lnTo>
                      <a:lnTo>
                        <a:pt x="10395" y="8845"/>
                      </a:lnTo>
                      <a:lnTo>
                        <a:pt x="10395" y="8770"/>
                      </a:lnTo>
                      <a:lnTo>
                        <a:pt x="10424" y="8733"/>
                      </a:lnTo>
                      <a:lnTo>
                        <a:pt x="10452" y="8696"/>
                      </a:lnTo>
                      <a:lnTo>
                        <a:pt x="10424" y="8659"/>
                      </a:lnTo>
                      <a:lnTo>
                        <a:pt x="10424" y="8547"/>
                      </a:lnTo>
                      <a:lnTo>
                        <a:pt x="10452" y="8509"/>
                      </a:lnTo>
                      <a:lnTo>
                        <a:pt x="10480" y="8509"/>
                      </a:lnTo>
                      <a:lnTo>
                        <a:pt x="10480" y="8547"/>
                      </a:lnTo>
                      <a:lnTo>
                        <a:pt x="10508" y="8584"/>
                      </a:lnTo>
                      <a:lnTo>
                        <a:pt x="10537" y="8584"/>
                      </a:lnTo>
                      <a:lnTo>
                        <a:pt x="10565" y="8547"/>
                      </a:lnTo>
                      <a:lnTo>
                        <a:pt x="10593" y="8584"/>
                      </a:lnTo>
                      <a:lnTo>
                        <a:pt x="10650" y="8621"/>
                      </a:lnTo>
                      <a:lnTo>
                        <a:pt x="10734" y="8659"/>
                      </a:lnTo>
                      <a:lnTo>
                        <a:pt x="10763" y="8696"/>
                      </a:lnTo>
                      <a:lnTo>
                        <a:pt x="10791" y="8770"/>
                      </a:lnTo>
                      <a:lnTo>
                        <a:pt x="10791" y="8882"/>
                      </a:lnTo>
                      <a:lnTo>
                        <a:pt x="10791" y="8957"/>
                      </a:lnTo>
                      <a:lnTo>
                        <a:pt x="10847" y="8994"/>
                      </a:lnTo>
                      <a:lnTo>
                        <a:pt x="10876" y="9032"/>
                      </a:lnTo>
                      <a:lnTo>
                        <a:pt x="10904" y="9032"/>
                      </a:lnTo>
                      <a:lnTo>
                        <a:pt x="10932" y="8994"/>
                      </a:lnTo>
                      <a:lnTo>
                        <a:pt x="10932" y="8957"/>
                      </a:lnTo>
                      <a:lnTo>
                        <a:pt x="10904" y="8808"/>
                      </a:lnTo>
                      <a:lnTo>
                        <a:pt x="10932" y="8733"/>
                      </a:lnTo>
                      <a:lnTo>
                        <a:pt x="10932" y="8696"/>
                      </a:lnTo>
                      <a:lnTo>
                        <a:pt x="10960" y="8659"/>
                      </a:lnTo>
                      <a:lnTo>
                        <a:pt x="10989" y="8659"/>
                      </a:lnTo>
                      <a:lnTo>
                        <a:pt x="10989" y="8696"/>
                      </a:lnTo>
                      <a:lnTo>
                        <a:pt x="11017" y="8696"/>
                      </a:lnTo>
                      <a:lnTo>
                        <a:pt x="11045" y="8770"/>
                      </a:lnTo>
                      <a:lnTo>
                        <a:pt x="11045" y="8845"/>
                      </a:lnTo>
                      <a:lnTo>
                        <a:pt x="11102" y="8920"/>
                      </a:lnTo>
                      <a:lnTo>
                        <a:pt x="11130" y="8957"/>
                      </a:lnTo>
                      <a:lnTo>
                        <a:pt x="11045" y="9181"/>
                      </a:lnTo>
                      <a:lnTo>
                        <a:pt x="10989" y="9218"/>
                      </a:lnTo>
                      <a:lnTo>
                        <a:pt x="10960" y="9256"/>
                      </a:lnTo>
                      <a:lnTo>
                        <a:pt x="10960" y="9293"/>
                      </a:lnTo>
                      <a:lnTo>
                        <a:pt x="10989" y="9330"/>
                      </a:lnTo>
                      <a:lnTo>
                        <a:pt x="10989" y="9405"/>
                      </a:lnTo>
                      <a:lnTo>
                        <a:pt x="10932" y="9442"/>
                      </a:lnTo>
                      <a:lnTo>
                        <a:pt x="10904" y="9480"/>
                      </a:lnTo>
                      <a:lnTo>
                        <a:pt x="10876" y="9517"/>
                      </a:lnTo>
                      <a:lnTo>
                        <a:pt x="10819" y="9554"/>
                      </a:lnTo>
                      <a:lnTo>
                        <a:pt x="10819" y="9592"/>
                      </a:lnTo>
                      <a:lnTo>
                        <a:pt x="10819" y="9629"/>
                      </a:lnTo>
                      <a:lnTo>
                        <a:pt x="10819" y="9704"/>
                      </a:lnTo>
                      <a:lnTo>
                        <a:pt x="10791" y="9741"/>
                      </a:lnTo>
                      <a:lnTo>
                        <a:pt x="10763" y="9778"/>
                      </a:lnTo>
                      <a:lnTo>
                        <a:pt x="10791" y="9815"/>
                      </a:lnTo>
                      <a:lnTo>
                        <a:pt x="10819" y="9853"/>
                      </a:lnTo>
                      <a:lnTo>
                        <a:pt x="10819" y="9965"/>
                      </a:lnTo>
                      <a:lnTo>
                        <a:pt x="10819" y="10002"/>
                      </a:lnTo>
                      <a:lnTo>
                        <a:pt x="10734" y="9965"/>
                      </a:lnTo>
                      <a:lnTo>
                        <a:pt x="10678" y="10002"/>
                      </a:lnTo>
                      <a:lnTo>
                        <a:pt x="10650" y="10039"/>
                      </a:lnTo>
                      <a:lnTo>
                        <a:pt x="10650" y="10189"/>
                      </a:lnTo>
                      <a:lnTo>
                        <a:pt x="10678" y="10189"/>
                      </a:lnTo>
                      <a:lnTo>
                        <a:pt x="10763" y="10226"/>
                      </a:lnTo>
                      <a:lnTo>
                        <a:pt x="10819" y="10263"/>
                      </a:lnTo>
                      <a:lnTo>
                        <a:pt x="10876" y="10301"/>
                      </a:lnTo>
                      <a:lnTo>
                        <a:pt x="10904" y="10375"/>
                      </a:lnTo>
                      <a:lnTo>
                        <a:pt x="10932" y="10525"/>
                      </a:lnTo>
                      <a:lnTo>
                        <a:pt x="10960" y="10637"/>
                      </a:lnTo>
                      <a:lnTo>
                        <a:pt x="11045" y="10823"/>
                      </a:lnTo>
                      <a:lnTo>
                        <a:pt x="11130" y="10972"/>
                      </a:lnTo>
                      <a:lnTo>
                        <a:pt x="11158" y="11047"/>
                      </a:lnTo>
                      <a:lnTo>
                        <a:pt x="11158" y="11122"/>
                      </a:lnTo>
                      <a:lnTo>
                        <a:pt x="11158" y="11196"/>
                      </a:lnTo>
                      <a:lnTo>
                        <a:pt x="11215" y="11234"/>
                      </a:lnTo>
                      <a:lnTo>
                        <a:pt x="11299" y="11383"/>
                      </a:lnTo>
                      <a:lnTo>
                        <a:pt x="11356" y="11458"/>
                      </a:lnTo>
                      <a:lnTo>
                        <a:pt x="11384" y="11532"/>
                      </a:lnTo>
                      <a:lnTo>
                        <a:pt x="11441" y="11570"/>
                      </a:lnTo>
                      <a:lnTo>
                        <a:pt x="11497" y="11607"/>
                      </a:lnTo>
                      <a:lnTo>
                        <a:pt x="11525" y="11756"/>
                      </a:lnTo>
                      <a:lnTo>
                        <a:pt x="11610" y="11831"/>
                      </a:lnTo>
                      <a:lnTo>
                        <a:pt x="11638" y="11868"/>
                      </a:lnTo>
                      <a:lnTo>
                        <a:pt x="11667" y="11868"/>
                      </a:lnTo>
                      <a:lnTo>
                        <a:pt x="11723" y="11905"/>
                      </a:lnTo>
                      <a:lnTo>
                        <a:pt x="11751" y="11905"/>
                      </a:lnTo>
                      <a:lnTo>
                        <a:pt x="11780" y="11905"/>
                      </a:lnTo>
                      <a:lnTo>
                        <a:pt x="11808" y="11905"/>
                      </a:lnTo>
                      <a:lnTo>
                        <a:pt x="11864" y="11905"/>
                      </a:lnTo>
                      <a:lnTo>
                        <a:pt x="11893" y="11868"/>
                      </a:lnTo>
                      <a:lnTo>
                        <a:pt x="11893" y="11793"/>
                      </a:lnTo>
                      <a:lnTo>
                        <a:pt x="11864" y="11719"/>
                      </a:lnTo>
                      <a:lnTo>
                        <a:pt x="11695" y="11532"/>
                      </a:lnTo>
                      <a:lnTo>
                        <a:pt x="11638" y="11458"/>
                      </a:lnTo>
                      <a:lnTo>
                        <a:pt x="11638" y="11420"/>
                      </a:lnTo>
                      <a:lnTo>
                        <a:pt x="11638" y="11383"/>
                      </a:lnTo>
                      <a:lnTo>
                        <a:pt x="11695" y="11383"/>
                      </a:lnTo>
                      <a:lnTo>
                        <a:pt x="11836" y="11495"/>
                      </a:lnTo>
                      <a:lnTo>
                        <a:pt x="11864" y="11458"/>
                      </a:lnTo>
                      <a:lnTo>
                        <a:pt x="11921" y="11458"/>
                      </a:lnTo>
                      <a:lnTo>
                        <a:pt x="11949" y="11458"/>
                      </a:lnTo>
                      <a:lnTo>
                        <a:pt x="11977" y="11458"/>
                      </a:lnTo>
                      <a:lnTo>
                        <a:pt x="12034" y="11420"/>
                      </a:lnTo>
                      <a:lnTo>
                        <a:pt x="12090" y="11383"/>
                      </a:lnTo>
                      <a:lnTo>
                        <a:pt x="12090" y="11420"/>
                      </a:lnTo>
                      <a:lnTo>
                        <a:pt x="12090" y="11495"/>
                      </a:lnTo>
                      <a:lnTo>
                        <a:pt x="12006" y="11532"/>
                      </a:lnTo>
                      <a:lnTo>
                        <a:pt x="11977" y="11570"/>
                      </a:lnTo>
                      <a:lnTo>
                        <a:pt x="11977" y="11607"/>
                      </a:lnTo>
                      <a:lnTo>
                        <a:pt x="12006" y="11644"/>
                      </a:lnTo>
                      <a:lnTo>
                        <a:pt x="12062" y="11756"/>
                      </a:lnTo>
                      <a:lnTo>
                        <a:pt x="12090" y="11905"/>
                      </a:lnTo>
                      <a:lnTo>
                        <a:pt x="12090" y="12017"/>
                      </a:lnTo>
                      <a:lnTo>
                        <a:pt x="12062" y="12129"/>
                      </a:lnTo>
                      <a:lnTo>
                        <a:pt x="12062" y="12241"/>
                      </a:lnTo>
                      <a:lnTo>
                        <a:pt x="12090" y="12316"/>
                      </a:lnTo>
                      <a:lnTo>
                        <a:pt x="12119" y="12353"/>
                      </a:lnTo>
                      <a:lnTo>
                        <a:pt x="12147" y="12428"/>
                      </a:lnTo>
                      <a:lnTo>
                        <a:pt x="12175" y="12540"/>
                      </a:lnTo>
                      <a:lnTo>
                        <a:pt x="12203" y="12615"/>
                      </a:lnTo>
                      <a:lnTo>
                        <a:pt x="12232" y="12615"/>
                      </a:lnTo>
                      <a:lnTo>
                        <a:pt x="12260" y="12615"/>
                      </a:lnTo>
                      <a:lnTo>
                        <a:pt x="12316" y="12615"/>
                      </a:lnTo>
                      <a:lnTo>
                        <a:pt x="12344" y="12652"/>
                      </a:lnTo>
                      <a:lnTo>
                        <a:pt x="12316" y="12689"/>
                      </a:lnTo>
                      <a:lnTo>
                        <a:pt x="12316" y="12727"/>
                      </a:lnTo>
                      <a:lnTo>
                        <a:pt x="12344" y="12801"/>
                      </a:lnTo>
                      <a:lnTo>
                        <a:pt x="12401" y="12801"/>
                      </a:lnTo>
                      <a:lnTo>
                        <a:pt x="12486" y="12876"/>
                      </a:lnTo>
                      <a:lnTo>
                        <a:pt x="12514" y="12876"/>
                      </a:lnTo>
                      <a:lnTo>
                        <a:pt x="12570" y="12838"/>
                      </a:lnTo>
                      <a:lnTo>
                        <a:pt x="12599" y="12838"/>
                      </a:lnTo>
                      <a:lnTo>
                        <a:pt x="12599" y="12913"/>
                      </a:lnTo>
                      <a:lnTo>
                        <a:pt x="12599" y="12950"/>
                      </a:lnTo>
                      <a:lnTo>
                        <a:pt x="12655" y="13025"/>
                      </a:lnTo>
                      <a:lnTo>
                        <a:pt x="12683" y="13062"/>
                      </a:lnTo>
                      <a:lnTo>
                        <a:pt x="12683" y="13212"/>
                      </a:lnTo>
                      <a:lnTo>
                        <a:pt x="12683" y="13286"/>
                      </a:lnTo>
                      <a:lnTo>
                        <a:pt x="12712" y="13473"/>
                      </a:lnTo>
                      <a:lnTo>
                        <a:pt x="12796" y="13772"/>
                      </a:lnTo>
                      <a:lnTo>
                        <a:pt x="12938" y="14145"/>
                      </a:lnTo>
                      <a:lnTo>
                        <a:pt x="13022" y="14294"/>
                      </a:lnTo>
                      <a:lnTo>
                        <a:pt x="13079" y="14331"/>
                      </a:lnTo>
                      <a:lnTo>
                        <a:pt x="13107" y="14369"/>
                      </a:lnTo>
                      <a:lnTo>
                        <a:pt x="13135" y="14369"/>
                      </a:lnTo>
                      <a:lnTo>
                        <a:pt x="13192" y="14331"/>
                      </a:lnTo>
                      <a:lnTo>
                        <a:pt x="13220" y="14331"/>
                      </a:lnTo>
                      <a:lnTo>
                        <a:pt x="13277" y="14331"/>
                      </a:lnTo>
                      <a:lnTo>
                        <a:pt x="13305" y="14331"/>
                      </a:lnTo>
                      <a:lnTo>
                        <a:pt x="13390" y="14369"/>
                      </a:lnTo>
                      <a:lnTo>
                        <a:pt x="13418" y="14331"/>
                      </a:lnTo>
                      <a:lnTo>
                        <a:pt x="13446" y="14294"/>
                      </a:lnTo>
                      <a:lnTo>
                        <a:pt x="13503" y="14369"/>
                      </a:lnTo>
                      <a:lnTo>
                        <a:pt x="13559" y="14369"/>
                      </a:lnTo>
                      <a:lnTo>
                        <a:pt x="13644" y="14406"/>
                      </a:lnTo>
                      <a:lnTo>
                        <a:pt x="13757" y="14481"/>
                      </a:lnTo>
                      <a:lnTo>
                        <a:pt x="13813" y="14555"/>
                      </a:lnTo>
                      <a:lnTo>
                        <a:pt x="13870" y="14630"/>
                      </a:lnTo>
                      <a:lnTo>
                        <a:pt x="13955" y="14817"/>
                      </a:lnTo>
                      <a:lnTo>
                        <a:pt x="14011" y="14854"/>
                      </a:lnTo>
                      <a:lnTo>
                        <a:pt x="14068" y="14928"/>
                      </a:lnTo>
                      <a:lnTo>
                        <a:pt x="14152" y="15115"/>
                      </a:lnTo>
                      <a:lnTo>
                        <a:pt x="14181" y="15152"/>
                      </a:lnTo>
                      <a:lnTo>
                        <a:pt x="14237" y="15190"/>
                      </a:lnTo>
                      <a:lnTo>
                        <a:pt x="14265" y="15227"/>
                      </a:lnTo>
                      <a:lnTo>
                        <a:pt x="14237" y="15264"/>
                      </a:lnTo>
                      <a:lnTo>
                        <a:pt x="14265" y="15302"/>
                      </a:lnTo>
                      <a:lnTo>
                        <a:pt x="14322" y="15376"/>
                      </a:lnTo>
                      <a:lnTo>
                        <a:pt x="14350" y="15414"/>
                      </a:lnTo>
                      <a:lnTo>
                        <a:pt x="14378" y="15563"/>
                      </a:lnTo>
                      <a:lnTo>
                        <a:pt x="14407" y="15638"/>
                      </a:lnTo>
                      <a:lnTo>
                        <a:pt x="14491" y="15638"/>
                      </a:lnTo>
                      <a:lnTo>
                        <a:pt x="14548" y="15675"/>
                      </a:lnTo>
                      <a:lnTo>
                        <a:pt x="14604" y="15638"/>
                      </a:lnTo>
                      <a:lnTo>
                        <a:pt x="14689" y="15675"/>
                      </a:lnTo>
                      <a:lnTo>
                        <a:pt x="14717" y="15675"/>
                      </a:lnTo>
                      <a:lnTo>
                        <a:pt x="14746" y="15712"/>
                      </a:lnTo>
                      <a:lnTo>
                        <a:pt x="14774" y="15750"/>
                      </a:lnTo>
                      <a:lnTo>
                        <a:pt x="14802" y="15750"/>
                      </a:lnTo>
                      <a:lnTo>
                        <a:pt x="14830" y="15750"/>
                      </a:lnTo>
                      <a:lnTo>
                        <a:pt x="14915" y="15712"/>
                      </a:lnTo>
                      <a:lnTo>
                        <a:pt x="14915" y="15750"/>
                      </a:lnTo>
                      <a:lnTo>
                        <a:pt x="14943" y="15787"/>
                      </a:lnTo>
                      <a:lnTo>
                        <a:pt x="14915" y="15824"/>
                      </a:lnTo>
                      <a:lnTo>
                        <a:pt x="14915" y="15862"/>
                      </a:lnTo>
                      <a:lnTo>
                        <a:pt x="14943" y="15936"/>
                      </a:lnTo>
                      <a:lnTo>
                        <a:pt x="14915" y="15973"/>
                      </a:lnTo>
                      <a:lnTo>
                        <a:pt x="14887" y="16011"/>
                      </a:lnTo>
                      <a:lnTo>
                        <a:pt x="14802" y="16048"/>
                      </a:lnTo>
                      <a:lnTo>
                        <a:pt x="14746" y="16048"/>
                      </a:lnTo>
                      <a:lnTo>
                        <a:pt x="14689" y="16011"/>
                      </a:lnTo>
                      <a:lnTo>
                        <a:pt x="14604" y="15936"/>
                      </a:lnTo>
                      <a:lnTo>
                        <a:pt x="14576" y="15862"/>
                      </a:lnTo>
                      <a:lnTo>
                        <a:pt x="14520" y="15824"/>
                      </a:lnTo>
                      <a:lnTo>
                        <a:pt x="14463" y="15824"/>
                      </a:lnTo>
                      <a:lnTo>
                        <a:pt x="14435" y="15862"/>
                      </a:lnTo>
                      <a:lnTo>
                        <a:pt x="14407" y="15899"/>
                      </a:lnTo>
                      <a:lnTo>
                        <a:pt x="14407" y="16011"/>
                      </a:lnTo>
                      <a:lnTo>
                        <a:pt x="14435" y="16085"/>
                      </a:lnTo>
                      <a:lnTo>
                        <a:pt x="14463" y="16197"/>
                      </a:lnTo>
                      <a:lnTo>
                        <a:pt x="14548" y="16309"/>
                      </a:lnTo>
                      <a:lnTo>
                        <a:pt x="14604" y="16384"/>
                      </a:lnTo>
                      <a:lnTo>
                        <a:pt x="14661" y="16384"/>
                      </a:lnTo>
                      <a:lnTo>
                        <a:pt x="14717" y="16347"/>
                      </a:lnTo>
                      <a:lnTo>
                        <a:pt x="14830" y="16309"/>
                      </a:lnTo>
                      <a:lnTo>
                        <a:pt x="14915" y="16309"/>
                      </a:lnTo>
                      <a:lnTo>
                        <a:pt x="14943" y="16272"/>
                      </a:lnTo>
                      <a:lnTo>
                        <a:pt x="15028" y="16160"/>
                      </a:lnTo>
                      <a:lnTo>
                        <a:pt x="15113" y="16123"/>
                      </a:lnTo>
                      <a:lnTo>
                        <a:pt x="15169" y="16123"/>
                      </a:lnTo>
                      <a:lnTo>
                        <a:pt x="15226" y="16160"/>
                      </a:lnTo>
                      <a:lnTo>
                        <a:pt x="15424" y="16123"/>
                      </a:lnTo>
                      <a:lnTo>
                        <a:pt x="15452" y="16048"/>
                      </a:lnTo>
                      <a:lnTo>
                        <a:pt x="15565" y="15973"/>
                      </a:lnTo>
                      <a:lnTo>
                        <a:pt x="15621" y="15973"/>
                      </a:lnTo>
                      <a:lnTo>
                        <a:pt x="15621" y="15936"/>
                      </a:lnTo>
                      <a:lnTo>
                        <a:pt x="15621" y="15862"/>
                      </a:lnTo>
                      <a:lnTo>
                        <a:pt x="15650" y="15862"/>
                      </a:lnTo>
                      <a:lnTo>
                        <a:pt x="15706" y="15862"/>
                      </a:lnTo>
                      <a:lnTo>
                        <a:pt x="15791" y="15936"/>
                      </a:lnTo>
                      <a:lnTo>
                        <a:pt x="15819" y="15899"/>
                      </a:lnTo>
                      <a:lnTo>
                        <a:pt x="15847" y="15824"/>
                      </a:lnTo>
                      <a:lnTo>
                        <a:pt x="15876" y="15824"/>
                      </a:lnTo>
                      <a:lnTo>
                        <a:pt x="15932" y="15824"/>
                      </a:lnTo>
                      <a:lnTo>
                        <a:pt x="15960" y="15787"/>
                      </a:lnTo>
                      <a:lnTo>
                        <a:pt x="15960" y="15675"/>
                      </a:lnTo>
                      <a:lnTo>
                        <a:pt x="15989" y="15600"/>
                      </a:lnTo>
                      <a:lnTo>
                        <a:pt x="16017" y="15600"/>
                      </a:lnTo>
                      <a:lnTo>
                        <a:pt x="16017" y="15488"/>
                      </a:lnTo>
                      <a:lnTo>
                        <a:pt x="16102" y="15414"/>
                      </a:lnTo>
                      <a:lnTo>
                        <a:pt x="16130" y="15339"/>
                      </a:lnTo>
                      <a:lnTo>
                        <a:pt x="16102" y="15302"/>
                      </a:lnTo>
                      <a:lnTo>
                        <a:pt x="16073" y="15190"/>
                      </a:lnTo>
                      <a:lnTo>
                        <a:pt x="16017" y="15078"/>
                      </a:lnTo>
                      <a:lnTo>
                        <a:pt x="16017" y="15003"/>
                      </a:lnTo>
                      <a:lnTo>
                        <a:pt x="16045" y="14928"/>
                      </a:lnTo>
                      <a:lnTo>
                        <a:pt x="16073" y="14817"/>
                      </a:lnTo>
                      <a:lnTo>
                        <a:pt x="16073" y="14779"/>
                      </a:lnTo>
                      <a:lnTo>
                        <a:pt x="16045" y="14705"/>
                      </a:lnTo>
                      <a:lnTo>
                        <a:pt x="16073" y="14630"/>
                      </a:lnTo>
                      <a:lnTo>
                        <a:pt x="16102" y="14593"/>
                      </a:lnTo>
                      <a:lnTo>
                        <a:pt x="16130" y="14555"/>
                      </a:lnTo>
                      <a:lnTo>
                        <a:pt x="16130" y="14369"/>
                      </a:lnTo>
                      <a:lnTo>
                        <a:pt x="16158" y="14294"/>
                      </a:lnTo>
                      <a:lnTo>
                        <a:pt x="16186" y="14219"/>
                      </a:lnTo>
                      <a:lnTo>
                        <a:pt x="16215" y="14182"/>
                      </a:lnTo>
                      <a:lnTo>
                        <a:pt x="16215" y="14070"/>
                      </a:lnTo>
                      <a:lnTo>
                        <a:pt x="16215" y="13921"/>
                      </a:lnTo>
                      <a:lnTo>
                        <a:pt x="16243" y="13883"/>
                      </a:lnTo>
                      <a:lnTo>
                        <a:pt x="16271" y="13846"/>
                      </a:lnTo>
                      <a:lnTo>
                        <a:pt x="16271" y="13883"/>
                      </a:lnTo>
                      <a:lnTo>
                        <a:pt x="16299" y="13958"/>
                      </a:lnTo>
                      <a:lnTo>
                        <a:pt x="16299" y="14033"/>
                      </a:lnTo>
                      <a:lnTo>
                        <a:pt x="16328" y="14070"/>
                      </a:lnTo>
                      <a:lnTo>
                        <a:pt x="16356" y="14070"/>
                      </a:lnTo>
                      <a:lnTo>
                        <a:pt x="16384" y="14070"/>
                      </a:lnTo>
                      <a:lnTo>
                        <a:pt x="16384" y="14033"/>
                      </a:lnTo>
                      <a:lnTo>
                        <a:pt x="16384" y="13958"/>
                      </a:lnTo>
                      <a:lnTo>
                        <a:pt x="16356" y="13846"/>
                      </a:lnTo>
                      <a:lnTo>
                        <a:pt x="16328" y="13697"/>
                      </a:lnTo>
                      <a:lnTo>
                        <a:pt x="16299" y="13548"/>
                      </a:lnTo>
                      <a:lnTo>
                        <a:pt x="16299" y="13398"/>
                      </a:lnTo>
                      <a:lnTo>
                        <a:pt x="16271" y="13286"/>
                      </a:lnTo>
                      <a:lnTo>
                        <a:pt x="16271" y="13174"/>
                      </a:lnTo>
                      <a:lnTo>
                        <a:pt x="16299" y="13062"/>
                      </a:lnTo>
                      <a:lnTo>
                        <a:pt x="16299" y="12950"/>
                      </a:lnTo>
                      <a:lnTo>
                        <a:pt x="16271" y="12577"/>
                      </a:lnTo>
                      <a:lnTo>
                        <a:pt x="16271" y="12503"/>
                      </a:lnTo>
                      <a:lnTo>
                        <a:pt x="16271" y="12241"/>
                      </a:lnTo>
                      <a:lnTo>
                        <a:pt x="16243" y="11905"/>
                      </a:lnTo>
                      <a:lnTo>
                        <a:pt x="16243" y="11644"/>
                      </a:lnTo>
                      <a:lnTo>
                        <a:pt x="16215" y="11420"/>
                      </a:lnTo>
                      <a:lnTo>
                        <a:pt x="16186" y="11159"/>
                      </a:lnTo>
                      <a:lnTo>
                        <a:pt x="16158" y="10972"/>
                      </a:lnTo>
                      <a:lnTo>
                        <a:pt x="16073" y="10749"/>
                      </a:lnTo>
                      <a:lnTo>
                        <a:pt x="16045" y="10637"/>
                      </a:lnTo>
                      <a:lnTo>
                        <a:pt x="15989" y="10450"/>
                      </a:lnTo>
                      <a:lnTo>
                        <a:pt x="15932" y="10301"/>
                      </a:lnTo>
                      <a:lnTo>
                        <a:pt x="15876" y="10189"/>
                      </a:lnTo>
                      <a:lnTo>
                        <a:pt x="15847" y="10151"/>
                      </a:lnTo>
                      <a:lnTo>
                        <a:pt x="15763" y="10151"/>
                      </a:lnTo>
                      <a:lnTo>
                        <a:pt x="15734" y="10114"/>
                      </a:lnTo>
                      <a:lnTo>
                        <a:pt x="15706" y="10077"/>
                      </a:lnTo>
                      <a:lnTo>
                        <a:pt x="15734" y="9965"/>
                      </a:lnTo>
                      <a:lnTo>
                        <a:pt x="15678" y="9815"/>
                      </a:lnTo>
                      <a:lnTo>
                        <a:pt x="15593" y="9704"/>
                      </a:lnTo>
                      <a:lnTo>
                        <a:pt x="15537" y="9554"/>
                      </a:lnTo>
                      <a:lnTo>
                        <a:pt x="15395" y="9330"/>
                      </a:lnTo>
                      <a:lnTo>
                        <a:pt x="15367" y="9256"/>
                      </a:lnTo>
                      <a:lnTo>
                        <a:pt x="15339" y="9144"/>
                      </a:lnTo>
                      <a:lnTo>
                        <a:pt x="15311" y="8994"/>
                      </a:lnTo>
                      <a:lnTo>
                        <a:pt x="15254" y="8845"/>
                      </a:lnTo>
                      <a:lnTo>
                        <a:pt x="15198" y="8733"/>
                      </a:lnTo>
                      <a:lnTo>
                        <a:pt x="15113" y="8547"/>
                      </a:lnTo>
                      <a:lnTo>
                        <a:pt x="15000" y="8360"/>
                      </a:lnTo>
                      <a:lnTo>
                        <a:pt x="14915" y="8211"/>
                      </a:lnTo>
                      <a:lnTo>
                        <a:pt x="14802" y="7987"/>
                      </a:lnTo>
                      <a:lnTo>
                        <a:pt x="14633" y="7614"/>
                      </a:lnTo>
                      <a:lnTo>
                        <a:pt x="14491" y="7352"/>
                      </a:lnTo>
                      <a:lnTo>
                        <a:pt x="14294" y="6867"/>
                      </a:lnTo>
                      <a:lnTo>
                        <a:pt x="14096" y="6345"/>
                      </a:lnTo>
                      <a:lnTo>
                        <a:pt x="13983" y="5971"/>
                      </a:lnTo>
                      <a:lnTo>
                        <a:pt x="13870" y="5635"/>
                      </a:lnTo>
                      <a:lnTo>
                        <a:pt x="13870" y="5598"/>
                      </a:lnTo>
                      <a:lnTo>
                        <a:pt x="13898" y="5598"/>
                      </a:lnTo>
                      <a:lnTo>
                        <a:pt x="14011" y="5710"/>
                      </a:lnTo>
                      <a:lnTo>
                        <a:pt x="14039" y="5710"/>
                      </a:lnTo>
                      <a:lnTo>
                        <a:pt x="14039" y="5635"/>
                      </a:lnTo>
                      <a:lnTo>
                        <a:pt x="13983" y="5524"/>
                      </a:lnTo>
                      <a:lnTo>
                        <a:pt x="13813" y="5300"/>
                      </a:lnTo>
                      <a:lnTo>
                        <a:pt x="13700" y="5076"/>
                      </a:lnTo>
                      <a:lnTo>
                        <a:pt x="13672" y="4926"/>
                      </a:lnTo>
                      <a:lnTo>
                        <a:pt x="13644" y="4889"/>
                      </a:lnTo>
                      <a:lnTo>
                        <a:pt x="13616" y="4852"/>
                      </a:lnTo>
                      <a:lnTo>
                        <a:pt x="13559" y="4852"/>
                      </a:lnTo>
                      <a:lnTo>
                        <a:pt x="13531" y="4852"/>
                      </a:lnTo>
                      <a:lnTo>
                        <a:pt x="13531" y="4665"/>
                      </a:lnTo>
                      <a:lnTo>
                        <a:pt x="13474" y="4553"/>
                      </a:lnTo>
                      <a:lnTo>
                        <a:pt x="13418" y="4441"/>
                      </a:lnTo>
                      <a:lnTo>
                        <a:pt x="13192" y="4031"/>
                      </a:lnTo>
                      <a:lnTo>
                        <a:pt x="13192" y="3956"/>
                      </a:lnTo>
                      <a:lnTo>
                        <a:pt x="13135" y="3807"/>
                      </a:lnTo>
                      <a:lnTo>
                        <a:pt x="12994" y="3471"/>
                      </a:lnTo>
                      <a:lnTo>
                        <a:pt x="12881" y="3247"/>
                      </a:lnTo>
                      <a:lnTo>
                        <a:pt x="12853" y="3135"/>
                      </a:lnTo>
                      <a:lnTo>
                        <a:pt x="12825" y="3098"/>
                      </a:lnTo>
                      <a:lnTo>
                        <a:pt x="12768" y="3060"/>
                      </a:lnTo>
                      <a:lnTo>
                        <a:pt x="12740" y="3023"/>
                      </a:lnTo>
                      <a:lnTo>
                        <a:pt x="12712" y="2836"/>
                      </a:lnTo>
                      <a:lnTo>
                        <a:pt x="12712" y="2724"/>
                      </a:lnTo>
                      <a:lnTo>
                        <a:pt x="12655" y="2612"/>
                      </a:lnTo>
                      <a:lnTo>
                        <a:pt x="12627" y="2575"/>
                      </a:lnTo>
                      <a:lnTo>
                        <a:pt x="12627" y="2463"/>
                      </a:lnTo>
                      <a:lnTo>
                        <a:pt x="12599" y="2314"/>
                      </a:lnTo>
                      <a:lnTo>
                        <a:pt x="12457" y="1978"/>
                      </a:lnTo>
                      <a:lnTo>
                        <a:pt x="12373" y="1679"/>
                      </a:lnTo>
                      <a:lnTo>
                        <a:pt x="12344" y="1530"/>
                      </a:lnTo>
                      <a:lnTo>
                        <a:pt x="12288" y="1306"/>
                      </a:lnTo>
                      <a:lnTo>
                        <a:pt x="12260" y="1120"/>
                      </a:lnTo>
                      <a:lnTo>
                        <a:pt x="12232" y="1120"/>
                      </a:lnTo>
                      <a:lnTo>
                        <a:pt x="12203" y="1194"/>
                      </a:lnTo>
                      <a:lnTo>
                        <a:pt x="12147" y="1194"/>
                      </a:lnTo>
                      <a:lnTo>
                        <a:pt x="12119" y="1194"/>
                      </a:lnTo>
                      <a:lnTo>
                        <a:pt x="12119" y="1157"/>
                      </a:lnTo>
                      <a:lnTo>
                        <a:pt x="12147" y="1082"/>
                      </a:lnTo>
                      <a:lnTo>
                        <a:pt x="12147" y="933"/>
                      </a:lnTo>
                      <a:lnTo>
                        <a:pt x="12119" y="858"/>
                      </a:lnTo>
                      <a:lnTo>
                        <a:pt x="12090" y="784"/>
                      </a:lnTo>
                      <a:lnTo>
                        <a:pt x="12062" y="746"/>
                      </a:lnTo>
                      <a:lnTo>
                        <a:pt x="12062" y="672"/>
                      </a:lnTo>
                      <a:lnTo>
                        <a:pt x="12062" y="634"/>
                      </a:lnTo>
                      <a:lnTo>
                        <a:pt x="12006" y="560"/>
                      </a:lnTo>
                      <a:lnTo>
                        <a:pt x="12006" y="485"/>
                      </a:lnTo>
                      <a:lnTo>
                        <a:pt x="12006" y="411"/>
                      </a:lnTo>
                      <a:lnTo>
                        <a:pt x="12034" y="336"/>
                      </a:lnTo>
                      <a:lnTo>
                        <a:pt x="12034" y="299"/>
                      </a:lnTo>
                      <a:lnTo>
                        <a:pt x="12006" y="299"/>
                      </a:lnTo>
                      <a:lnTo>
                        <a:pt x="11949" y="336"/>
                      </a:lnTo>
                      <a:lnTo>
                        <a:pt x="11921" y="336"/>
                      </a:lnTo>
                      <a:lnTo>
                        <a:pt x="11893" y="299"/>
                      </a:lnTo>
                      <a:lnTo>
                        <a:pt x="11864" y="299"/>
                      </a:lnTo>
                      <a:lnTo>
                        <a:pt x="11808" y="224"/>
                      </a:lnTo>
                      <a:lnTo>
                        <a:pt x="11723" y="224"/>
                      </a:lnTo>
                      <a:lnTo>
                        <a:pt x="11667" y="224"/>
                      </a:lnTo>
                      <a:lnTo>
                        <a:pt x="11610" y="187"/>
                      </a:lnTo>
                      <a:lnTo>
                        <a:pt x="11582" y="187"/>
                      </a:lnTo>
                      <a:lnTo>
                        <a:pt x="11554" y="224"/>
                      </a:lnTo>
                      <a:lnTo>
                        <a:pt x="11469" y="149"/>
                      </a:lnTo>
                      <a:lnTo>
                        <a:pt x="11441" y="112"/>
                      </a:lnTo>
                      <a:lnTo>
                        <a:pt x="11384" y="149"/>
                      </a:lnTo>
                      <a:lnTo>
                        <a:pt x="11328" y="112"/>
                      </a:lnTo>
                      <a:lnTo>
                        <a:pt x="11243" y="112"/>
                      </a:lnTo>
                      <a:lnTo>
                        <a:pt x="11158" y="75"/>
                      </a:lnTo>
                      <a:lnTo>
                        <a:pt x="11130" y="0"/>
                      </a:lnTo>
                      <a:lnTo>
                        <a:pt x="11073" y="37"/>
                      </a:lnTo>
                      <a:lnTo>
                        <a:pt x="11017" y="37"/>
                      </a:lnTo>
                      <a:lnTo>
                        <a:pt x="10989" y="112"/>
                      </a:lnTo>
                      <a:lnTo>
                        <a:pt x="10989" y="149"/>
                      </a:lnTo>
                      <a:lnTo>
                        <a:pt x="10960" y="149"/>
                      </a:lnTo>
                      <a:lnTo>
                        <a:pt x="10904" y="149"/>
                      </a:lnTo>
                      <a:lnTo>
                        <a:pt x="10876" y="187"/>
                      </a:lnTo>
                      <a:lnTo>
                        <a:pt x="10876" y="261"/>
                      </a:lnTo>
                      <a:lnTo>
                        <a:pt x="10847" y="299"/>
                      </a:lnTo>
                      <a:lnTo>
                        <a:pt x="10847" y="373"/>
                      </a:lnTo>
                      <a:lnTo>
                        <a:pt x="10847" y="448"/>
                      </a:lnTo>
                      <a:lnTo>
                        <a:pt x="10904" y="709"/>
                      </a:lnTo>
                      <a:lnTo>
                        <a:pt x="10960" y="784"/>
                      </a:lnTo>
                      <a:lnTo>
                        <a:pt x="10960" y="858"/>
                      </a:lnTo>
                      <a:lnTo>
                        <a:pt x="10960" y="970"/>
                      </a:lnTo>
                      <a:lnTo>
                        <a:pt x="10989" y="1194"/>
                      </a:lnTo>
                      <a:lnTo>
                        <a:pt x="10989" y="1381"/>
                      </a:lnTo>
                      <a:lnTo>
                        <a:pt x="10989" y="1456"/>
                      </a:lnTo>
                      <a:lnTo>
                        <a:pt x="10904" y="1493"/>
                      </a:lnTo>
                      <a:lnTo>
                        <a:pt x="10847" y="1493"/>
                      </a:lnTo>
                      <a:lnTo>
                        <a:pt x="10763" y="1493"/>
                      </a:lnTo>
                      <a:lnTo>
                        <a:pt x="10706" y="1493"/>
                      </a:lnTo>
                      <a:lnTo>
                        <a:pt x="10678" y="1418"/>
                      </a:lnTo>
                      <a:lnTo>
                        <a:pt x="10621" y="1194"/>
                      </a:lnTo>
                      <a:lnTo>
                        <a:pt x="10621" y="1120"/>
                      </a:lnTo>
                      <a:lnTo>
                        <a:pt x="10593" y="1082"/>
                      </a:lnTo>
                      <a:lnTo>
                        <a:pt x="10565" y="1045"/>
                      </a:lnTo>
                      <a:lnTo>
                        <a:pt x="10593" y="1008"/>
                      </a:lnTo>
                      <a:lnTo>
                        <a:pt x="10593" y="933"/>
                      </a:lnTo>
                      <a:lnTo>
                        <a:pt x="10113" y="970"/>
                      </a:lnTo>
                      <a:lnTo>
                        <a:pt x="9830" y="1008"/>
                      </a:lnTo>
                      <a:lnTo>
                        <a:pt x="9633" y="1008"/>
                      </a:lnTo>
                      <a:lnTo>
                        <a:pt x="8813" y="1082"/>
                      </a:lnTo>
                      <a:lnTo>
                        <a:pt x="8503" y="1120"/>
                      </a:lnTo>
                      <a:lnTo>
                        <a:pt x="8305" y="1120"/>
                      </a:lnTo>
                      <a:lnTo>
                        <a:pt x="7910" y="1157"/>
                      </a:lnTo>
                      <a:lnTo>
                        <a:pt x="7571" y="1157"/>
                      </a:lnTo>
                      <a:lnTo>
                        <a:pt x="7090" y="1232"/>
                      </a:lnTo>
                      <a:lnTo>
                        <a:pt x="6921" y="1232"/>
                      </a:lnTo>
                      <a:lnTo>
                        <a:pt x="6497" y="1269"/>
                      </a:lnTo>
                      <a:lnTo>
                        <a:pt x="6356" y="1269"/>
                      </a:lnTo>
                      <a:lnTo>
                        <a:pt x="5424" y="1344"/>
                      </a:lnTo>
                      <a:lnTo>
                        <a:pt x="5395" y="1306"/>
                      </a:lnTo>
                      <a:lnTo>
                        <a:pt x="5339" y="1269"/>
                      </a:lnTo>
                      <a:lnTo>
                        <a:pt x="5254" y="1157"/>
                      </a:lnTo>
                      <a:lnTo>
                        <a:pt x="5226" y="933"/>
                      </a:lnTo>
                      <a:lnTo>
                        <a:pt x="5226" y="858"/>
                      </a:lnTo>
                      <a:lnTo>
                        <a:pt x="5198" y="821"/>
                      </a:lnTo>
                      <a:lnTo>
                        <a:pt x="5141" y="746"/>
                      </a:lnTo>
                      <a:lnTo>
                        <a:pt x="5085" y="672"/>
                      </a:lnTo>
                      <a:lnTo>
                        <a:pt x="5056" y="560"/>
                      </a:lnTo>
                      <a:lnTo>
                        <a:pt x="4124" y="672"/>
                      </a:lnTo>
                      <a:lnTo>
                        <a:pt x="4068" y="672"/>
                      </a:lnTo>
                      <a:lnTo>
                        <a:pt x="3051" y="821"/>
                      </a:lnTo>
                      <a:lnTo>
                        <a:pt x="2768" y="858"/>
                      </a:lnTo>
                      <a:lnTo>
                        <a:pt x="2401" y="896"/>
                      </a:lnTo>
                      <a:lnTo>
                        <a:pt x="1780" y="970"/>
                      </a:lnTo>
                      <a:lnTo>
                        <a:pt x="1610" y="1008"/>
                      </a:lnTo>
                      <a:lnTo>
                        <a:pt x="876" y="1082"/>
                      </a:lnTo>
                      <a:lnTo>
                        <a:pt x="28" y="1194"/>
                      </a:lnTo>
                      <a:lnTo>
                        <a:pt x="56" y="1344"/>
                      </a:lnTo>
                      <a:lnTo>
                        <a:pt x="28" y="1418"/>
                      </a:lnTo>
                      <a:lnTo>
                        <a:pt x="0" y="1530"/>
                      </a:lnTo>
                      <a:lnTo>
                        <a:pt x="0" y="1605"/>
                      </a:lnTo>
                      <a:lnTo>
                        <a:pt x="28" y="1642"/>
                      </a:lnTo>
                      <a:lnTo>
                        <a:pt x="56" y="1679"/>
                      </a:lnTo>
                      <a:lnTo>
                        <a:pt x="198" y="1866"/>
                      </a:lnTo>
                      <a:lnTo>
                        <a:pt x="311" y="2015"/>
                      </a:lnTo>
                      <a:lnTo>
                        <a:pt x="367" y="2053"/>
                      </a:lnTo>
                      <a:lnTo>
                        <a:pt x="395" y="2090"/>
                      </a:lnTo>
                      <a:lnTo>
                        <a:pt x="452" y="2127"/>
                      </a:lnTo>
                      <a:lnTo>
                        <a:pt x="508" y="2202"/>
                      </a:lnTo>
                      <a:lnTo>
                        <a:pt x="480" y="2314"/>
                      </a:lnTo>
                      <a:lnTo>
                        <a:pt x="452" y="2426"/>
                      </a:lnTo>
                      <a:lnTo>
                        <a:pt x="424" y="2538"/>
                      </a:lnTo>
                      <a:lnTo>
                        <a:pt x="395" y="2575"/>
                      </a:lnTo>
                      <a:lnTo>
                        <a:pt x="424" y="2650"/>
                      </a:lnTo>
                      <a:lnTo>
                        <a:pt x="452" y="2687"/>
                      </a:lnTo>
                      <a:lnTo>
                        <a:pt x="565" y="2762"/>
                      </a:lnTo>
                      <a:lnTo>
                        <a:pt x="565" y="2799"/>
                      </a:lnTo>
                      <a:lnTo>
                        <a:pt x="537" y="2874"/>
                      </a:lnTo>
                      <a:lnTo>
                        <a:pt x="508" y="2874"/>
                      </a:lnTo>
                      <a:lnTo>
                        <a:pt x="480" y="2911"/>
                      </a:lnTo>
                      <a:lnTo>
                        <a:pt x="452" y="2948"/>
                      </a:lnTo>
                      <a:lnTo>
                        <a:pt x="452" y="2986"/>
                      </a:lnTo>
                      <a:lnTo>
                        <a:pt x="452" y="3060"/>
                      </a:lnTo>
                      <a:lnTo>
                        <a:pt x="424" y="3098"/>
                      </a:lnTo>
                      <a:lnTo>
                        <a:pt x="367" y="3172"/>
                      </a:lnTo>
                      <a:lnTo>
                        <a:pt x="367" y="3210"/>
                      </a:lnTo>
                      <a:lnTo>
                        <a:pt x="367" y="3247"/>
                      </a:lnTo>
                      <a:lnTo>
                        <a:pt x="395" y="3247"/>
                      </a:lnTo>
                      <a:lnTo>
                        <a:pt x="508" y="3172"/>
                      </a:lnTo>
                      <a:lnTo>
                        <a:pt x="537" y="3135"/>
                      </a:lnTo>
                      <a:lnTo>
                        <a:pt x="565" y="3135"/>
                      </a:lnTo>
                      <a:lnTo>
                        <a:pt x="593" y="3060"/>
                      </a:lnTo>
                      <a:lnTo>
                        <a:pt x="678" y="3023"/>
                      </a:lnTo>
                      <a:lnTo>
                        <a:pt x="734" y="3023"/>
                      </a:lnTo>
                      <a:lnTo>
                        <a:pt x="734" y="2986"/>
                      </a:lnTo>
                      <a:lnTo>
                        <a:pt x="734" y="2911"/>
                      </a:lnTo>
                      <a:lnTo>
                        <a:pt x="763" y="2911"/>
                      </a:lnTo>
                      <a:lnTo>
                        <a:pt x="819" y="2836"/>
                      </a:lnTo>
                      <a:lnTo>
                        <a:pt x="904" y="2799"/>
                      </a:lnTo>
                      <a:lnTo>
                        <a:pt x="932" y="2724"/>
                      </a:lnTo>
                      <a:lnTo>
                        <a:pt x="960" y="2650"/>
                      </a:lnTo>
                      <a:lnTo>
                        <a:pt x="960" y="2538"/>
                      </a:lnTo>
                      <a:lnTo>
                        <a:pt x="932" y="2463"/>
                      </a:lnTo>
                      <a:lnTo>
                        <a:pt x="932" y="2389"/>
                      </a:lnTo>
                      <a:lnTo>
                        <a:pt x="904" y="2351"/>
                      </a:lnTo>
                      <a:lnTo>
                        <a:pt x="932" y="2314"/>
                      </a:lnTo>
                      <a:lnTo>
                        <a:pt x="989" y="2351"/>
                      </a:lnTo>
                      <a:lnTo>
                        <a:pt x="1017" y="2426"/>
                      </a:lnTo>
                      <a:lnTo>
                        <a:pt x="1045" y="2426"/>
                      </a:lnTo>
                      <a:lnTo>
                        <a:pt x="1073" y="2463"/>
                      </a:lnTo>
                      <a:lnTo>
                        <a:pt x="1073" y="2575"/>
                      </a:lnTo>
                      <a:lnTo>
                        <a:pt x="1073" y="2612"/>
                      </a:lnTo>
                      <a:lnTo>
                        <a:pt x="1102" y="2612"/>
                      </a:lnTo>
                      <a:lnTo>
                        <a:pt x="1158" y="2612"/>
                      </a:lnTo>
                      <a:lnTo>
                        <a:pt x="1186" y="2538"/>
                      </a:lnTo>
                      <a:lnTo>
                        <a:pt x="1215" y="2389"/>
                      </a:lnTo>
                      <a:lnTo>
                        <a:pt x="1243" y="2314"/>
                      </a:lnTo>
                      <a:lnTo>
                        <a:pt x="1271" y="2314"/>
                      </a:lnTo>
                      <a:lnTo>
                        <a:pt x="1271" y="2351"/>
                      </a:lnTo>
                      <a:lnTo>
                        <a:pt x="1271" y="2426"/>
                      </a:lnTo>
                      <a:lnTo>
                        <a:pt x="1271" y="2463"/>
                      </a:lnTo>
                      <a:lnTo>
                        <a:pt x="1299" y="2501"/>
                      </a:lnTo>
                      <a:lnTo>
                        <a:pt x="1356" y="2538"/>
                      </a:lnTo>
                      <a:lnTo>
                        <a:pt x="1384" y="2575"/>
                      </a:lnTo>
                      <a:lnTo>
                        <a:pt x="1384" y="2612"/>
                      </a:lnTo>
                      <a:lnTo>
                        <a:pt x="1356" y="2650"/>
                      </a:lnTo>
                      <a:lnTo>
                        <a:pt x="1299" y="2724"/>
                      </a:lnTo>
                      <a:lnTo>
                        <a:pt x="1243" y="2762"/>
                      </a:lnTo>
                      <a:lnTo>
                        <a:pt x="1186" y="2762"/>
                      </a:lnTo>
                      <a:lnTo>
                        <a:pt x="1102" y="2799"/>
                      </a:lnTo>
                      <a:lnTo>
                        <a:pt x="1017" y="2836"/>
                      </a:lnTo>
                      <a:lnTo>
                        <a:pt x="989" y="2874"/>
                      </a:lnTo>
                      <a:lnTo>
                        <a:pt x="989" y="2911"/>
                      </a:lnTo>
                      <a:lnTo>
                        <a:pt x="960" y="2948"/>
                      </a:lnTo>
                      <a:lnTo>
                        <a:pt x="989" y="2948"/>
                      </a:lnTo>
                      <a:lnTo>
                        <a:pt x="1017" y="2948"/>
                      </a:lnTo>
                      <a:lnTo>
                        <a:pt x="1073" y="2948"/>
                      </a:lnTo>
                      <a:lnTo>
                        <a:pt x="1102" y="2911"/>
                      </a:lnTo>
                      <a:lnTo>
                        <a:pt x="1186" y="2836"/>
                      </a:lnTo>
                      <a:lnTo>
                        <a:pt x="1299" y="2836"/>
                      </a:lnTo>
                      <a:lnTo>
                        <a:pt x="1441" y="2762"/>
                      </a:lnTo>
                      <a:lnTo>
                        <a:pt x="1582" y="2724"/>
                      </a:lnTo>
                      <a:lnTo>
                        <a:pt x="1695" y="2687"/>
                      </a:lnTo>
                      <a:lnTo>
                        <a:pt x="1808" y="2650"/>
                      </a:lnTo>
                      <a:lnTo>
                        <a:pt x="1949" y="2650"/>
                      </a:lnTo>
                      <a:lnTo>
                        <a:pt x="2062" y="2612"/>
                      </a:lnTo>
                      <a:lnTo>
                        <a:pt x="2090" y="2575"/>
                      </a:lnTo>
                      <a:lnTo>
                        <a:pt x="2147" y="2575"/>
                      </a:lnTo>
                      <a:lnTo>
                        <a:pt x="2175" y="2501"/>
                      </a:lnTo>
                      <a:lnTo>
                        <a:pt x="2232" y="2501"/>
                      </a:lnTo>
                      <a:lnTo>
                        <a:pt x="2288" y="2463"/>
                      </a:lnTo>
                      <a:lnTo>
                        <a:pt x="2288" y="2426"/>
                      </a:lnTo>
                      <a:lnTo>
                        <a:pt x="2260" y="2389"/>
                      </a:lnTo>
                      <a:lnTo>
                        <a:pt x="2288" y="2351"/>
                      </a:lnTo>
                      <a:lnTo>
                        <a:pt x="2316" y="2314"/>
                      </a:lnTo>
                      <a:lnTo>
                        <a:pt x="2345" y="2314"/>
                      </a:lnTo>
                      <a:lnTo>
                        <a:pt x="2373" y="2389"/>
                      </a:lnTo>
                      <a:lnTo>
                        <a:pt x="2373" y="2426"/>
                      </a:lnTo>
                      <a:lnTo>
                        <a:pt x="2401" y="2463"/>
                      </a:lnTo>
                      <a:lnTo>
                        <a:pt x="2458" y="2463"/>
                      </a:lnTo>
                      <a:lnTo>
                        <a:pt x="2486" y="2426"/>
                      </a:lnTo>
                      <a:lnTo>
                        <a:pt x="2571" y="2389"/>
                      </a:lnTo>
                      <a:lnTo>
                        <a:pt x="2627" y="2389"/>
                      </a:lnTo>
                      <a:lnTo>
                        <a:pt x="2684" y="2389"/>
                      </a:lnTo>
                      <a:lnTo>
                        <a:pt x="2712" y="2389"/>
                      </a:lnTo>
                      <a:lnTo>
                        <a:pt x="2768" y="2351"/>
                      </a:lnTo>
                      <a:lnTo>
                        <a:pt x="2797" y="2314"/>
                      </a:lnTo>
                      <a:lnTo>
                        <a:pt x="2881" y="2351"/>
                      </a:lnTo>
                      <a:lnTo>
                        <a:pt x="2966" y="2426"/>
                      </a:lnTo>
                      <a:lnTo>
                        <a:pt x="3023" y="2501"/>
                      </a:lnTo>
                      <a:lnTo>
                        <a:pt x="3023" y="2538"/>
                      </a:lnTo>
                      <a:lnTo>
                        <a:pt x="2994" y="2575"/>
                      </a:lnTo>
                      <a:lnTo>
                        <a:pt x="2966" y="2575"/>
                      </a:lnTo>
                      <a:lnTo>
                        <a:pt x="2881" y="2575"/>
                      </a:lnTo>
                      <a:lnTo>
                        <a:pt x="2797" y="2538"/>
                      </a:lnTo>
                      <a:lnTo>
                        <a:pt x="2712" y="2538"/>
                      </a:lnTo>
                      <a:lnTo>
                        <a:pt x="2684" y="2538"/>
                      </a:lnTo>
                      <a:lnTo>
                        <a:pt x="2655" y="2538"/>
                      </a:lnTo>
                      <a:lnTo>
                        <a:pt x="2627" y="2538"/>
                      </a:lnTo>
                      <a:lnTo>
                        <a:pt x="2599" y="2575"/>
                      </a:lnTo>
                      <a:lnTo>
                        <a:pt x="2571" y="2612"/>
                      </a:lnTo>
                      <a:lnTo>
                        <a:pt x="2486" y="2575"/>
                      </a:lnTo>
                      <a:lnTo>
                        <a:pt x="2458" y="2575"/>
                      </a:lnTo>
                      <a:lnTo>
                        <a:pt x="2345" y="2575"/>
                      </a:lnTo>
                      <a:lnTo>
                        <a:pt x="2288" y="2612"/>
                      </a:lnTo>
                      <a:lnTo>
                        <a:pt x="2288" y="2650"/>
                      </a:lnTo>
                      <a:lnTo>
                        <a:pt x="2316" y="2687"/>
                      </a:lnTo>
                      <a:lnTo>
                        <a:pt x="2345" y="2687"/>
                      </a:lnTo>
                      <a:lnTo>
                        <a:pt x="2429" y="2687"/>
                      </a:lnTo>
                      <a:lnTo>
                        <a:pt x="2514" y="2687"/>
                      </a:lnTo>
                      <a:lnTo>
                        <a:pt x="2627" y="2724"/>
                      </a:lnTo>
                      <a:lnTo>
                        <a:pt x="2768" y="2724"/>
                      </a:lnTo>
                      <a:lnTo>
                        <a:pt x="2994" y="2799"/>
                      </a:lnTo>
                      <a:lnTo>
                        <a:pt x="3249" y="2874"/>
                      </a:lnTo>
                      <a:lnTo>
                        <a:pt x="3333" y="2911"/>
                      </a:lnTo>
                      <a:lnTo>
                        <a:pt x="3418" y="2986"/>
                      </a:lnTo>
                      <a:lnTo>
                        <a:pt x="3559" y="3098"/>
                      </a:lnTo>
                      <a:lnTo>
                        <a:pt x="3785" y="3284"/>
                      </a:lnTo>
                      <a:lnTo>
                        <a:pt x="3814" y="3284"/>
                      </a:lnTo>
                      <a:lnTo>
                        <a:pt x="3842" y="3247"/>
                      </a:lnTo>
                      <a:lnTo>
                        <a:pt x="3814" y="3135"/>
                      </a:lnTo>
                      <a:lnTo>
                        <a:pt x="3814" y="3060"/>
                      </a:lnTo>
                      <a:lnTo>
                        <a:pt x="3785" y="3023"/>
                      </a:lnTo>
                      <a:lnTo>
                        <a:pt x="3757" y="3023"/>
                      </a:lnTo>
                      <a:lnTo>
                        <a:pt x="3757" y="2986"/>
                      </a:lnTo>
                      <a:lnTo>
                        <a:pt x="3729" y="2948"/>
                      </a:lnTo>
                      <a:lnTo>
                        <a:pt x="3701" y="2948"/>
                      </a:lnTo>
                      <a:lnTo>
                        <a:pt x="3644" y="3023"/>
                      </a:lnTo>
                      <a:lnTo>
                        <a:pt x="3616" y="3023"/>
                      </a:lnTo>
                      <a:lnTo>
                        <a:pt x="3588" y="2986"/>
                      </a:lnTo>
                      <a:lnTo>
                        <a:pt x="3588" y="2948"/>
                      </a:lnTo>
                      <a:lnTo>
                        <a:pt x="3616" y="2874"/>
                      </a:lnTo>
                      <a:lnTo>
                        <a:pt x="3644" y="2836"/>
                      </a:lnTo>
                      <a:lnTo>
                        <a:pt x="3701" y="2762"/>
                      </a:lnTo>
                      <a:lnTo>
                        <a:pt x="3729" y="2762"/>
                      </a:lnTo>
                      <a:lnTo>
                        <a:pt x="3785" y="2799"/>
                      </a:lnTo>
                      <a:lnTo>
                        <a:pt x="3814" y="2874"/>
                      </a:lnTo>
                      <a:lnTo>
                        <a:pt x="3842" y="2911"/>
                      </a:lnTo>
                      <a:lnTo>
                        <a:pt x="3870" y="2911"/>
                      </a:lnTo>
                      <a:lnTo>
                        <a:pt x="3898" y="2911"/>
                      </a:lnTo>
                      <a:lnTo>
                        <a:pt x="3927" y="2911"/>
                      </a:lnTo>
                      <a:lnTo>
                        <a:pt x="3898" y="2986"/>
                      </a:lnTo>
                      <a:lnTo>
                        <a:pt x="3898" y="3023"/>
                      </a:lnTo>
                      <a:lnTo>
                        <a:pt x="3870" y="3098"/>
                      </a:lnTo>
                      <a:lnTo>
                        <a:pt x="3927" y="3172"/>
                      </a:lnTo>
                      <a:lnTo>
                        <a:pt x="3955" y="3172"/>
                      </a:lnTo>
                      <a:lnTo>
                        <a:pt x="4011" y="3172"/>
                      </a:lnTo>
                      <a:lnTo>
                        <a:pt x="4096" y="3247"/>
                      </a:lnTo>
                      <a:lnTo>
                        <a:pt x="4152" y="3247"/>
                      </a:lnTo>
                      <a:lnTo>
                        <a:pt x="4181" y="3210"/>
                      </a:lnTo>
                      <a:lnTo>
                        <a:pt x="4237" y="3210"/>
                      </a:lnTo>
                      <a:lnTo>
                        <a:pt x="4265" y="3247"/>
                      </a:lnTo>
                      <a:lnTo>
                        <a:pt x="4294" y="3359"/>
                      </a:lnTo>
                      <a:lnTo>
                        <a:pt x="4350" y="3396"/>
                      </a:lnTo>
                      <a:lnTo>
                        <a:pt x="4350" y="3434"/>
                      </a:lnTo>
                      <a:lnTo>
                        <a:pt x="4294" y="3434"/>
                      </a:lnTo>
                      <a:lnTo>
                        <a:pt x="4068" y="3284"/>
                      </a:lnTo>
                      <a:lnTo>
                        <a:pt x="3983" y="3284"/>
                      </a:lnTo>
                      <a:lnTo>
                        <a:pt x="3955" y="3284"/>
                      </a:lnTo>
                      <a:lnTo>
                        <a:pt x="3955" y="3322"/>
                      </a:lnTo>
                      <a:lnTo>
                        <a:pt x="3983" y="3359"/>
                      </a:lnTo>
                      <a:lnTo>
                        <a:pt x="4294" y="3546"/>
                      </a:lnTo>
                      <a:lnTo>
                        <a:pt x="4322" y="3657"/>
                      </a:lnTo>
                      <a:lnTo>
                        <a:pt x="4350" y="3695"/>
                      </a:lnTo>
                      <a:lnTo>
                        <a:pt x="4378" y="3695"/>
                      </a:lnTo>
                      <a:lnTo>
                        <a:pt x="4463" y="3732"/>
                      </a:lnTo>
                      <a:lnTo>
                        <a:pt x="4548" y="3732"/>
                      </a:lnTo>
                      <a:lnTo>
                        <a:pt x="4576" y="3769"/>
                      </a:lnTo>
                      <a:lnTo>
                        <a:pt x="4576" y="3807"/>
                      </a:lnTo>
                      <a:lnTo>
                        <a:pt x="4633" y="3919"/>
                      </a:lnTo>
                      <a:lnTo>
                        <a:pt x="4689" y="3956"/>
                      </a:lnTo>
                      <a:lnTo>
                        <a:pt x="4746" y="4068"/>
                      </a:lnTo>
                      <a:lnTo>
                        <a:pt x="4746" y="4180"/>
                      </a:lnTo>
                      <a:lnTo>
                        <a:pt x="4746" y="4329"/>
                      </a:lnTo>
                      <a:lnTo>
                        <a:pt x="4717" y="4404"/>
                      </a:lnTo>
                      <a:lnTo>
                        <a:pt x="4689" y="4441"/>
                      </a:lnTo>
                      <a:lnTo>
                        <a:pt x="4661" y="4441"/>
                      </a:lnTo>
                      <a:lnTo>
                        <a:pt x="4604" y="4367"/>
                      </a:lnTo>
                      <a:lnTo>
                        <a:pt x="4576" y="4255"/>
                      </a:lnTo>
                      <a:lnTo>
                        <a:pt x="4576" y="4143"/>
                      </a:lnTo>
                      <a:lnTo>
                        <a:pt x="4576" y="3919"/>
                      </a:lnTo>
                      <a:lnTo>
                        <a:pt x="4548" y="3919"/>
                      </a:lnTo>
                      <a:lnTo>
                        <a:pt x="4520" y="3919"/>
                      </a:lnTo>
                      <a:lnTo>
                        <a:pt x="4520" y="3956"/>
                      </a:lnTo>
                      <a:lnTo>
                        <a:pt x="4491" y="4031"/>
                      </a:lnTo>
                      <a:lnTo>
                        <a:pt x="4491" y="4105"/>
                      </a:lnTo>
                      <a:lnTo>
                        <a:pt x="4491" y="4180"/>
                      </a:lnTo>
                      <a:lnTo>
                        <a:pt x="4520" y="4255"/>
                      </a:lnTo>
                      <a:lnTo>
                        <a:pt x="4548" y="4404"/>
                      </a:lnTo>
                      <a:lnTo>
                        <a:pt x="4633" y="4516"/>
                      </a:lnTo>
                      <a:lnTo>
                        <a:pt x="4661" y="4553"/>
                      </a:lnTo>
                      <a:lnTo>
                        <a:pt x="4689" y="4553"/>
                      </a:lnTo>
                      <a:lnTo>
                        <a:pt x="4746" y="4516"/>
                      </a:lnTo>
                      <a:lnTo>
                        <a:pt x="4774" y="4479"/>
                      </a:lnTo>
                      <a:lnTo>
                        <a:pt x="4830" y="4441"/>
                      </a:lnTo>
                      <a:lnTo>
                        <a:pt x="4887" y="4441"/>
                      </a:lnTo>
                      <a:lnTo>
                        <a:pt x="4943" y="4441"/>
                      </a:lnTo>
                      <a:lnTo>
                        <a:pt x="4972" y="4404"/>
                      </a:lnTo>
                      <a:lnTo>
                        <a:pt x="5028" y="4329"/>
                      </a:lnTo>
                      <a:lnTo>
                        <a:pt x="5056" y="4329"/>
                      </a:lnTo>
                      <a:lnTo>
                        <a:pt x="5169" y="4292"/>
                      </a:lnTo>
                      <a:lnTo>
                        <a:pt x="5282" y="4292"/>
                      </a:lnTo>
                      <a:lnTo>
                        <a:pt x="5367" y="4292"/>
                      </a:lnTo>
                      <a:lnTo>
                        <a:pt x="5395" y="4255"/>
                      </a:lnTo>
                      <a:lnTo>
                        <a:pt x="5395" y="4180"/>
                      </a:lnTo>
                      <a:lnTo>
                        <a:pt x="5424" y="4143"/>
                      </a:lnTo>
                      <a:lnTo>
                        <a:pt x="5452" y="4143"/>
                      </a:lnTo>
                      <a:lnTo>
                        <a:pt x="5480" y="4143"/>
                      </a:lnTo>
                      <a:lnTo>
                        <a:pt x="5508" y="4068"/>
                      </a:lnTo>
                      <a:lnTo>
                        <a:pt x="5537" y="4031"/>
                      </a:lnTo>
                      <a:lnTo>
                        <a:pt x="5593" y="4031"/>
                      </a:lnTo>
                      <a:lnTo>
                        <a:pt x="5621" y="4031"/>
                      </a:lnTo>
                      <a:lnTo>
                        <a:pt x="5593" y="4105"/>
                      </a:lnTo>
                      <a:lnTo>
                        <a:pt x="5593" y="4180"/>
                      </a:lnTo>
                      <a:lnTo>
                        <a:pt x="5621" y="4180"/>
                      </a:lnTo>
                      <a:lnTo>
                        <a:pt x="5678" y="4143"/>
                      </a:lnTo>
                      <a:lnTo>
                        <a:pt x="5763" y="4031"/>
                      </a:lnTo>
                      <a:lnTo>
                        <a:pt x="5932" y="3881"/>
                      </a:lnTo>
                      <a:lnTo>
                        <a:pt x="6102" y="3732"/>
                      </a:lnTo>
                      <a:lnTo>
                        <a:pt x="6215" y="3620"/>
                      </a:lnTo>
                      <a:lnTo>
                        <a:pt x="6271" y="3583"/>
                      </a:lnTo>
                      <a:lnTo>
                        <a:pt x="6299" y="3583"/>
                      </a:lnTo>
                      <a:lnTo>
                        <a:pt x="6328" y="3583"/>
                      </a:lnTo>
                      <a:lnTo>
                        <a:pt x="6356" y="3546"/>
                      </a:lnTo>
                      <a:lnTo>
                        <a:pt x="6412" y="3546"/>
                      </a:lnTo>
                      <a:lnTo>
                        <a:pt x="6412" y="3508"/>
                      </a:lnTo>
                      <a:lnTo>
                        <a:pt x="6469" y="3546"/>
                      </a:lnTo>
                      <a:lnTo>
                        <a:pt x="6497" y="3583"/>
                      </a:lnTo>
                      <a:lnTo>
                        <a:pt x="6582" y="3583"/>
                      </a:lnTo>
                      <a:lnTo>
                        <a:pt x="6610" y="3546"/>
                      </a:lnTo>
                      <a:lnTo>
                        <a:pt x="6638" y="3508"/>
                      </a:lnTo>
                      <a:lnTo>
                        <a:pt x="6638" y="3471"/>
                      </a:lnTo>
                      <a:lnTo>
                        <a:pt x="6582" y="3434"/>
                      </a:lnTo>
                      <a:lnTo>
                        <a:pt x="6497" y="3434"/>
                      </a:lnTo>
                      <a:lnTo>
                        <a:pt x="6469" y="3396"/>
                      </a:lnTo>
                      <a:lnTo>
                        <a:pt x="6469" y="3359"/>
                      </a:lnTo>
                      <a:lnTo>
                        <a:pt x="6525" y="3359"/>
                      </a:lnTo>
                      <a:lnTo>
                        <a:pt x="6582" y="3359"/>
                      </a:lnTo>
                      <a:lnTo>
                        <a:pt x="6582" y="3322"/>
                      </a:lnTo>
                      <a:lnTo>
                        <a:pt x="6525" y="3247"/>
                      </a:lnTo>
                      <a:lnTo>
                        <a:pt x="6525" y="3210"/>
                      </a:lnTo>
                      <a:lnTo>
                        <a:pt x="6582" y="3098"/>
                      </a:lnTo>
                      <a:lnTo>
                        <a:pt x="6610" y="3098"/>
                      </a:lnTo>
                      <a:lnTo>
                        <a:pt x="6695" y="3060"/>
                      </a:lnTo>
                      <a:lnTo>
                        <a:pt x="6723" y="3060"/>
                      </a:lnTo>
                      <a:lnTo>
                        <a:pt x="6723" y="3023"/>
                      </a:lnTo>
                      <a:lnTo>
                        <a:pt x="6723" y="2948"/>
                      </a:lnTo>
                      <a:lnTo>
                        <a:pt x="6780" y="2948"/>
                      </a:lnTo>
                      <a:lnTo>
                        <a:pt x="6808" y="2948"/>
                      </a:lnTo>
                      <a:lnTo>
                        <a:pt x="6836" y="2911"/>
                      </a:lnTo>
                      <a:lnTo>
                        <a:pt x="6921" y="2948"/>
                      </a:lnTo>
                      <a:lnTo>
                        <a:pt x="6977" y="2986"/>
                      </a:lnTo>
                      <a:lnTo>
                        <a:pt x="7006" y="2948"/>
                      </a:lnTo>
                      <a:lnTo>
                        <a:pt x="7062" y="2911"/>
                      </a:lnTo>
                      <a:lnTo>
                        <a:pt x="7119" y="2911"/>
                      </a:lnTo>
                      <a:close/>
                    </a:path>
                  </a:pathLst>
                </a:custGeom>
                <a:solidFill>
                  <a:srgbClr val="0070C0"/>
                </a:solidFill>
                <a:ln w="9525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defTabSz="121917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30" name="Georgia">
                  <a:extLst>
                    <a:ext uri="{FF2B5EF4-FFF2-40B4-BE49-F238E27FC236}">
                      <a16:creationId xmlns:a16="http://schemas.microsoft.com/office/drawing/2014/main" id="{CAC30A43-F3E9-585D-76F1-82FBBCC1EBB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2212301" y="11344274"/>
                  <a:ext cx="3238499" cy="3209926"/>
                </a:xfrm>
                <a:custGeom>
                  <a:avLst/>
                  <a:gdLst>
                    <a:gd name="T0" fmla="*/ 2147483647 w 16384"/>
                    <a:gd name="T1" fmla="*/ 2147483647 h 16384"/>
                    <a:gd name="T2" fmla="*/ 2147483647 w 16384"/>
                    <a:gd name="T3" fmla="*/ 2147483647 h 16384"/>
                    <a:gd name="T4" fmla="*/ 2147483647 w 16384"/>
                    <a:gd name="T5" fmla="*/ 2147483647 h 16384"/>
                    <a:gd name="T6" fmla="*/ 2147483647 w 16384"/>
                    <a:gd name="T7" fmla="*/ 2147483647 h 16384"/>
                    <a:gd name="T8" fmla="*/ 2147483647 w 16384"/>
                    <a:gd name="T9" fmla="*/ 2147483647 h 16384"/>
                    <a:gd name="T10" fmla="*/ 2147483647 w 16384"/>
                    <a:gd name="T11" fmla="*/ 2147483647 h 16384"/>
                    <a:gd name="T12" fmla="*/ 2147483647 w 16384"/>
                    <a:gd name="T13" fmla="*/ 2147483647 h 16384"/>
                    <a:gd name="T14" fmla="*/ 2147483647 w 16384"/>
                    <a:gd name="T15" fmla="*/ 2147483647 h 16384"/>
                    <a:gd name="T16" fmla="*/ 2147483647 w 16384"/>
                    <a:gd name="T17" fmla="*/ 2147483647 h 16384"/>
                    <a:gd name="T18" fmla="*/ 2147483647 w 16384"/>
                    <a:gd name="T19" fmla="*/ 2147483647 h 16384"/>
                    <a:gd name="T20" fmla="*/ 2147483647 w 16384"/>
                    <a:gd name="T21" fmla="*/ 2147483647 h 16384"/>
                    <a:gd name="T22" fmla="*/ 2147483647 w 16384"/>
                    <a:gd name="T23" fmla="*/ 2147483647 h 16384"/>
                    <a:gd name="T24" fmla="*/ 2147483647 w 16384"/>
                    <a:gd name="T25" fmla="*/ 2147483647 h 16384"/>
                    <a:gd name="T26" fmla="*/ 2147483647 w 16384"/>
                    <a:gd name="T27" fmla="*/ 2147483647 h 16384"/>
                    <a:gd name="T28" fmla="*/ 2147483647 w 16384"/>
                    <a:gd name="T29" fmla="*/ 2147483647 h 16384"/>
                    <a:gd name="T30" fmla="*/ 2147483647 w 16384"/>
                    <a:gd name="T31" fmla="*/ 2147483647 h 16384"/>
                    <a:gd name="T32" fmla="*/ 2147483647 w 16384"/>
                    <a:gd name="T33" fmla="*/ 2147483647 h 16384"/>
                    <a:gd name="T34" fmla="*/ 2147483647 w 16384"/>
                    <a:gd name="T35" fmla="*/ 2147483647 h 16384"/>
                    <a:gd name="T36" fmla="*/ 2147483647 w 16384"/>
                    <a:gd name="T37" fmla="*/ 2147483647 h 16384"/>
                    <a:gd name="T38" fmla="*/ 2147483647 w 16384"/>
                    <a:gd name="T39" fmla="*/ 2147483647 h 16384"/>
                    <a:gd name="T40" fmla="*/ 2147483647 w 16384"/>
                    <a:gd name="T41" fmla="*/ 2147483647 h 16384"/>
                    <a:gd name="T42" fmla="*/ 2147483647 w 16384"/>
                    <a:gd name="T43" fmla="*/ 2147483647 h 16384"/>
                    <a:gd name="T44" fmla="*/ 2147483647 w 16384"/>
                    <a:gd name="T45" fmla="*/ 2147483647 h 16384"/>
                    <a:gd name="T46" fmla="*/ 2147483647 w 16384"/>
                    <a:gd name="T47" fmla="*/ 2147483647 h 16384"/>
                    <a:gd name="T48" fmla="*/ 2147483647 w 16384"/>
                    <a:gd name="T49" fmla="*/ 2147483647 h 16384"/>
                    <a:gd name="T50" fmla="*/ 2147483647 w 16384"/>
                    <a:gd name="T51" fmla="*/ 2147483647 h 16384"/>
                    <a:gd name="T52" fmla="*/ 2147483647 w 16384"/>
                    <a:gd name="T53" fmla="*/ 2147483647 h 16384"/>
                    <a:gd name="T54" fmla="*/ 2147483647 w 16384"/>
                    <a:gd name="T55" fmla="*/ 2147483647 h 16384"/>
                    <a:gd name="T56" fmla="*/ 2147483647 w 16384"/>
                    <a:gd name="T57" fmla="*/ 2147483647 h 16384"/>
                    <a:gd name="T58" fmla="*/ 2147483647 w 16384"/>
                    <a:gd name="T59" fmla="*/ 2147483647 h 16384"/>
                    <a:gd name="T60" fmla="*/ 2147483647 w 16384"/>
                    <a:gd name="T61" fmla="*/ 2147483647 h 16384"/>
                    <a:gd name="T62" fmla="*/ 2147483647 w 16384"/>
                    <a:gd name="T63" fmla="*/ 2147483647 h 16384"/>
                    <a:gd name="T64" fmla="*/ 2147483647 w 16384"/>
                    <a:gd name="T65" fmla="*/ 2147483647 h 16384"/>
                    <a:gd name="T66" fmla="*/ 2147483647 w 16384"/>
                    <a:gd name="T67" fmla="*/ 2147483647 h 16384"/>
                    <a:gd name="T68" fmla="*/ 2147483647 w 16384"/>
                    <a:gd name="T69" fmla="*/ 2147483647 h 16384"/>
                    <a:gd name="T70" fmla="*/ 2147483647 w 16384"/>
                    <a:gd name="T71" fmla="*/ 2147483647 h 16384"/>
                    <a:gd name="T72" fmla="*/ 2147483647 w 16384"/>
                    <a:gd name="T73" fmla="*/ 2147483647 h 16384"/>
                    <a:gd name="T74" fmla="*/ 2147483647 w 16384"/>
                    <a:gd name="T75" fmla="*/ 2147483647 h 16384"/>
                    <a:gd name="T76" fmla="*/ 2147483647 w 16384"/>
                    <a:gd name="T77" fmla="*/ 2147483647 h 16384"/>
                    <a:gd name="T78" fmla="*/ 2147483647 w 16384"/>
                    <a:gd name="T79" fmla="*/ 2147483647 h 16384"/>
                    <a:gd name="T80" fmla="*/ 2147483647 w 16384"/>
                    <a:gd name="T81" fmla="*/ 2147483647 h 16384"/>
                    <a:gd name="T82" fmla="*/ 2147483647 w 16384"/>
                    <a:gd name="T83" fmla="*/ 2147483647 h 16384"/>
                    <a:gd name="T84" fmla="*/ 2147483647 w 16384"/>
                    <a:gd name="T85" fmla="*/ 2147483647 h 16384"/>
                    <a:gd name="T86" fmla="*/ 2147483647 w 16384"/>
                    <a:gd name="T87" fmla="*/ 2147483647 h 16384"/>
                    <a:gd name="T88" fmla="*/ 2147483647 w 16384"/>
                    <a:gd name="T89" fmla="*/ 2147483647 h 16384"/>
                    <a:gd name="T90" fmla="*/ 2147483647 w 16384"/>
                    <a:gd name="T91" fmla="*/ 2147483647 h 16384"/>
                    <a:gd name="T92" fmla="*/ 2147483647 w 16384"/>
                    <a:gd name="T93" fmla="*/ 2147483647 h 16384"/>
                    <a:gd name="T94" fmla="*/ 2147483647 w 16384"/>
                    <a:gd name="T95" fmla="*/ 2147483647 h 16384"/>
                    <a:gd name="T96" fmla="*/ 2147483647 w 16384"/>
                    <a:gd name="T97" fmla="*/ 2147483647 h 16384"/>
                    <a:gd name="T98" fmla="*/ 2147483647 w 16384"/>
                    <a:gd name="T99" fmla="*/ 2147483647 h 16384"/>
                    <a:gd name="T100" fmla="*/ 2147483647 w 16384"/>
                    <a:gd name="T101" fmla="*/ 2147483647 h 16384"/>
                    <a:gd name="T102" fmla="*/ 2147483647 w 16384"/>
                    <a:gd name="T103" fmla="*/ 2147483647 h 16384"/>
                    <a:gd name="T104" fmla="*/ 2147483647 w 16384"/>
                    <a:gd name="T105" fmla="*/ 2147483647 h 16384"/>
                    <a:gd name="T106" fmla="*/ 2147483647 w 16384"/>
                    <a:gd name="T107" fmla="*/ 2147483647 h 16384"/>
                    <a:gd name="T108" fmla="*/ 0 w 16384"/>
                    <a:gd name="T109" fmla="*/ 2147483647 h 16384"/>
                    <a:gd name="T110" fmla="*/ 2147483647 w 16384"/>
                    <a:gd name="T111" fmla="*/ 2147483647 h 16384"/>
                    <a:gd name="T112" fmla="*/ 2147483647 w 16384"/>
                    <a:gd name="T113" fmla="*/ 2147483647 h 16384"/>
                    <a:gd name="T114" fmla="*/ 2147483647 w 16384"/>
                    <a:gd name="T115" fmla="*/ 2147483647 h 16384"/>
                    <a:gd name="T116" fmla="*/ 2147483647 w 16384"/>
                    <a:gd name="T117" fmla="*/ 2147483647 h 16384"/>
                    <a:gd name="T118" fmla="*/ 2147483647 w 16384"/>
                    <a:gd name="T119" fmla="*/ 2147483647 h 16384"/>
                    <a:gd name="T120" fmla="*/ 2147483647 w 16384"/>
                    <a:gd name="T121" fmla="*/ 2147483647 h 16384"/>
                    <a:gd name="T122" fmla="*/ 2147483647 w 16384"/>
                    <a:gd name="T123" fmla="*/ 2147483647 h 16384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60000 65536"/>
                    <a:gd name="T178" fmla="*/ 0 60000 65536"/>
                    <a:gd name="T179" fmla="*/ 0 60000 65536"/>
                    <a:gd name="T180" fmla="*/ 0 60000 65536"/>
                    <a:gd name="T181" fmla="*/ 0 60000 65536"/>
                    <a:gd name="T182" fmla="*/ 0 60000 65536"/>
                    <a:gd name="T183" fmla="*/ 0 60000 65536"/>
                    <a:gd name="T184" fmla="*/ 0 60000 65536"/>
                    <a:gd name="T185" fmla="*/ 0 60000 65536"/>
                    <a:gd name="T186" fmla="*/ 0 w 16384"/>
                    <a:gd name="T187" fmla="*/ 0 h 16384"/>
                    <a:gd name="T188" fmla="*/ 16384 w 16384"/>
                    <a:gd name="T189" fmla="*/ 16384 h 16384"/>
                  </a:gdLst>
                  <a:ahLst/>
                  <a:cxnLst>
                    <a:cxn ang="T124">
                      <a:pos x="T0" y="T1"/>
                    </a:cxn>
                    <a:cxn ang="T125">
                      <a:pos x="T2" y="T3"/>
                    </a:cxn>
                    <a:cxn ang="T126">
                      <a:pos x="T4" y="T5"/>
                    </a:cxn>
                    <a:cxn ang="T127">
                      <a:pos x="T6" y="T7"/>
                    </a:cxn>
                    <a:cxn ang="T128">
                      <a:pos x="T8" y="T9"/>
                    </a:cxn>
                    <a:cxn ang="T129">
                      <a:pos x="T10" y="T11"/>
                    </a:cxn>
                    <a:cxn ang="T130">
                      <a:pos x="T12" y="T13"/>
                    </a:cxn>
                    <a:cxn ang="T131">
                      <a:pos x="T14" y="T15"/>
                    </a:cxn>
                    <a:cxn ang="T132">
                      <a:pos x="T16" y="T17"/>
                    </a:cxn>
                    <a:cxn ang="T133">
                      <a:pos x="T18" y="T19"/>
                    </a:cxn>
                    <a:cxn ang="T134">
                      <a:pos x="T20" y="T21"/>
                    </a:cxn>
                    <a:cxn ang="T135">
                      <a:pos x="T22" y="T23"/>
                    </a:cxn>
                    <a:cxn ang="T136">
                      <a:pos x="T24" y="T25"/>
                    </a:cxn>
                    <a:cxn ang="T137">
                      <a:pos x="T26" y="T27"/>
                    </a:cxn>
                    <a:cxn ang="T138">
                      <a:pos x="T28" y="T29"/>
                    </a:cxn>
                    <a:cxn ang="T139">
                      <a:pos x="T30" y="T31"/>
                    </a:cxn>
                    <a:cxn ang="T140">
                      <a:pos x="T32" y="T33"/>
                    </a:cxn>
                    <a:cxn ang="T141">
                      <a:pos x="T34" y="T35"/>
                    </a:cxn>
                    <a:cxn ang="T142">
                      <a:pos x="T36" y="T37"/>
                    </a:cxn>
                    <a:cxn ang="T143">
                      <a:pos x="T38" y="T39"/>
                    </a:cxn>
                    <a:cxn ang="T144">
                      <a:pos x="T40" y="T41"/>
                    </a:cxn>
                    <a:cxn ang="T145">
                      <a:pos x="T42" y="T43"/>
                    </a:cxn>
                    <a:cxn ang="T146">
                      <a:pos x="T44" y="T45"/>
                    </a:cxn>
                    <a:cxn ang="T147">
                      <a:pos x="T46" y="T47"/>
                    </a:cxn>
                    <a:cxn ang="T148">
                      <a:pos x="T48" y="T49"/>
                    </a:cxn>
                    <a:cxn ang="T149">
                      <a:pos x="T50" y="T51"/>
                    </a:cxn>
                    <a:cxn ang="T150">
                      <a:pos x="T52" y="T53"/>
                    </a:cxn>
                    <a:cxn ang="T151">
                      <a:pos x="T54" y="T55"/>
                    </a:cxn>
                    <a:cxn ang="T152">
                      <a:pos x="T56" y="T57"/>
                    </a:cxn>
                    <a:cxn ang="T153">
                      <a:pos x="T58" y="T59"/>
                    </a:cxn>
                    <a:cxn ang="T154">
                      <a:pos x="T60" y="T61"/>
                    </a:cxn>
                    <a:cxn ang="T155">
                      <a:pos x="T62" y="T63"/>
                    </a:cxn>
                    <a:cxn ang="T156">
                      <a:pos x="T64" y="T65"/>
                    </a:cxn>
                    <a:cxn ang="T157">
                      <a:pos x="T66" y="T67"/>
                    </a:cxn>
                    <a:cxn ang="T158">
                      <a:pos x="T68" y="T69"/>
                    </a:cxn>
                    <a:cxn ang="T159">
                      <a:pos x="T70" y="T71"/>
                    </a:cxn>
                    <a:cxn ang="T160">
                      <a:pos x="T72" y="T73"/>
                    </a:cxn>
                    <a:cxn ang="T161">
                      <a:pos x="T74" y="T75"/>
                    </a:cxn>
                    <a:cxn ang="T162">
                      <a:pos x="T76" y="T77"/>
                    </a:cxn>
                    <a:cxn ang="T163">
                      <a:pos x="T78" y="T79"/>
                    </a:cxn>
                    <a:cxn ang="T164">
                      <a:pos x="T80" y="T81"/>
                    </a:cxn>
                    <a:cxn ang="T165">
                      <a:pos x="T82" y="T83"/>
                    </a:cxn>
                    <a:cxn ang="T166">
                      <a:pos x="T84" y="T85"/>
                    </a:cxn>
                    <a:cxn ang="T167">
                      <a:pos x="T86" y="T87"/>
                    </a:cxn>
                    <a:cxn ang="T168">
                      <a:pos x="T88" y="T89"/>
                    </a:cxn>
                    <a:cxn ang="T169">
                      <a:pos x="T90" y="T91"/>
                    </a:cxn>
                    <a:cxn ang="T170">
                      <a:pos x="T92" y="T93"/>
                    </a:cxn>
                    <a:cxn ang="T171">
                      <a:pos x="T94" y="T95"/>
                    </a:cxn>
                    <a:cxn ang="T172">
                      <a:pos x="T96" y="T97"/>
                    </a:cxn>
                    <a:cxn ang="T173">
                      <a:pos x="T98" y="T99"/>
                    </a:cxn>
                    <a:cxn ang="T174">
                      <a:pos x="T100" y="T101"/>
                    </a:cxn>
                    <a:cxn ang="T175">
                      <a:pos x="T102" y="T103"/>
                    </a:cxn>
                    <a:cxn ang="T176">
                      <a:pos x="T104" y="T105"/>
                    </a:cxn>
                    <a:cxn ang="T177">
                      <a:pos x="T106" y="T107"/>
                    </a:cxn>
                    <a:cxn ang="T178">
                      <a:pos x="T108" y="T109"/>
                    </a:cxn>
                    <a:cxn ang="T179">
                      <a:pos x="T110" y="T111"/>
                    </a:cxn>
                    <a:cxn ang="T180">
                      <a:pos x="T112" y="T113"/>
                    </a:cxn>
                    <a:cxn ang="T181">
                      <a:pos x="T114" y="T115"/>
                    </a:cxn>
                    <a:cxn ang="T182">
                      <a:pos x="T116" y="T117"/>
                    </a:cxn>
                    <a:cxn ang="T183">
                      <a:pos x="T118" y="T119"/>
                    </a:cxn>
                    <a:cxn ang="T184">
                      <a:pos x="T120" y="T121"/>
                    </a:cxn>
                    <a:cxn ang="T185">
                      <a:pos x="T122" y="T123"/>
                    </a:cxn>
                  </a:cxnLst>
                  <a:rect l="T186" t="T187" r="T188" b="T189"/>
                  <a:pathLst>
                    <a:path w="16384" h="16384">
                      <a:moveTo>
                        <a:pt x="2927" y="11762"/>
                      </a:moveTo>
                      <a:lnTo>
                        <a:pt x="2833" y="11853"/>
                      </a:lnTo>
                      <a:lnTo>
                        <a:pt x="2739" y="12128"/>
                      </a:lnTo>
                      <a:lnTo>
                        <a:pt x="2786" y="12402"/>
                      </a:lnTo>
                      <a:lnTo>
                        <a:pt x="2833" y="12448"/>
                      </a:lnTo>
                      <a:lnTo>
                        <a:pt x="2833" y="12631"/>
                      </a:lnTo>
                      <a:lnTo>
                        <a:pt x="2927" y="12769"/>
                      </a:lnTo>
                      <a:lnTo>
                        <a:pt x="3069" y="13043"/>
                      </a:lnTo>
                      <a:lnTo>
                        <a:pt x="3163" y="13180"/>
                      </a:lnTo>
                      <a:lnTo>
                        <a:pt x="3116" y="13363"/>
                      </a:lnTo>
                      <a:lnTo>
                        <a:pt x="3116" y="13501"/>
                      </a:lnTo>
                      <a:lnTo>
                        <a:pt x="3116" y="13638"/>
                      </a:lnTo>
                      <a:lnTo>
                        <a:pt x="3116" y="13775"/>
                      </a:lnTo>
                      <a:lnTo>
                        <a:pt x="3116" y="14050"/>
                      </a:lnTo>
                      <a:lnTo>
                        <a:pt x="3116" y="14187"/>
                      </a:lnTo>
                      <a:lnTo>
                        <a:pt x="3069" y="14233"/>
                      </a:lnTo>
                      <a:lnTo>
                        <a:pt x="3069" y="14370"/>
                      </a:lnTo>
                      <a:lnTo>
                        <a:pt x="3116" y="14553"/>
                      </a:lnTo>
                      <a:lnTo>
                        <a:pt x="3163" y="14645"/>
                      </a:lnTo>
                      <a:lnTo>
                        <a:pt x="3258" y="14736"/>
                      </a:lnTo>
                      <a:lnTo>
                        <a:pt x="3400" y="14828"/>
                      </a:lnTo>
                      <a:lnTo>
                        <a:pt x="3400" y="14920"/>
                      </a:lnTo>
                      <a:lnTo>
                        <a:pt x="3447" y="14965"/>
                      </a:lnTo>
                      <a:lnTo>
                        <a:pt x="3447" y="15057"/>
                      </a:lnTo>
                      <a:lnTo>
                        <a:pt x="3541" y="15240"/>
                      </a:lnTo>
                      <a:lnTo>
                        <a:pt x="3588" y="15377"/>
                      </a:lnTo>
                      <a:lnTo>
                        <a:pt x="3683" y="15469"/>
                      </a:lnTo>
                      <a:lnTo>
                        <a:pt x="3777" y="15560"/>
                      </a:lnTo>
                      <a:lnTo>
                        <a:pt x="3825" y="15606"/>
                      </a:lnTo>
                      <a:lnTo>
                        <a:pt x="3825" y="15698"/>
                      </a:lnTo>
                      <a:lnTo>
                        <a:pt x="3872" y="15972"/>
                      </a:lnTo>
                      <a:lnTo>
                        <a:pt x="4013" y="16109"/>
                      </a:lnTo>
                      <a:lnTo>
                        <a:pt x="4108" y="16155"/>
                      </a:lnTo>
                      <a:lnTo>
                        <a:pt x="4155" y="16201"/>
                      </a:lnTo>
                      <a:lnTo>
                        <a:pt x="5713" y="16109"/>
                      </a:lnTo>
                      <a:lnTo>
                        <a:pt x="5949" y="16109"/>
                      </a:lnTo>
                      <a:lnTo>
                        <a:pt x="6657" y="16064"/>
                      </a:lnTo>
                      <a:lnTo>
                        <a:pt x="6941" y="16064"/>
                      </a:lnTo>
                      <a:lnTo>
                        <a:pt x="7743" y="15972"/>
                      </a:lnTo>
                      <a:lnTo>
                        <a:pt x="8310" y="15972"/>
                      </a:lnTo>
                      <a:lnTo>
                        <a:pt x="8971" y="15926"/>
                      </a:lnTo>
                      <a:lnTo>
                        <a:pt x="9302" y="15926"/>
                      </a:lnTo>
                      <a:lnTo>
                        <a:pt x="9821" y="15881"/>
                      </a:lnTo>
                      <a:lnTo>
                        <a:pt x="11190" y="15789"/>
                      </a:lnTo>
                      <a:lnTo>
                        <a:pt x="11521" y="15789"/>
                      </a:lnTo>
                      <a:lnTo>
                        <a:pt x="11993" y="15743"/>
                      </a:lnTo>
                      <a:lnTo>
                        <a:pt x="12796" y="15698"/>
                      </a:lnTo>
                      <a:lnTo>
                        <a:pt x="12796" y="15789"/>
                      </a:lnTo>
                      <a:lnTo>
                        <a:pt x="12748" y="15835"/>
                      </a:lnTo>
                      <a:lnTo>
                        <a:pt x="12796" y="15881"/>
                      </a:lnTo>
                      <a:lnTo>
                        <a:pt x="12843" y="15926"/>
                      </a:lnTo>
                      <a:lnTo>
                        <a:pt x="12843" y="16018"/>
                      </a:lnTo>
                      <a:lnTo>
                        <a:pt x="12937" y="16292"/>
                      </a:lnTo>
                      <a:lnTo>
                        <a:pt x="12984" y="16384"/>
                      </a:lnTo>
                      <a:lnTo>
                        <a:pt x="13079" y="16384"/>
                      </a:lnTo>
                      <a:lnTo>
                        <a:pt x="13221" y="16384"/>
                      </a:lnTo>
                      <a:lnTo>
                        <a:pt x="13315" y="16384"/>
                      </a:lnTo>
                      <a:lnTo>
                        <a:pt x="13457" y="16338"/>
                      </a:lnTo>
                      <a:lnTo>
                        <a:pt x="13457" y="16247"/>
                      </a:lnTo>
                      <a:lnTo>
                        <a:pt x="13457" y="16018"/>
                      </a:lnTo>
                      <a:lnTo>
                        <a:pt x="13409" y="15743"/>
                      </a:lnTo>
                      <a:lnTo>
                        <a:pt x="13409" y="15606"/>
                      </a:lnTo>
                      <a:lnTo>
                        <a:pt x="13409" y="15514"/>
                      </a:lnTo>
                      <a:lnTo>
                        <a:pt x="13315" y="15423"/>
                      </a:lnTo>
                      <a:lnTo>
                        <a:pt x="13221" y="15103"/>
                      </a:lnTo>
                      <a:lnTo>
                        <a:pt x="13221" y="15011"/>
                      </a:lnTo>
                      <a:lnTo>
                        <a:pt x="13221" y="14920"/>
                      </a:lnTo>
                      <a:lnTo>
                        <a:pt x="13268" y="14874"/>
                      </a:lnTo>
                      <a:lnTo>
                        <a:pt x="13268" y="14782"/>
                      </a:lnTo>
                      <a:lnTo>
                        <a:pt x="13315" y="14736"/>
                      </a:lnTo>
                      <a:lnTo>
                        <a:pt x="13409" y="14736"/>
                      </a:lnTo>
                      <a:lnTo>
                        <a:pt x="13457" y="14736"/>
                      </a:lnTo>
                      <a:lnTo>
                        <a:pt x="13457" y="14691"/>
                      </a:lnTo>
                      <a:lnTo>
                        <a:pt x="13504" y="14599"/>
                      </a:lnTo>
                      <a:lnTo>
                        <a:pt x="13598" y="14599"/>
                      </a:lnTo>
                      <a:lnTo>
                        <a:pt x="13693" y="14553"/>
                      </a:lnTo>
                      <a:lnTo>
                        <a:pt x="13740" y="14645"/>
                      </a:lnTo>
                      <a:lnTo>
                        <a:pt x="13882" y="14691"/>
                      </a:lnTo>
                      <a:lnTo>
                        <a:pt x="14023" y="14691"/>
                      </a:lnTo>
                      <a:lnTo>
                        <a:pt x="14118" y="14736"/>
                      </a:lnTo>
                      <a:lnTo>
                        <a:pt x="14212" y="14691"/>
                      </a:lnTo>
                      <a:lnTo>
                        <a:pt x="14259" y="14736"/>
                      </a:lnTo>
                      <a:lnTo>
                        <a:pt x="14401" y="14828"/>
                      </a:lnTo>
                      <a:lnTo>
                        <a:pt x="14448" y="14782"/>
                      </a:lnTo>
                      <a:lnTo>
                        <a:pt x="14495" y="14782"/>
                      </a:lnTo>
                      <a:lnTo>
                        <a:pt x="14590" y="14828"/>
                      </a:lnTo>
                      <a:lnTo>
                        <a:pt x="14684" y="14828"/>
                      </a:lnTo>
                      <a:lnTo>
                        <a:pt x="14826" y="14828"/>
                      </a:lnTo>
                      <a:lnTo>
                        <a:pt x="14968" y="14782"/>
                      </a:lnTo>
                      <a:lnTo>
                        <a:pt x="15015" y="14645"/>
                      </a:lnTo>
                      <a:lnTo>
                        <a:pt x="15015" y="14599"/>
                      </a:lnTo>
                      <a:lnTo>
                        <a:pt x="14920" y="14462"/>
                      </a:lnTo>
                      <a:lnTo>
                        <a:pt x="14873" y="14416"/>
                      </a:lnTo>
                      <a:lnTo>
                        <a:pt x="14920" y="14370"/>
                      </a:lnTo>
                      <a:lnTo>
                        <a:pt x="14920" y="14279"/>
                      </a:lnTo>
                      <a:lnTo>
                        <a:pt x="14920" y="14187"/>
                      </a:lnTo>
                      <a:lnTo>
                        <a:pt x="14920" y="14141"/>
                      </a:lnTo>
                      <a:lnTo>
                        <a:pt x="14968" y="14050"/>
                      </a:lnTo>
                      <a:lnTo>
                        <a:pt x="15062" y="13958"/>
                      </a:lnTo>
                      <a:lnTo>
                        <a:pt x="15062" y="13913"/>
                      </a:lnTo>
                      <a:lnTo>
                        <a:pt x="15015" y="13867"/>
                      </a:lnTo>
                      <a:lnTo>
                        <a:pt x="14968" y="13867"/>
                      </a:lnTo>
                      <a:lnTo>
                        <a:pt x="14873" y="13913"/>
                      </a:lnTo>
                      <a:lnTo>
                        <a:pt x="14826" y="13867"/>
                      </a:lnTo>
                      <a:lnTo>
                        <a:pt x="14826" y="13821"/>
                      </a:lnTo>
                      <a:lnTo>
                        <a:pt x="14873" y="13775"/>
                      </a:lnTo>
                      <a:lnTo>
                        <a:pt x="14968" y="13775"/>
                      </a:lnTo>
                      <a:lnTo>
                        <a:pt x="14968" y="13730"/>
                      </a:lnTo>
                      <a:lnTo>
                        <a:pt x="15015" y="13684"/>
                      </a:lnTo>
                      <a:lnTo>
                        <a:pt x="15109" y="13638"/>
                      </a:lnTo>
                      <a:lnTo>
                        <a:pt x="15156" y="13592"/>
                      </a:lnTo>
                      <a:lnTo>
                        <a:pt x="15156" y="13501"/>
                      </a:lnTo>
                      <a:lnTo>
                        <a:pt x="15109" y="13409"/>
                      </a:lnTo>
                      <a:lnTo>
                        <a:pt x="15109" y="13363"/>
                      </a:lnTo>
                      <a:lnTo>
                        <a:pt x="15062" y="13318"/>
                      </a:lnTo>
                      <a:lnTo>
                        <a:pt x="15062" y="13363"/>
                      </a:lnTo>
                      <a:lnTo>
                        <a:pt x="15015" y="13501"/>
                      </a:lnTo>
                      <a:lnTo>
                        <a:pt x="15015" y="13547"/>
                      </a:lnTo>
                      <a:lnTo>
                        <a:pt x="14920" y="13638"/>
                      </a:lnTo>
                      <a:lnTo>
                        <a:pt x="14873" y="13547"/>
                      </a:lnTo>
                      <a:lnTo>
                        <a:pt x="14826" y="13409"/>
                      </a:lnTo>
                      <a:lnTo>
                        <a:pt x="14779" y="13409"/>
                      </a:lnTo>
                      <a:lnTo>
                        <a:pt x="14684" y="13363"/>
                      </a:lnTo>
                      <a:lnTo>
                        <a:pt x="14684" y="13318"/>
                      </a:lnTo>
                      <a:lnTo>
                        <a:pt x="14684" y="13226"/>
                      </a:lnTo>
                      <a:lnTo>
                        <a:pt x="14637" y="13180"/>
                      </a:lnTo>
                      <a:lnTo>
                        <a:pt x="14637" y="13135"/>
                      </a:lnTo>
                      <a:lnTo>
                        <a:pt x="14684" y="13135"/>
                      </a:lnTo>
                      <a:lnTo>
                        <a:pt x="14731" y="13180"/>
                      </a:lnTo>
                      <a:lnTo>
                        <a:pt x="14873" y="13272"/>
                      </a:lnTo>
                      <a:lnTo>
                        <a:pt x="14920" y="13272"/>
                      </a:lnTo>
                      <a:lnTo>
                        <a:pt x="14968" y="13272"/>
                      </a:lnTo>
                      <a:lnTo>
                        <a:pt x="14968" y="13226"/>
                      </a:lnTo>
                      <a:lnTo>
                        <a:pt x="14920" y="13043"/>
                      </a:lnTo>
                      <a:lnTo>
                        <a:pt x="14920" y="12952"/>
                      </a:lnTo>
                      <a:lnTo>
                        <a:pt x="14968" y="12906"/>
                      </a:lnTo>
                      <a:lnTo>
                        <a:pt x="15015" y="12814"/>
                      </a:lnTo>
                      <a:lnTo>
                        <a:pt x="15015" y="12769"/>
                      </a:lnTo>
                      <a:lnTo>
                        <a:pt x="14920" y="12631"/>
                      </a:lnTo>
                      <a:lnTo>
                        <a:pt x="14873" y="12585"/>
                      </a:lnTo>
                      <a:lnTo>
                        <a:pt x="14873" y="12540"/>
                      </a:lnTo>
                      <a:lnTo>
                        <a:pt x="14920" y="12494"/>
                      </a:lnTo>
                      <a:lnTo>
                        <a:pt x="14968" y="12494"/>
                      </a:lnTo>
                      <a:lnTo>
                        <a:pt x="15156" y="12494"/>
                      </a:lnTo>
                      <a:lnTo>
                        <a:pt x="15204" y="12494"/>
                      </a:lnTo>
                      <a:lnTo>
                        <a:pt x="15204" y="12402"/>
                      </a:lnTo>
                      <a:lnTo>
                        <a:pt x="15204" y="12311"/>
                      </a:lnTo>
                      <a:lnTo>
                        <a:pt x="15204" y="12219"/>
                      </a:lnTo>
                      <a:lnTo>
                        <a:pt x="15251" y="12219"/>
                      </a:lnTo>
                      <a:lnTo>
                        <a:pt x="15298" y="12174"/>
                      </a:lnTo>
                      <a:lnTo>
                        <a:pt x="15440" y="12219"/>
                      </a:lnTo>
                      <a:lnTo>
                        <a:pt x="15440" y="12174"/>
                      </a:lnTo>
                      <a:lnTo>
                        <a:pt x="15440" y="11945"/>
                      </a:lnTo>
                      <a:lnTo>
                        <a:pt x="15534" y="11853"/>
                      </a:lnTo>
                      <a:lnTo>
                        <a:pt x="15534" y="11762"/>
                      </a:lnTo>
                      <a:lnTo>
                        <a:pt x="15534" y="11716"/>
                      </a:lnTo>
                      <a:lnTo>
                        <a:pt x="15487" y="11716"/>
                      </a:lnTo>
                      <a:lnTo>
                        <a:pt x="15345" y="11762"/>
                      </a:lnTo>
                      <a:lnTo>
                        <a:pt x="15298" y="11762"/>
                      </a:lnTo>
                      <a:lnTo>
                        <a:pt x="15298" y="11807"/>
                      </a:lnTo>
                      <a:lnTo>
                        <a:pt x="15251" y="11762"/>
                      </a:lnTo>
                      <a:lnTo>
                        <a:pt x="15251" y="11716"/>
                      </a:lnTo>
                      <a:lnTo>
                        <a:pt x="15251" y="11670"/>
                      </a:lnTo>
                      <a:lnTo>
                        <a:pt x="15298" y="11624"/>
                      </a:lnTo>
                      <a:lnTo>
                        <a:pt x="15392" y="11579"/>
                      </a:lnTo>
                      <a:lnTo>
                        <a:pt x="15487" y="11533"/>
                      </a:lnTo>
                      <a:lnTo>
                        <a:pt x="15534" y="11579"/>
                      </a:lnTo>
                      <a:lnTo>
                        <a:pt x="15629" y="11579"/>
                      </a:lnTo>
                      <a:lnTo>
                        <a:pt x="15629" y="11533"/>
                      </a:lnTo>
                      <a:lnTo>
                        <a:pt x="15676" y="11350"/>
                      </a:lnTo>
                      <a:lnTo>
                        <a:pt x="15676" y="11258"/>
                      </a:lnTo>
                      <a:lnTo>
                        <a:pt x="15629" y="11121"/>
                      </a:lnTo>
                      <a:lnTo>
                        <a:pt x="15534" y="11167"/>
                      </a:lnTo>
                      <a:lnTo>
                        <a:pt x="15487" y="11167"/>
                      </a:lnTo>
                      <a:lnTo>
                        <a:pt x="15487" y="11029"/>
                      </a:lnTo>
                      <a:lnTo>
                        <a:pt x="15392" y="10984"/>
                      </a:lnTo>
                      <a:lnTo>
                        <a:pt x="15487" y="10892"/>
                      </a:lnTo>
                      <a:lnTo>
                        <a:pt x="15534" y="10892"/>
                      </a:lnTo>
                      <a:lnTo>
                        <a:pt x="15629" y="10938"/>
                      </a:lnTo>
                      <a:lnTo>
                        <a:pt x="15676" y="10892"/>
                      </a:lnTo>
                      <a:lnTo>
                        <a:pt x="15723" y="10801"/>
                      </a:lnTo>
                      <a:lnTo>
                        <a:pt x="15770" y="10709"/>
                      </a:lnTo>
                      <a:lnTo>
                        <a:pt x="15865" y="10663"/>
                      </a:lnTo>
                      <a:lnTo>
                        <a:pt x="15865" y="10618"/>
                      </a:lnTo>
                      <a:lnTo>
                        <a:pt x="15865" y="10572"/>
                      </a:lnTo>
                      <a:lnTo>
                        <a:pt x="15723" y="10572"/>
                      </a:lnTo>
                      <a:lnTo>
                        <a:pt x="15676" y="10480"/>
                      </a:lnTo>
                      <a:lnTo>
                        <a:pt x="15581" y="10480"/>
                      </a:lnTo>
                      <a:lnTo>
                        <a:pt x="15581" y="10389"/>
                      </a:lnTo>
                      <a:lnTo>
                        <a:pt x="15629" y="10343"/>
                      </a:lnTo>
                      <a:lnTo>
                        <a:pt x="15817" y="10343"/>
                      </a:lnTo>
                      <a:lnTo>
                        <a:pt x="15912" y="10389"/>
                      </a:lnTo>
                      <a:lnTo>
                        <a:pt x="15959" y="10343"/>
                      </a:lnTo>
                      <a:lnTo>
                        <a:pt x="16101" y="10206"/>
                      </a:lnTo>
                      <a:lnTo>
                        <a:pt x="16053" y="10160"/>
                      </a:lnTo>
                      <a:lnTo>
                        <a:pt x="16006" y="10114"/>
                      </a:lnTo>
                      <a:lnTo>
                        <a:pt x="16053" y="10068"/>
                      </a:lnTo>
                      <a:lnTo>
                        <a:pt x="16148" y="10023"/>
                      </a:lnTo>
                      <a:lnTo>
                        <a:pt x="16242" y="9977"/>
                      </a:lnTo>
                      <a:lnTo>
                        <a:pt x="16384" y="9885"/>
                      </a:lnTo>
                      <a:lnTo>
                        <a:pt x="16384" y="9794"/>
                      </a:lnTo>
                      <a:lnTo>
                        <a:pt x="16337" y="9748"/>
                      </a:lnTo>
                      <a:lnTo>
                        <a:pt x="16195" y="9702"/>
                      </a:lnTo>
                      <a:lnTo>
                        <a:pt x="16101" y="9702"/>
                      </a:lnTo>
                      <a:lnTo>
                        <a:pt x="15959" y="9656"/>
                      </a:lnTo>
                      <a:lnTo>
                        <a:pt x="15817" y="9611"/>
                      </a:lnTo>
                      <a:lnTo>
                        <a:pt x="15676" y="9611"/>
                      </a:lnTo>
                      <a:lnTo>
                        <a:pt x="15534" y="9611"/>
                      </a:lnTo>
                      <a:lnTo>
                        <a:pt x="15440" y="9565"/>
                      </a:lnTo>
                      <a:lnTo>
                        <a:pt x="15345" y="9519"/>
                      </a:lnTo>
                      <a:lnTo>
                        <a:pt x="15298" y="9428"/>
                      </a:lnTo>
                      <a:lnTo>
                        <a:pt x="15251" y="9336"/>
                      </a:lnTo>
                      <a:lnTo>
                        <a:pt x="15251" y="9153"/>
                      </a:lnTo>
                      <a:lnTo>
                        <a:pt x="15298" y="8878"/>
                      </a:lnTo>
                      <a:lnTo>
                        <a:pt x="15298" y="8833"/>
                      </a:lnTo>
                      <a:lnTo>
                        <a:pt x="15251" y="8741"/>
                      </a:lnTo>
                      <a:lnTo>
                        <a:pt x="15156" y="8650"/>
                      </a:lnTo>
                      <a:lnTo>
                        <a:pt x="15062" y="8467"/>
                      </a:lnTo>
                      <a:lnTo>
                        <a:pt x="15015" y="8329"/>
                      </a:lnTo>
                      <a:lnTo>
                        <a:pt x="14968" y="8284"/>
                      </a:lnTo>
                      <a:lnTo>
                        <a:pt x="14637" y="8055"/>
                      </a:lnTo>
                      <a:lnTo>
                        <a:pt x="14495" y="8009"/>
                      </a:lnTo>
                      <a:lnTo>
                        <a:pt x="14401" y="8009"/>
                      </a:lnTo>
                      <a:lnTo>
                        <a:pt x="14259" y="7917"/>
                      </a:lnTo>
                      <a:lnTo>
                        <a:pt x="14212" y="7826"/>
                      </a:lnTo>
                      <a:lnTo>
                        <a:pt x="14212" y="7734"/>
                      </a:lnTo>
                      <a:lnTo>
                        <a:pt x="14212" y="7643"/>
                      </a:lnTo>
                      <a:lnTo>
                        <a:pt x="14118" y="7597"/>
                      </a:lnTo>
                      <a:lnTo>
                        <a:pt x="14118" y="7506"/>
                      </a:lnTo>
                      <a:lnTo>
                        <a:pt x="14165" y="7460"/>
                      </a:lnTo>
                      <a:lnTo>
                        <a:pt x="14118" y="7322"/>
                      </a:lnTo>
                      <a:lnTo>
                        <a:pt x="14070" y="7048"/>
                      </a:lnTo>
                      <a:lnTo>
                        <a:pt x="13976" y="7048"/>
                      </a:lnTo>
                      <a:lnTo>
                        <a:pt x="13929" y="6911"/>
                      </a:lnTo>
                      <a:lnTo>
                        <a:pt x="13834" y="6819"/>
                      </a:lnTo>
                      <a:lnTo>
                        <a:pt x="13787" y="6773"/>
                      </a:lnTo>
                      <a:lnTo>
                        <a:pt x="13740" y="6544"/>
                      </a:lnTo>
                      <a:lnTo>
                        <a:pt x="13693" y="6453"/>
                      </a:lnTo>
                      <a:lnTo>
                        <a:pt x="13504" y="6407"/>
                      </a:lnTo>
                      <a:lnTo>
                        <a:pt x="13268" y="6270"/>
                      </a:lnTo>
                      <a:lnTo>
                        <a:pt x="13079" y="6224"/>
                      </a:lnTo>
                      <a:lnTo>
                        <a:pt x="12890" y="6178"/>
                      </a:lnTo>
                      <a:lnTo>
                        <a:pt x="12843" y="6087"/>
                      </a:lnTo>
                      <a:lnTo>
                        <a:pt x="12748" y="5995"/>
                      </a:lnTo>
                      <a:lnTo>
                        <a:pt x="12796" y="5949"/>
                      </a:lnTo>
                      <a:lnTo>
                        <a:pt x="12701" y="5858"/>
                      </a:lnTo>
                      <a:lnTo>
                        <a:pt x="12607" y="5904"/>
                      </a:lnTo>
                      <a:lnTo>
                        <a:pt x="12512" y="5858"/>
                      </a:lnTo>
                      <a:lnTo>
                        <a:pt x="12465" y="5812"/>
                      </a:lnTo>
                      <a:lnTo>
                        <a:pt x="12465" y="5721"/>
                      </a:lnTo>
                      <a:lnTo>
                        <a:pt x="12371" y="5538"/>
                      </a:lnTo>
                      <a:lnTo>
                        <a:pt x="12182" y="5492"/>
                      </a:lnTo>
                      <a:lnTo>
                        <a:pt x="12135" y="5400"/>
                      </a:lnTo>
                      <a:lnTo>
                        <a:pt x="12135" y="5355"/>
                      </a:lnTo>
                      <a:lnTo>
                        <a:pt x="12087" y="5263"/>
                      </a:lnTo>
                      <a:lnTo>
                        <a:pt x="12135" y="5171"/>
                      </a:lnTo>
                      <a:lnTo>
                        <a:pt x="12135" y="5126"/>
                      </a:lnTo>
                      <a:lnTo>
                        <a:pt x="12135" y="5034"/>
                      </a:lnTo>
                      <a:lnTo>
                        <a:pt x="11946" y="4943"/>
                      </a:lnTo>
                      <a:lnTo>
                        <a:pt x="11851" y="4897"/>
                      </a:lnTo>
                      <a:lnTo>
                        <a:pt x="11757" y="4805"/>
                      </a:lnTo>
                      <a:lnTo>
                        <a:pt x="11568" y="4668"/>
                      </a:lnTo>
                      <a:lnTo>
                        <a:pt x="11474" y="4668"/>
                      </a:lnTo>
                      <a:lnTo>
                        <a:pt x="11332" y="4668"/>
                      </a:lnTo>
                      <a:lnTo>
                        <a:pt x="11285" y="4622"/>
                      </a:lnTo>
                      <a:lnTo>
                        <a:pt x="11190" y="4485"/>
                      </a:lnTo>
                      <a:lnTo>
                        <a:pt x="11096" y="4348"/>
                      </a:lnTo>
                      <a:lnTo>
                        <a:pt x="11001" y="4256"/>
                      </a:lnTo>
                      <a:lnTo>
                        <a:pt x="10907" y="4119"/>
                      </a:lnTo>
                      <a:lnTo>
                        <a:pt x="10812" y="4073"/>
                      </a:lnTo>
                      <a:lnTo>
                        <a:pt x="10765" y="4027"/>
                      </a:lnTo>
                      <a:lnTo>
                        <a:pt x="10529" y="3890"/>
                      </a:lnTo>
                      <a:lnTo>
                        <a:pt x="10388" y="3799"/>
                      </a:lnTo>
                      <a:lnTo>
                        <a:pt x="10246" y="3799"/>
                      </a:lnTo>
                      <a:lnTo>
                        <a:pt x="10151" y="3753"/>
                      </a:lnTo>
                      <a:lnTo>
                        <a:pt x="10104" y="3661"/>
                      </a:lnTo>
                      <a:lnTo>
                        <a:pt x="9915" y="3570"/>
                      </a:lnTo>
                      <a:lnTo>
                        <a:pt x="9868" y="3524"/>
                      </a:lnTo>
                      <a:lnTo>
                        <a:pt x="9774" y="3295"/>
                      </a:lnTo>
                      <a:lnTo>
                        <a:pt x="9727" y="3204"/>
                      </a:lnTo>
                      <a:lnTo>
                        <a:pt x="9632" y="3158"/>
                      </a:lnTo>
                      <a:lnTo>
                        <a:pt x="9585" y="3112"/>
                      </a:lnTo>
                      <a:lnTo>
                        <a:pt x="9490" y="2975"/>
                      </a:lnTo>
                      <a:lnTo>
                        <a:pt x="9396" y="2929"/>
                      </a:lnTo>
                      <a:lnTo>
                        <a:pt x="9302" y="2837"/>
                      </a:lnTo>
                      <a:lnTo>
                        <a:pt x="9254" y="2746"/>
                      </a:lnTo>
                      <a:lnTo>
                        <a:pt x="9207" y="2654"/>
                      </a:lnTo>
                      <a:lnTo>
                        <a:pt x="9113" y="2517"/>
                      </a:lnTo>
                      <a:lnTo>
                        <a:pt x="9018" y="2380"/>
                      </a:lnTo>
                      <a:lnTo>
                        <a:pt x="8877" y="2243"/>
                      </a:lnTo>
                      <a:lnTo>
                        <a:pt x="8829" y="2151"/>
                      </a:lnTo>
                      <a:lnTo>
                        <a:pt x="8735" y="1922"/>
                      </a:lnTo>
                      <a:lnTo>
                        <a:pt x="8641" y="1831"/>
                      </a:lnTo>
                      <a:lnTo>
                        <a:pt x="8593" y="1785"/>
                      </a:lnTo>
                      <a:lnTo>
                        <a:pt x="8404" y="1785"/>
                      </a:lnTo>
                      <a:lnTo>
                        <a:pt x="8263" y="1785"/>
                      </a:lnTo>
                      <a:lnTo>
                        <a:pt x="8074" y="1785"/>
                      </a:lnTo>
                      <a:lnTo>
                        <a:pt x="7885" y="1693"/>
                      </a:lnTo>
                      <a:lnTo>
                        <a:pt x="7743" y="1510"/>
                      </a:lnTo>
                      <a:lnTo>
                        <a:pt x="7649" y="1464"/>
                      </a:lnTo>
                      <a:lnTo>
                        <a:pt x="7555" y="1419"/>
                      </a:lnTo>
                      <a:lnTo>
                        <a:pt x="7460" y="1419"/>
                      </a:lnTo>
                      <a:lnTo>
                        <a:pt x="7366" y="1419"/>
                      </a:lnTo>
                      <a:lnTo>
                        <a:pt x="7224" y="1281"/>
                      </a:lnTo>
                      <a:lnTo>
                        <a:pt x="7082" y="1236"/>
                      </a:lnTo>
                      <a:lnTo>
                        <a:pt x="7035" y="1144"/>
                      </a:lnTo>
                      <a:lnTo>
                        <a:pt x="7035" y="1053"/>
                      </a:lnTo>
                      <a:lnTo>
                        <a:pt x="7035" y="1007"/>
                      </a:lnTo>
                      <a:lnTo>
                        <a:pt x="7130" y="778"/>
                      </a:lnTo>
                      <a:lnTo>
                        <a:pt x="7130" y="732"/>
                      </a:lnTo>
                      <a:lnTo>
                        <a:pt x="7460" y="320"/>
                      </a:lnTo>
                      <a:lnTo>
                        <a:pt x="7602" y="183"/>
                      </a:lnTo>
                      <a:lnTo>
                        <a:pt x="7602" y="92"/>
                      </a:lnTo>
                      <a:lnTo>
                        <a:pt x="7649" y="0"/>
                      </a:lnTo>
                      <a:lnTo>
                        <a:pt x="7602" y="0"/>
                      </a:lnTo>
                      <a:lnTo>
                        <a:pt x="6421" y="183"/>
                      </a:lnTo>
                      <a:lnTo>
                        <a:pt x="6233" y="183"/>
                      </a:lnTo>
                      <a:lnTo>
                        <a:pt x="5099" y="366"/>
                      </a:lnTo>
                      <a:lnTo>
                        <a:pt x="4910" y="366"/>
                      </a:lnTo>
                      <a:lnTo>
                        <a:pt x="4486" y="458"/>
                      </a:lnTo>
                      <a:lnTo>
                        <a:pt x="3966" y="458"/>
                      </a:lnTo>
                      <a:lnTo>
                        <a:pt x="3919" y="503"/>
                      </a:lnTo>
                      <a:lnTo>
                        <a:pt x="3022" y="595"/>
                      </a:lnTo>
                      <a:lnTo>
                        <a:pt x="2550" y="641"/>
                      </a:lnTo>
                      <a:lnTo>
                        <a:pt x="2408" y="686"/>
                      </a:lnTo>
                      <a:lnTo>
                        <a:pt x="1889" y="732"/>
                      </a:lnTo>
                      <a:lnTo>
                        <a:pt x="1039" y="824"/>
                      </a:lnTo>
                      <a:lnTo>
                        <a:pt x="755" y="870"/>
                      </a:lnTo>
                      <a:lnTo>
                        <a:pt x="472" y="915"/>
                      </a:lnTo>
                      <a:lnTo>
                        <a:pt x="0" y="915"/>
                      </a:lnTo>
                      <a:lnTo>
                        <a:pt x="142" y="1419"/>
                      </a:lnTo>
                      <a:lnTo>
                        <a:pt x="378" y="2243"/>
                      </a:lnTo>
                      <a:lnTo>
                        <a:pt x="425" y="2380"/>
                      </a:lnTo>
                      <a:lnTo>
                        <a:pt x="708" y="3524"/>
                      </a:lnTo>
                      <a:lnTo>
                        <a:pt x="944" y="4165"/>
                      </a:lnTo>
                      <a:lnTo>
                        <a:pt x="1039" y="4577"/>
                      </a:lnTo>
                      <a:lnTo>
                        <a:pt x="1133" y="4805"/>
                      </a:lnTo>
                      <a:lnTo>
                        <a:pt x="1369" y="5675"/>
                      </a:lnTo>
                      <a:lnTo>
                        <a:pt x="1558" y="6270"/>
                      </a:lnTo>
                      <a:lnTo>
                        <a:pt x="1605" y="6499"/>
                      </a:lnTo>
                      <a:lnTo>
                        <a:pt x="1936" y="7597"/>
                      </a:lnTo>
                      <a:lnTo>
                        <a:pt x="1936" y="7643"/>
                      </a:lnTo>
                      <a:lnTo>
                        <a:pt x="2172" y="8512"/>
                      </a:lnTo>
                      <a:lnTo>
                        <a:pt x="2266" y="8604"/>
                      </a:lnTo>
                      <a:lnTo>
                        <a:pt x="2361" y="8787"/>
                      </a:lnTo>
                      <a:lnTo>
                        <a:pt x="2408" y="8833"/>
                      </a:lnTo>
                      <a:lnTo>
                        <a:pt x="2455" y="8924"/>
                      </a:lnTo>
                      <a:lnTo>
                        <a:pt x="2455" y="8970"/>
                      </a:lnTo>
                      <a:lnTo>
                        <a:pt x="2550" y="9153"/>
                      </a:lnTo>
                      <a:lnTo>
                        <a:pt x="2550" y="9290"/>
                      </a:lnTo>
                      <a:lnTo>
                        <a:pt x="2644" y="9428"/>
                      </a:lnTo>
                      <a:lnTo>
                        <a:pt x="2786" y="9611"/>
                      </a:lnTo>
                      <a:lnTo>
                        <a:pt x="2927" y="9656"/>
                      </a:lnTo>
                      <a:lnTo>
                        <a:pt x="2975" y="9794"/>
                      </a:lnTo>
                      <a:lnTo>
                        <a:pt x="2975" y="9885"/>
                      </a:lnTo>
                      <a:lnTo>
                        <a:pt x="3069" y="10068"/>
                      </a:lnTo>
                      <a:lnTo>
                        <a:pt x="3069" y="10206"/>
                      </a:lnTo>
                      <a:lnTo>
                        <a:pt x="3022" y="10389"/>
                      </a:lnTo>
                      <a:lnTo>
                        <a:pt x="3116" y="10435"/>
                      </a:lnTo>
                      <a:lnTo>
                        <a:pt x="3258" y="10526"/>
                      </a:lnTo>
                      <a:lnTo>
                        <a:pt x="3352" y="10618"/>
                      </a:lnTo>
                      <a:lnTo>
                        <a:pt x="3305" y="10709"/>
                      </a:lnTo>
                      <a:lnTo>
                        <a:pt x="3211" y="10755"/>
                      </a:lnTo>
                      <a:lnTo>
                        <a:pt x="3163" y="10846"/>
                      </a:lnTo>
                      <a:lnTo>
                        <a:pt x="3116" y="10938"/>
                      </a:lnTo>
                      <a:lnTo>
                        <a:pt x="2927" y="11029"/>
                      </a:lnTo>
                      <a:lnTo>
                        <a:pt x="2880" y="11167"/>
                      </a:lnTo>
                      <a:lnTo>
                        <a:pt x="2927" y="11258"/>
                      </a:lnTo>
                      <a:lnTo>
                        <a:pt x="2927" y="11304"/>
                      </a:lnTo>
                      <a:lnTo>
                        <a:pt x="2927" y="11396"/>
                      </a:lnTo>
                      <a:lnTo>
                        <a:pt x="2927" y="11533"/>
                      </a:lnTo>
                      <a:lnTo>
                        <a:pt x="2927" y="11624"/>
                      </a:lnTo>
                      <a:lnTo>
                        <a:pt x="2927" y="11762"/>
                      </a:lnTo>
                      <a:close/>
                    </a:path>
                  </a:pathLst>
                </a:custGeom>
                <a:solidFill>
                  <a:srgbClr val="00B050"/>
                </a:solidFill>
                <a:ln w="9525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defTabSz="121917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31" name="Idaho">
                  <a:extLst>
                    <a:ext uri="{FF2B5EF4-FFF2-40B4-BE49-F238E27FC236}">
                      <a16:creationId xmlns:a16="http://schemas.microsoft.com/office/drawing/2014/main" id="{099D9E21-7146-CA35-B9B9-8645658347C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314825" y="685800"/>
                  <a:ext cx="3543300" cy="5457825"/>
                </a:xfrm>
                <a:custGeom>
                  <a:avLst/>
                  <a:gdLst>
                    <a:gd name="T0" fmla="*/ 2147483647 w 16384"/>
                    <a:gd name="T1" fmla="*/ 2147483647 h 16384"/>
                    <a:gd name="T2" fmla="*/ 2147483647 w 16384"/>
                    <a:gd name="T3" fmla="*/ 2147483647 h 16384"/>
                    <a:gd name="T4" fmla="*/ 2147483647 w 16384"/>
                    <a:gd name="T5" fmla="*/ 2147483647 h 16384"/>
                    <a:gd name="T6" fmla="*/ 2147483647 w 16384"/>
                    <a:gd name="T7" fmla="*/ 2147483647 h 16384"/>
                    <a:gd name="T8" fmla="*/ 2147483647 w 16384"/>
                    <a:gd name="T9" fmla="*/ 2147483647 h 16384"/>
                    <a:gd name="T10" fmla="*/ 2147483647 w 16384"/>
                    <a:gd name="T11" fmla="*/ 2147483647 h 16384"/>
                    <a:gd name="T12" fmla="*/ 2147483647 w 16384"/>
                    <a:gd name="T13" fmla="*/ 2147483647 h 16384"/>
                    <a:gd name="T14" fmla="*/ 2147483647 w 16384"/>
                    <a:gd name="T15" fmla="*/ 2147483647 h 16384"/>
                    <a:gd name="T16" fmla="*/ 2147483647 w 16384"/>
                    <a:gd name="T17" fmla="*/ 2147483647 h 16384"/>
                    <a:gd name="T18" fmla="*/ 2147483647 w 16384"/>
                    <a:gd name="T19" fmla="*/ 2147483647 h 16384"/>
                    <a:gd name="T20" fmla="*/ 2147483647 w 16384"/>
                    <a:gd name="T21" fmla="*/ 2147483647 h 16384"/>
                    <a:gd name="T22" fmla="*/ 2147483647 w 16384"/>
                    <a:gd name="T23" fmla="*/ 2147483647 h 16384"/>
                    <a:gd name="T24" fmla="*/ 2147483647 w 16384"/>
                    <a:gd name="T25" fmla="*/ 2147483647 h 16384"/>
                    <a:gd name="T26" fmla="*/ 2147483647 w 16384"/>
                    <a:gd name="T27" fmla="*/ 2147483647 h 16384"/>
                    <a:gd name="T28" fmla="*/ 2147483647 w 16384"/>
                    <a:gd name="T29" fmla="*/ 2147483647 h 16384"/>
                    <a:gd name="T30" fmla="*/ 2147483647 w 16384"/>
                    <a:gd name="T31" fmla="*/ 2147483647 h 16384"/>
                    <a:gd name="T32" fmla="*/ 2147483647 w 16384"/>
                    <a:gd name="T33" fmla="*/ 2147483647 h 16384"/>
                    <a:gd name="T34" fmla="*/ 2147483647 w 16384"/>
                    <a:gd name="T35" fmla="*/ 2147483647 h 16384"/>
                    <a:gd name="T36" fmla="*/ 2147483647 w 16384"/>
                    <a:gd name="T37" fmla="*/ 2147483647 h 16384"/>
                    <a:gd name="T38" fmla="*/ 2147483647 w 16384"/>
                    <a:gd name="T39" fmla="*/ 2147483647 h 16384"/>
                    <a:gd name="T40" fmla="*/ 2147483647 w 16384"/>
                    <a:gd name="T41" fmla="*/ 2147483647 h 16384"/>
                    <a:gd name="T42" fmla="*/ 2147483647 w 16384"/>
                    <a:gd name="T43" fmla="*/ 2147483647 h 16384"/>
                    <a:gd name="T44" fmla="*/ 2147483647 w 16384"/>
                    <a:gd name="T45" fmla="*/ 2147483647 h 16384"/>
                    <a:gd name="T46" fmla="*/ 2147483647 w 16384"/>
                    <a:gd name="T47" fmla="*/ 2147483647 h 16384"/>
                    <a:gd name="T48" fmla="*/ 2147483647 w 16384"/>
                    <a:gd name="T49" fmla="*/ 2147483647 h 16384"/>
                    <a:gd name="T50" fmla="*/ 2147483647 w 16384"/>
                    <a:gd name="T51" fmla="*/ 2147483647 h 16384"/>
                    <a:gd name="T52" fmla="*/ 2147483647 w 16384"/>
                    <a:gd name="T53" fmla="*/ 2147483647 h 16384"/>
                    <a:gd name="T54" fmla="*/ 2147483647 w 16384"/>
                    <a:gd name="T55" fmla="*/ 2147483647 h 16384"/>
                    <a:gd name="T56" fmla="*/ 2147483647 w 16384"/>
                    <a:gd name="T57" fmla="*/ 2147483647 h 16384"/>
                    <a:gd name="T58" fmla="*/ 2147483647 w 16384"/>
                    <a:gd name="T59" fmla="*/ 2147483647 h 16384"/>
                    <a:gd name="T60" fmla="*/ 2147483647 w 16384"/>
                    <a:gd name="T61" fmla="*/ 2147483647 h 16384"/>
                    <a:gd name="T62" fmla="*/ 2147483647 w 16384"/>
                    <a:gd name="T63" fmla="*/ 2147483647 h 16384"/>
                    <a:gd name="T64" fmla="*/ 2147483647 w 16384"/>
                    <a:gd name="T65" fmla="*/ 2147483647 h 16384"/>
                    <a:gd name="T66" fmla="*/ 2147483647 w 16384"/>
                    <a:gd name="T67" fmla="*/ 2147483647 h 16384"/>
                    <a:gd name="T68" fmla="*/ 2147483647 w 16384"/>
                    <a:gd name="T69" fmla="*/ 2147483647 h 16384"/>
                    <a:gd name="T70" fmla="*/ 2147483647 w 16384"/>
                    <a:gd name="T71" fmla="*/ 2147483647 h 16384"/>
                    <a:gd name="T72" fmla="*/ 2147483647 w 16384"/>
                    <a:gd name="T73" fmla="*/ 2147483647 h 16384"/>
                    <a:gd name="T74" fmla="*/ 2147483647 w 16384"/>
                    <a:gd name="T75" fmla="*/ 2147483647 h 16384"/>
                    <a:gd name="T76" fmla="*/ 2147483647 w 16384"/>
                    <a:gd name="T77" fmla="*/ 2147483647 h 16384"/>
                    <a:gd name="T78" fmla="*/ 2147483647 w 16384"/>
                    <a:gd name="T79" fmla="*/ 2147483647 h 16384"/>
                    <a:gd name="T80" fmla="*/ 2147483647 w 16384"/>
                    <a:gd name="T81" fmla="*/ 2147483647 h 16384"/>
                    <a:gd name="T82" fmla="*/ 2147483647 w 16384"/>
                    <a:gd name="T83" fmla="*/ 2147483647 h 16384"/>
                    <a:gd name="T84" fmla="*/ 2147483647 w 16384"/>
                    <a:gd name="T85" fmla="*/ 2147483647 h 16384"/>
                    <a:gd name="T86" fmla="*/ 2147483647 w 16384"/>
                    <a:gd name="T87" fmla="*/ 2147483647 h 16384"/>
                    <a:gd name="T88" fmla="*/ 2147483647 w 16384"/>
                    <a:gd name="T89" fmla="*/ 2147483647 h 16384"/>
                    <a:gd name="T90" fmla="*/ 2147483647 w 16384"/>
                    <a:gd name="T91" fmla="*/ 2147483647 h 16384"/>
                    <a:gd name="T92" fmla="*/ 2147483647 w 16384"/>
                    <a:gd name="T93" fmla="*/ 2147483647 h 16384"/>
                    <a:gd name="T94" fmla="*/ 2147483647 w 16384"/>
                    <a:gd name="T95" fmla="*/ 2147483647 h 16384"/>
                    <a:gd name="T96" fmla="*/ 2147483647 w 16384"/>
                    <a:gd name="T97" fmla="*/ 2147483647 h 16384"/>
                    <a:gd name="T98" fmla="*/ 2147483647 w 16384"/>
                    <a:gd name="T99" fmla="*/ 2147483647 h 16384"/>
                    <a:gd name="T100" fmla="*/ 2147483647 w 16384"/>
                    <a:gd name="T101" fmla="*/ 2147483647 h 16384"/>
                    <a:gd name="T102" fmla="*/ 2147483647 w 16384"/>
                    <a:gd name="T103" fmla="*/ 2147483647 h 16384"/>
                    <a:gd name="T104" fmla="*/ 2147483647 w 16384"/>
                    <a:gd name="T105" fmla="*/ 2147483647 h 16384"/>
                    <a:gd name="T106" fmla="*/ 2147483647 w 16384"/>
                    <a:gd name="T107" fmla="*/ 2147483647 h 16384"/>
                    <a:gd name="T108" fmla="*/ 2147483647 w 16384"/>
                    <a:gd name="T109" fmla="*/ 2147483647 h 16384"/>
                    <a:gd name="T110" fmla="*/ 2147483647 w 16384"/>
                    <a:gd name="T111" fmla="*/ 2147483647 h 16384"/>
                    <a:gd name="T112" fmla="*/ 2147483647 w 16384"/>
                    <a:gd name="T113" fmla="*/ 2147483647 h 16384"/>
                    <a:gd name="T114" fmla="*/ 2147483647 w 16384"/>
                    <a:gd name="T115" fmla="*/ 2147483647 h 16384"/>
                    <a:gd name="T116" fmla="*/ 2147483647 w 16384"/>
                    <a:gd name="T117" fmla="*/ 2147483647 h 16384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w 16384"/>
                    <a:gd name="T178" fmla="*/ 0 h 16384"/>
                    <a:gd name="T179" fmla="*/ 16384 w 16384"/>
                    <a:gd name="T180" fmla="*/ 16384 h 16384"/>
                  </a:gdLst>
                  <a:ahLst/>
                  <a:cxnLst>
                    <a:cxn ang="T118">
                      <a:pos x="T0" y="T1"/>
                    </a:cxn>
                    <a:cxn ang="T119">
                      <a:pos x="T2" y="T3"/>
                    </a:cxn>
                    <a:cxn ang="T120">
                      <a:pos x="T4" y="T5"/>
                    </a:cxn>
                    <a:cxn ang="T121">
                      <a:pos x="T6" y="T7"/>
                    </a:cxn>
                    <a:cxn ang="T122">
                      <a:pos x="T8" y="T9"/>
                    </a:cxn>
                    <a:cxn ang="T123">
                      <a:pos x="T10" y="T11"/>
                    </a:cxn>
                    <a:cxn ang="T124">
                      <a:pos x="T12" y="T13"/>
                    </a:cxn>
                    <a:cxn ang="T125">
                      <a:pos x="T14" y="T15"/>
                    </a:cxn>
                    <a:cxn ang="T126">
                      <a:pos x="T16" y="T17"/>
                    </a:cxn>
                    <a:cxn ang="T127">
                      <a:pos x="T18" y="T19"/>
                    </a:cxn>
                    <a:cxn ang="T128">
                      <a:pos x="T20" y="T21"/>
                    </a:cxn>
                    <a:cxn ang="T129">
                      <a:pos x="T22" y="T23"/>
                    </a:cxn>
                    <a:cxn ang="T130">
                      <a:pos x="T24" y="T25"/>
                    </a:cxn>
                    <a:cxn ang="T131">
                      <a:pos x="T26" y="T27"/>
                    </a:cxn>
                    <a:cxn ang="T132">
                      <a:pos x="T28" y="T29"/>
                    </a:cxn>
                    <a:cxn ang="T133">
                      <a:pos x="T30" y="T31"/>
                    </a:cxn>
                    <a:cxn ang="T134">
                      <a:pos x="T32" y="T33"/>
                    </a:cxn>
                    <a:cxn ang="T135">
                      <a:pos x="T34" y="T35"/>
                    </a:cxn>
                    <a:cxn ang="T136">
                      <a:pos x="T36" y="T37"/>
                    </a:cxn>
                    <a:cxn ang="T137">
                      <a:pos x="T38" y="T39"/>
                    </a:cxn>
                    <a:cxn ang="T138">
                      <a:pos x="T40" y="T41"/>
                    </a:cxn>
                    <a:cxn ang="T139">
                      <a:pos x="T42" y="T43"/>
                    </a:cxn>
                    <a:cxn ang="T140">
                      <a:pos x="T44" y="T45"/>
                    </a:cxn>
                    <a:cxn ang="T141">
                      <a:pos x="T46" y="T47"/>
                    </a:cxn>
                    <a:cxn ang="T142">
                      <a:pos x="T48" y="T49"/>
                    </a:cxn>
                    <a:cxn ang="T143">
                      <a:pos x="T50" y="T51"/>
                    </a:cxn>
                    <a:cxn ang="T144">
                      <a:pos x="T52" y="T53"/>
                    </a:cxn>
                    <a:cxn ang="T145">
                      <a:pos x="T54" y="T55"/>
                    </a:cxn>
                    <a:cxn ang="T146">
                      <a:pos x="T56" y="T57"/>
                    </a:cxn>
                    <a:cxn ang="T147">
                      <a:pos x="T58" y="T59"/>
                    </a:cxn>
                    <a:cxn ang="T148">
                      <a:pos x="T60" y="T61"/>
                    </a:cxn>
                    <a:cxn ang="T149">
                      <a:pos x="T62" y="T63"/>
                    </a:cxn>
                    <a:cxn ang="T150">
                      <a:pos x="T64" y="T65"/>
                    </a:cxn>
                    <a:cxn ang="T151">
                      <a:pos x="T66" y="T67"/>
                    </a:cxn>
                    <a:cxn ang="T152">
                      <a:pos x="T68" y="T69"/>
                    </a:cxn>
                    <a:cxn ang="T153">
                      <a:pos x="T70" y="T71"/>
                    </a:cxn>
                    <a:cxn ang="T154">
                      <a:pos x="T72" y="T73"/>
                    </a:cxn>
                    <a:cxn ang="T155">
                      <a:pos x="T74" y="T75"/>
                    </a:cxn>
                    <a:cxn ang="T156">
                      <a:pos x="T76" y="T77"/>
                    </a:cxn>
                    <a:cxn ang="T157">
                      <a:pos x="T78" y="T79"/>
                    </a:cxn>
                    <a:cxn ang="T158">
                      <a:pos x="T80" y="T81"/>
                    </a:cxn>
                    <a:cxn ang="T159">
                      <a:pos x="T82" y="T83"/>
                    </a:cxn>
                    <a:cxn ang="T160">
                      <a:pos x="T84" y="T85"/>
                    </a:cxn>
                    <a:cxn ang="T161">
                      <a:pos x="T86" y="T87"/>
                    </a:cxn>
                    <a:cxn ang="T162">
                      <a:pos x="T88" y="T89"/>
                    </a:cxn>
                    <a:cxn ang="T163">
                      <a:pos x="T90" y="T91"/>
                    </a:cxn>
                    <a:cxn ang="T164">
                      <a:pos x="T92" y="T93"/>
                    </a:cxn>
                    <a:cxn ang="T165">
                      <a:pos x="T94" y="T95"/>
                    </a:cxn>
                    <a:cxn ang="T166">
                      <a:pos x="T96" y="T97"/>
                    </a:cxn>
                    <a:cxn ang="T167">
                      <a:pos x="T98" y="T99"/>
                    </a:cxn>
                    <a:cxn ang="T168">
                      <a:pos x="T100" y="T101"/>
                    </a:cxn>
                    <a:cxn ang="T169">
                      <a:pos x="T102" y="T103"/>
                    </a:cxn>
                    <a:cxn ang="T170">
                      <a:pos x="T104" y="T105"/>
                    </a:cxn>
                    <a:cxn ang="T171">
                      <a:pos x="T106" y="T107"/>
                    </a:cxn>
                    <a:cxn ang="T172">
                      <a:pos x="T108" y="T109"/>
                    </a:cxn>
                    <a:cxn ang="T173">
                      <a:pos x="T110" y="T111"/>
                    </a:cxn>
                    <a:cxn ang="T174">
                      <a:pos x="T112" y="T113"/>
                    </a:cxn>
                    <a:cxn ang="T175">
                      <a:pos x="T114" y="T115"/>
                    </a:cxn>
                    <a:cxn ang="T176">
                      <a:pos x="T116" y="T117"/>
                    </a:cxn>
                  </a:cxnLst>
                  <a:rect l="T177" t="T178" r="T179" b="T180"/>
                  <a:pathLst>
                    <a:path w="16384" h="16384">
                      <a:moveTo>
                        <a:pt x="16082" y="11837"/>
                      </a:moveTo>
                      <a:lnTo>
                        <a:pt x="16298" y="11084"/>
                      </a:lnTo>
                      <a:lnTo>
                        <a:pt x="16255" y="11272"/>
                      </a:lnTo>
                      <a:lnTo>
                        <a:pt x="16082" y="11837"/>
                      </a:lnTo>
                      <a:lnTo>
                        <a:pt x="15737" y="13640"/>
                      </a:lnTo>
                      <a:lnTo>
                        <a:pt x="15823" y="13183"/>
                      </a:lnTo>
                      <a:lnTo>
                        <a:pt x="16125" y="12160"/>
                      </a:lnTo>
                      <a:lnTo>
                        <a:pt x="16168" y="11837"/>
                      </a:lnTo>
                      <a:lnTo>
                        <a:pt x="16384" y="11111"/>
                      </a:lnTo>
                      <a:lnTo>
                        <a:pt x="16298" y="11084"/>
                      </a:lnTo>
                      <a:lnTo>
                        <a:pt x="16255" y="11057"/>
                      </a:lnTo>
                      <a:lnTo>
                        <a:pt x="16212" y="10976"/>
                      </a:lnTo>
                      <a:lnTo>
                        <a:pt x="16039" y="10869"/>
                      </a:lnTo>
                      <a:lnTo>
                        <a:pt x="15996" y="10788"/>
                      </a:lnTo>
                      <a:lnTo>
                        <a:pt x="16039" y="10761"/>
                      </a:lnTo>
                      <a:lnTo>
                        <a:pt x="15953" y="10681"/>
                      </a:lnTo>
                      <a:lnTo>
                        <a:pt x="15823" y="10492"/>
                      </a:lnTo>
                      <a:lnTo>
                        <a:pt x="15737" y="10438"/>
                      </a:lnTo>
                      <a:lnTo>
                        <a:pt x="15694" y="10465"/>
                      </a:lnTo>
                      <a:lnTo>
                        <a:pt x="15608" y="10519"/>
                      </a:lnTo>
                      <a:lnTo>
                        <a:pt x="15479" y="10492"/>
                      </a:lnTo>
                      <a:lnTo>
                        <a:pt x="15479" y="10519"/>
                      </a:lnTo>
                      <a:lnTo>
                        <a:pt x="15479" y="10600"/>
                      </a:lnTo>
                      <a:lnTo>
                        <a:pt x="15392" y="10627"/>
                      </a:lnTo>
                      <a:lnTo>
                        <a:pt x="15349" y="10707"/>
                      </a:lnTo>
                      <a:lnTo>
                        <a:pt x="15435" y="10869"/>
                      </a:lnTo>
                      <a:lnTo>
                        <a:pt x="15392" y="10869"/>
                      </a:lnTo>
                      <a:lnTo>
                        <a:pt x="15134" y="10815"/>
                      </a:lnTo>
                      <a:lnTo>
                        <a:pt x="15047" y="10815"/>
                      </a:lnTo>
                      <a:lnTo>
                        <a:pt x="14961" y="10815"/>
                      </a:lnTo>
                      <a:lnTo>
                        <a:pt x="14573" y="10842"/>
                      </a:lnTo>
                      <a:lnTo>
                        <a:pt x="14444" y="10761"/>
                      </a:lnTo>
                      <a:lnTo>
                        <a:pt x="13970" y="10761"/>
                      </a:lnTo>
                      <a:lnTo>
                        <a:pt x="13840" y="10734"/>
                      </a:lnTo>
                      <a:lnTo>
                        <a:pt x="13668" y="10734"/>
                      </a:lnTo>
                      <a:lnTo>
                        <a:pt x="13538" y="10627"/>
                      </a:lnTo>
                      <a:lnTo>
                        <a:pt x="13280" y="10681"/>
                      </a:lnTo>
                      <a:lnTo>
                        <a:pt x="13237" y="10842"/>
                      </a:lnTo>
                      <a:lnTo>
                        <a:pt x="13064" y="10842"/>
                      </a:lnTo>
                      <a:lnTo>
                        <a:pt x="12978" y="10761"/>
                      </a:lnTo>
                      <a:lnTo>
                        <a:pt x="12331" y="10627"/>
                      </a:lnTo>
                      <a:lnTo>
                        <a:pt x="12159" y="10681"/>
                      </a:lnTo>
                      <a:lnTo>
                        <a:pt x="12029" y="10788"/>
                      </a:lnTo>
                      <a:lnTo>
                        <a:pt x="12029" y="10869"/>
                      </a:lnTo>
                      <a:lnTo>
                        <a:pt x="11943" y="10896"/>
                      </a:lnTo>
                      <a:lnTo>
                        <a:pt x="11857" y="10788"/>
                      </a:lnTo>
                      <a:lnTo>
                        <a:pt x="11684" y="10761"/>
                      </a:lnTo>
                      <a:lnTo>
                        <a:pt x="11598" y="10627"/>
                      </a:lnTo>
                      <a:lnTo>
                        <a:pt x="11641" y="10519"/>
                      </a:lnTo>
                      <a:lnTo>
                        <a:pt x="11512" y="10331"/>
                      </a:lnTo>
                      <a:lnTo>
                        <a:pt x="11598" y="10277"/>
                      </a:lnTo>
                      <a:lnTo>
                        <a:pt x="11469" y="9981"/>
                      </a:lnTo>
                      <a:lnTo>
                        <a:pt x="11296" y="9820"/>
                      </a:lnTo>
                      <a:lnTo>
                        <a:pt x="11081" y="9873"/>
                      </a:lnTo>
                      <a:lnTo>
                        <a:pt x="10951" y="9873"/>
                      </a:lnTo>
                      <a:lnTo>
                        <a:pt x="10995" y="9820"/>
                      </a:lnTo>
                      <a:lnTo>
                        <a:pt x="10908" y="9766"/>
                      </a:lnTo>
                      <a:lnTo>
                        <a:pt x="10779" y="9658"/>
                      </a:lnTo>
                      <a:lnTo>
                        <a:pt x="10736" y="9524"/>
                      </a:lnTo>
                      <a:lnTo>
                        <a:pt x="10865" y="9470"/>
                      </a:lnTo>
                      <a:lnTo>
                        <a:pt x="10908" y="9282"/>
                      </a:lnTo>
                      <a:lnTo>
                        <a:pt x="10779" y="9120"/>
                      </a:lnTo>
                      <a:lnTo>
                        <a:pt x="10693" y="9066"/>
                      </a:lnTo>
                      <a:lnTo>
                        <a:pt x="10477" y="8690"/>
                      </a:lnTo>
                      <a:lnTo>
                        <a:pt x="10434" y="8582"/>
                      </a:lnTo>
                      <a:lnTo>
                        <a:pt x="10434" y="8340"/>
                      </a:lnTo>
                      <a:lnTo>
                        <a:pt x="10477" y="8286"/>
                      </a:lnTo>
                      <a:lnTo>
                        <a:pt x="10434" y="8205"/>
                      </a:lnTo>
                      <a:lnTo>
                        <a:pt x="10348" y="8152"/>
                      </a:lnTo>
                      <a:lnTo>
                        <a:pt x="10434" y="8071"/>
                      </a:lnTo>
                      <a:lnTo>
                        <a:pt x="10434" y="8017"/>
                      </a:lnTo>
                      <a:lnTo>
                        <a:pt x="10262" y="7963"/>
                      </a:lnTo>
                      <a:lnTo>
                        <a:pt x="10262" y="7910"/>
                      </a:lnTo>
                      <a:lnTo>
                        <a:pt x="10175" y="7775"/>
                      </a:lnTo>
                      <a:lnTo>
                        <a:pt x="10046" y="7748"/>
                      </a:lnTo>
                      <a:lnTo>
                        <a:pt x="9787" y="7936"/>
                      </a:lnTo>
                      <a:lnTo>
                        <a:pt x="9529" y="8071"/>
                      </a:lnTo>
                      <a:lnTo>
                        <a:pt x="9356" y="8044"/>
                      </a:lnTo>
                      <a:lnTo>
                        <a:pt x="9227" y="8152"/>
                      </a:lnTo>
                      <a:lnTo>
                        <a:pt x="9054" y="8179"/>
                      </a:lnTo>
                      <a:lnTo>
                        <a:pt x="8796" y="7990"/>
                      </a:lnTo>
                      <a:lnTo>
                        <a:pt x="8796" y="7936"/>
                      </a:lnTo>
                      <a:lnTo>
                        <a:pt x="8623" y="7883"/>
                      </a:lnTo>
                      <a:lnTo>
                        <a:pt x="8623" y="7775"/>
                      </a:lnTo>
                      <a:lnTo>
                        <a:pt x="8796" y="7721"/>
                      </a:lnTo>
                      <a:lnTo>
                        <a:pt x="8796" y="7640"/>
                      </a:lnTo>
                      <a:lnTo>
                        <a:pt x="8796" y="7560"/>
                      </a:lnTo>
                      <a:lnTo>
                        <a:pt x="8753" y="7479"/>
                      </a:lnTo>
                      <a:lnTo>
                        <a:pt x="8839" y="7371"/>
                      </a:lnTo>
                      <a:lnTo>
                        <a:pt x="8968" y="7318"/>
                      </a:lnTo>
                      <a:lnTo>
                        <a:pt x="9227" y="7291"/>
                      </a:lnTo>
                      <a:lnTo>
                        <a:pt x="9184" y="7183"/>
                      </a:lnTo>
                      <a:lnTo>
                        <a:pt x="9227" y="7076"/>
                      </a:lnTo>
                      <a:lnTo>
                        <a:pt x="9097" y="7022"/>
                      </a:lnTo>
                      <a:lnTo>
                        <a:pt x="9054" y="6914"/>
                      </a:lnTo>
                      <a:lnTo>
                        <a:pt x="9141" y="6860"/>
                      </a:lnTo>
                      <a:lnTo>
                        <a:pt x="9184" y="6806"/>
                      </a:lnTo>
                      <a:lnTo>
                        <a:pt x="9097" y="6726"/>
                      </a:lnTo>
                      <a:lnTo>
                        <a:pt x="9097" y="6645"/>
                      </a:lnTo>
                      <a:lnTo>
                        <a:pt x="9270" y="6645"/>
                      </a:lnTo>
                      <a:lnTo>
                        <a:pt x="9313" y="6564"/>
                      </a:lnTo>
                      <a:lnTo>
                        <a:pt x="9270" y="6484"/>
                      </a:lnTo>
                      <a:lnTo>
                        <a:pt x="9356" y="6430"/>
                      </a:lnTo>
                      <a:lnTo>
                        <a:pt x="9615" y="6134"/>
                      </a:lnTo>
                      <a:lnTo>
                        <a:pt x="9572" y="5999"/>
                      </a:lnTo>
                      <a:lnTo>
                        <a:pt x="9701" y="5972"/>
                      </a:lnTo>
                      <a:lnTo>
                        <a:pt x="9744" y="5865"/>
                      </a:lnTo>
                      <a:lnTo>
                        <a:pt x="9874" y="5703"/>
                      </a:lnTo>
                      <a:lnTo>
                        <a:pt x="9830" y="5650"/>
                      </a:lnTo>
                      <a:lnTo>
                        <a:pt x="9701" y="5650"/>
                      </a:lnTo>
                      <a:lnTo>
                        <a:pt x="9572" y="5677"/>
                      </a:lnTo>
                      <a:lnTo>
                        <a:pt x="9356" y="5650"/>
                      </a:lnTo>
                      <a:lnTo>
                        <a:pt x="9227" y="5650"/>
                      </a:lnTo>
                      <a:lnTo>
                        <a:pt x="9141" y="5623"/>
                      </a:lnTo>
                      <a:lnTo>
                        <a:pt x="9141" y="5542"/>
                      </a:lnTo>
                      <a:lnTo>
                        <a:pt x="9184" y="5461"/>
                      </a:lnTo>
                      <a:lnTo>
                        <a:pt x="9097" y="5408"/>
                      </a:lnTo>
                      <a:lnTo>
                        <a:pt x="8882" y="5461"/>
                      </a:lnTo>
                      <a:lnTo>
                        <a:pt x="8796" y="5461"/>
                      </a:lnTo>
                      <a:lnTo>
                        <a:pt x="8882" y="5381"/>
                      </a:lnTo>
                      <a:lnTo>
                        <a:pt x="8753" y="5219"/>
                      </a:lnTo>
                      <a:lnTo>
                        <a:pt x="8623" y="5192"/>
                      </a:lnTo>
                      <a:lnTo>
                        <a:pt x="8580" y="5085"/>
                      </a:lnTo>
                      <a:lnTo>
                        <a:pt x="8580" y="4977"/>
                      </a:lnTo>
                      <a:lnTo>
                        <a:pt x="8580" y="4923"/>
                      </a:lnTo>
                      <a:lnTo>
                        <a:pt x="8408" y="4816"/>
                      </a:lnTo>
                      <a:lnTo>
                        <a:pt x="8364" y="4708"/>
                      </a:lnTo>
                      <a:lnTo>
                        <a:pt x="8192" y="4493"/>
                      </a:lnTo>
                      <a:lnTo>
                        <a:pt x="7976" y="4251"/>
                      </a:lnTo>
                      <a:lnTo>
                        <a:pt x="7933" y="4143"/>
                      </a:lnTo>
                      <a:lnTo>
                        <a:pt x="7545" y="4009"/>
                      </a:lnTo>
                      <a:lnTo>
                        <a:pt x="7502" y="3901"/>
                      </a:lnTo>
                      <a:lnTo>
                        <a:pt x="7416" y="3820"/>
                      </a:lnTo>
                      <a:lnTo>
                        <a:pt x="7071" y="3659"/>
                      </a:lnTo>
                      <a:lnTo>
                        <a:pt x="7287" y="3605"/>
                      </a:lnTo>
                      <a:lnTo>
                        <a:pt x="7330" y="3578"/>
                      </a:lnTo>
                      <a:lnTo>
                        <a:pt x="7157" y="3417"/>
                      </a:lnTo>
                      <a:lnTo>
                        <a:pt x="7243" y="3363"/>
                      </a:lnTo>
                      <a:lnTo>
                        <a:pt x="7330" y="3282"/>
                      </a:lnTo>
                      <a:lnTo>
                        <a:pt x="7243" y="3201"/>
                      </a:lnTo>
                      <a:lnTo>
                        <a:pt x="7287" y="3121"/>
                      </a:lnTo>
                      <a:lnTo>
                        <a:pt x="7200" y="2959"/>
                      </a:lnTo>
                      <a:lnTo>
                        <a:pt x="7071" y="2932"/>
                      </a:lnTo>
                      <a:lnTo>
                        <a:pt x="7071" y="2798"/>
                      </a:lnTo>
                      <a:lnTo>
                        <a:pt x="6985" y="2717"/>
                      </a:lnTo>
                      <a:lnTo>
                        <a:pt x="6812" y="2448"/>
                      </a:lnTo>
                      <a:lnTo>
                        <a:pt x="6812" y="2367"/>
                      </a:lnTo>
                      <a:lnTo>
                        <a:pt x="6942" y="1910"/>
                      </a:lnTo>
                      <a:lnTo>
                        <a:pt x="7157" y="1372"/>
                      </a:lnTo>
                      <a:lnTo>
                        <a:pt x="7502" y="323"/>
                      </a:lnTo>
                      <a:lnTo>
                        <a:pt x="7114" y="269"/>
                      </a:lnTo>
                      <a:lnTo>
                        <a:pt x="6338" y="161"/>
                      </a:lnTo>
                      <a:lnTo>
                        <a:pt x="5605" y="54"/>
                      </a:lnTo>
                      <a:lnTo>
                        <a:pt x="5303" y="0"/>
                      </a:lnTo>
                      <a:lnTo>
                        <a:pt x="5174" y="323"/>
                      </a:lnTo>
                      <a:lnTo>
                        <a:pt x="4570" y="1964"/>
                      </a:lnTo>
                      <a:lnTo>
                        <a:pt x="4484" y="2125"/>
                      </a:lnTo>
                      <a:lnTo>
                        <a:pt x="4053" y="3363"/>
                      </a:lnTo>
                      <a:lnTo>
                        <a:pt x="3967" y="3605"/>
                      </a:lnTo>
                      <a:lnTo>
                        <a:pt x="3880" y="3847"/>
                      </a:lnTo>
                      <a:lnTo>
                        <a:pt x="3449" y="5085"/>
                      </a:lnTo>
                      <a:lnTo>
                        <a:pt x="3363" y="5300"/>
                      </a:lnTo>
                      <a:lnTo>
                        <a:pt x="3320" y="5408"/>
                      </a:lnTo>
                      <a:lnTo>
                        <a:pt x="3277" y="5488"/>
                      </a:lnTo>
                      <a:lnTo>
                        <a:pt x="3363" y="5650"/>
                      </a:lnTo>
                      <a:lnTo>
                        <a:pt x="3363" y="5784"/>
                      </a:lnTo>
                      <a:lnTo>
                        <a:pt x="3406" y="5865"/>
                      </a:lnTo>
                      <a:lnTo>
                        <a:pt x="3277" y="6080"/>
                      </a:lnTo>
                      <a:lnTo>
                        <a:pt x="3277" y="6215"/>
                      </a:lnTo>
                      <a:lnTo>
                        <a:pt x="3320" y="6295"/>
                      </a:lnTo>
                      <a:lnTo>
                        <a:pt x="3406" y="6430"/>
                      </a:lnTo>
                      <a:lnTo>
                        <a:pt x="3449" y="6511"/>
                      </a:lnTo>
                      <a:lnTo>
                        <a:pt x="3492" y="6591"/>
                      </a:lnTo>
                      <a:lnTo>
                        <a:pt x="3535" y="6699"/>
                      </a:lnTo>
                      <a:lnTo>
                        <a:pt x="3665" y="6645"/>
                      </a:lnTo>
                      <a:lnTo>
                        <a:pt x="3751" y="6753"/>
                      </a:lnTo>
                      <a:lnTo>
                        <a:pt x="3924" y="6780"/>
                      </a:lnTo>
                      <a:lnTo>
                        <a:pt x="3967" y="6833"/>
                      </a:lnTo>
                      <a:lnTo>
                        <a:pt x="4010" y="6995"/>
                      </a:lnTo>
                      <a:lnTo>
                        <a:pt x="4096" y="7129"/>
                      </a:lnTo>
                      <a:lnTo>
                        <a:pt x="4053" y="7183"/>
                      </a:lnTo>
                      <a:lnTo>
                        <a:pt x="3794" y="7371"/>
                      </a:lnTo>
                      <a:lnTo>
                        <a:pt x="3751" y="7479"/>
                      </a:lnTo>
                      <a:lnTo>
                        <a:pt x="3363" y="7748"/>
                      </a:lnTo>
                      <a:lnTo>
                        <a:pt x="3320" y="7829"/>
                      </a:lnTo>
                      <a:lnTo>
                        <a:pt x="3277" y="7910"/>
                      </a:lnTo>
                      <a:lnTo>
                        <a:pt x="3147" y="8017"/>
                      </a:lnTo>
                      <a:lnTo>
                        <a:pt x="3018" y="8125"/>
                      </a:lnTo>
                      <a:lnTo>
                        <a:pt x="2932" y="8179"/>
                      </a:lnTo>
                      <a:lnTo>
                        <a:pt x="2889" y="8205"/>
                      </a:lnTo>
                      <a:lnTo>
                        <a:pt x="2716" y="8286"/>
                      </a:lnTo>
                      <a:lnTo>
                        <a:pt x="2673" y="8340"/>
                      </a:lnTo>
                      <a:lnTo>
                        <a:pt x="2759" y="8367"/>
                      </a:lnTo>
                      <a:lnTo>
                        <a:pt x="2716" y="8448"/>
                      </a:lnTo>
                      <a:lnTo>
                        <a:pt x="2587" y="8582"/>
                      </a:lnTo>
                      <a:lnTo>
                        <a:pt x="2501" y="8663"/>
                      </a:lnTo>
                      <a:lnTo>
                        <a:pt x="2371" y="8690"/>
                      </a:lnTo>
                      <a:lnTo>
                        <a:pt x="2328" y="8744"/>
                      </a:lnTo>
                      <a:lnTo>
                        <a:pt x="2156" y="8770"/>
                      </a:lnTo>
                      <a:lnTo>
                        <a:pt x="2026" y="8797"/>
                      </a:lnTo>
                      <a:lnTo>
                        <a:pt x="1897" y="8932"/>
                      </a:lnTo>
                      <a:lnTo>
                        <a:pt x="1638" y="9174"/>
                      </a:lnTo>
                      <a:lnTo>
                        <a:pt x="1466" y="9255"/>
                      </a:lnTo>
                      <a:lnTo>
                        <a:pt x="1423" y="9362"/>
                      </a:lnTo>
                      <a:lnTo>
                        <a:pt x="1293" y="9470"/>
                      </a:lnTo>
                      <a:lnTo>
                        <a:pt x="1293" y="9551"/>
                      </a:lnTo>
                      <a:lnTo>
                        <a:pt x="1337" y="9604"/>
                      </a:lnTo>
                      <a:lnTo>
                        <a:pt x="1293" y="9658"/>
                      </a:lnTo>
                      <a:lnTo>
                        <a:pt x="1293" y="9712"/>
                      </a:lnTo>
                      <a:lnTo>
                        <a:pt x="1380" y="9793"/>
                      </a:lnTo>
                      <a:lnTo>
                        <a:pt x="1552" y="9766"/>
                      </a:lnTo>
                      <a:lnTo>
                        <a:pt x="1638" y="9873"/>
                      </a:lnTo>
                      <a:lnTo>
                        <a:pt x="1768" y="9847"/>
                      </a:lnTo>
                      <a:lnTo>
                        <a:pt x="1854" y="9927"/>
                      </a:lnTo>
                      <a:lnTo>
                        <a:pt x="1940" y="9981"/>
                      </a:lnTo>
                      <a:lnTo>
                        <a:pt x="1897" y="10089"/>
                      </a:lnTo>
                      <a:lnTo>
                        <a:pt x="1854" y="10142"/>
                      </a:lnTo>
                      <a:lnTo>
                        <a:pt x="1768" y="10223"/>
                      </a:lnTo>
                      <a:lnTo>
                        <a:pt x="1725" y="10277"/>
                      </a:lnTo>
                      <a:lnTo>
                        <a:pt x="1725" y="10385"/>
                      </a:lnTo>
                      <a:lnTo>
                        <a:pt x="1638" y="10492"/>
                      </a:lnTo>
                      <a:lnTo>
                        <a:pt x="1509" y="10627"/>
                      </a:lnTo>
                      <a:lnTo>
                        <a:pt x="1337" y="10815"/>
                      </a:lnTo>
                      <a:lnTo>
                        <a:pt x="1250" y="11030"/>
                      </a:lnTo>
                      <a:lnTo>
                        <a:pt x="0" y="14555"/>
                      </a:lnTo>
                      <a:lnTo>
                        <a:pt x="4915" y="15200"/>
                      </a:lnTo>
                      <a:lnTo>
                        <a:pt x="6812" y="15442"/>
                      </a:lnTo>
                      <a:lnTo>
                        <a:pt x="7459" y="15523"/>
                      </a:lnTo>
                      <a:lnTo>
                        <a:pt x="10046" y="15846"/>
                      </a:lnTo>
                      <a:lnTo>
                        <a:pt x="12202" y="16088"/>
                      </a:lnTo>
                      <a:lnTo>
                        <a:pt x="12331" y="16115"/>
                      </a:lnTo>
                      <a:lnTo>
                        <a:pt x="13840" y="16249"/>
                      </a:lnTo>
                      <a:lnTo>
                        <a:pt x="13926" y="16276"/>
                      </a:lnTo>
                      <a:lnTo>
                        <a:pt x="15004" y="16384"/>
                      </a:lnTo>
                      <a:lnTo>
                        <a:pt x="15306" y="15281"/>
                      </a:lnTo>
                      <a:lnTo>
                        <a:pt x="15565" y="14205"/>
                      </a:lnTo>
                      <a:lnTo>
                        <a:pt x="15737" y="13640"/>
                      </a:lnTo>
                      <a:lnTo>
                        <a:pt x="16082" y="11837"/>
                      </a:lnTo>
                      <a:close/>
                    </a:path>
                  </a:pathLst>
                </a:custGeom>
                <a:solidFill>
                  <a:srgbClr val="FF0000"/>
                </a:solidFill>
                <a:ln w="9525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defTabSz="121917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32" name="Illinois">
                  <a:extLst>
                    <a:ext uri="{FF2B5EF4-FFF2-40B4-BE49-F238E27FC236}">
                      <a16:creationId xmlns:a16="http://schemas.microsoft.com/office/drawing/2014/main" id="{0AFA390F-05DE-2D7A-43C1-29F2938D26E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8449925" y="6257925"/>
                  <a:ext cx="2362200" cy="4010025"/>
                </a:xfrm>
                <a:custGeom>
                  <a:avLst/>
                  <a:gdLst>
                    <a:gd name="T0" fmla="*/ 2147483647 w 16384"/>
                    <a:gd name="T1" fmla="*/ 2147483647 h 16384"/>
                    <a:gd name="T2" fmla="*/ 2147483647 w 16384"/>
                    <a:gd name="T3" fmla="*/ 2147483647 h 16384"/>
                    <a:gd name="T4" fmla="*/ 2147483647 w 16384"/>
                    <a:gd name="T5" fmla="*/ 2147483647 h 16384"/>
                    <a:gd name="T6" fmla="*/ 2147483647 w 16384"/>
                    <a:gd name="T7" fmla="*/ 2147483647 h 16384"/>
                    <a:gd name="T8" fmla="*/ 2147483647 w 16384"/>
                    <a:gd name="T9" fmla="*/ 2147483647 h 16384"/>
                    <a:gd name="T10" fmla="*/ 2147483647 w 16384"/>
                    <a:gd name="T11" fmla="*/ 2147483647 h 16384"/>
                    <a:gd name="T12" fmla="*/ 2147483647 w 16384"/>
                    <a:gd name="T13" fmla="*/ 2147483647 h 16384"/>
                    <a:gd name="T14" fmla="*/ 2147483647 w 16384"/>
                    <a:gd name="T15" fmla="*/ 2147483647 h 16384"/>
                    <a:gd name="T16" fmla="*/ 2147483647 w 16384"/>
                    <a:gd name="T17" fmla="*/ 2147483647 h 16384"/>
                    <a:gd name="T18" fmla="*/ 2147483647 w 16384"/>
                    <a:gd name="T19" fmla="*/ 2147483647 h 16384"/>
                    <a:gd name="T20" fmla="*/ 2147483647 w 16384"/>
                    <a:gd name="T21" fmla="*/ 2147483647 h 16384"/>
                    <a:gd name="T22" fmla="*/ 2147483647 w 16384"/>
                    <a:gd name="T23" fmla="*/ 2147483647 h 16384"/>
                    <a:gd name="T24" fmla="*/ 2147483647 w 16384"/>
                    <a:gd name="T25" fmla="*/ 2147483647 h 16384"/>
                    <a:gd name="T26" fmla="*/ 2147483647 w 16384"/>
                    <a:gd name="T27" fmla="*/ 2147483647 h 16384"/>
                    <a:gd name="T28" fmla="*/ 2147483647 w 16384"/>
                    <a:gd name="T29" fmla="*/ 2147483647 h 16384"/>
                    <a:gd name="T30" fmla="*/ 2147483647 w 16384"/>
                    <a:gd name="T31" fmla="*/ 2147483647 h 16384"/>
                    <a:gd name="T32" fmla="*/ 2147483647 w 16384"/>
                    <a:gd name="T33" fmla="*/ 2147483647 h 16384"/>
                    <a:gd name="T34" fmla="*/ 2147483647 w 16384"/>
                    <a:gd name="T35" fmla="*/ 2147483647 h 16384"/>
                    <a:gd name="T36" fmla="*/ 2147483647 w 16384"/>
                    <a:gd name="T37" fmla="*/ 2147483647 h 16384"/>
                    <a:gd name="T38" fmla="*/ 2147483647 w 16384"/>
                    <a:gd name="T39" fmla="*/ 2147483647 h 16384"/>
                    <a:gd name="T40" fmla="*/ 2147483647 w 16384"/>
                    <a:gd name="T41" fmla="*/ 2147483647 h 16384"/>
                    <a:gd name="T42" fmla="*/ 2147483647 w 16384"/>
                    <a:gd name="T43" fmla="*/ 2147483647 h 16384"/>
                    <a:gd name="T44" fmla="*/ 2147483647 w 16384"/>
                    <a:gd name="T45" fmla="*/ 2147483647 h 16384"/>
                    <a:gd name="T46" fmla="*/ 2147483647 w 16384"/>
                    <a:gd name="T47" fmla="*/ 2147483647 h 16384"/>
                    <a:gd name="T48" fmla="*/ 2147483647 w 16384"/>
                    <a:gd name="T49" fmla="*/ 2147483647 h 16384"/>
                    <a:gd name="T50" fmla="*/ 2147483647 w 16384"/>
                    <a:gd name="T51" fmla="*/ 2147483647 h 16384"/>
                    <a:gd name="T52" fmla="*/ 2147483647 w 16384"/>
                    <a:gd name="T53" fmla="*/ 2147483647 h 16384"/>
                    <a:gd name="T54" fmla="*/ 2147483647 w 16384"/>
                    <a:gd name="T55" fmla="*/ 2147483647 h 16384"/>
                    <a:gd name="T56" fmla="*/ 2147483647 w 16384"/>
                    <a:gd name="T57" fmla="*/ 2147483647 h 16384"/>
                    <a:gd name="T58" fmla="*/ 2147483647 w 16384"/>
                    <a:gd name="T59" fmla="*/ 2147483647 h 16384"/>
                    <a:gd name="T60" fmla="*/ 2147483647 w 16384"/>
                    <a:gd name="T61" fmla="*/ 2147483647 h 16384"/>
                    <a:gd name="T62" fmla="*/ 2147483647 w 16384"/>
                    <a:gd name="T63" fmla="*/ 2147483647 h 16384"/>
                    <a:gd name="T64" fmla="*/ 2147483647 w 16384"/>
                    <a:gd name="T65" fmla="*/ 2147483647 h 16384"/>
                    <a:gd name="T66" fmla="*/ 2147483647 w 16384"/>
                    <a:gd name="T67" fmla="*/ 2147483647 h 16384"/>
                    <a:gd name="T68" fmla="*/ 2147483647 w 16384"/>
                    <a:gd name="T69" fmla="*/ 2147483647 h 16384"/>
                    <a:gd name="T70" fmla="*/ 2147483647 w 16384"/>
                    <a:gd name="T71" fmla="*/ 2147483647 h 16384"/>
                    <a:gd name="T72" fmla="*/ 2147483647 w 16384"/>
                    <a:gd name="T73" fmla="*/ 2147483647 h 16384"/>
                    <a:gd name="T74" fmla="*/ 2147483647 w 16384"/>
                    <a:gd name="T75" fmla="*/ 2147483647 h 16384"/>
                    <a:gd name="T76" fmla="*/ 2147483647 w 16384"/>
                    <a:gd name="T77" fmla="*/ 2147483647 h 16384"/>
                    <a:gd name="T78" fmla="*/ 2147483647 w 16384"/>
                    <a:gd name="T79" fmla="*/ 2147483647 h 16384"/>
                    <a:gd name="T80" fmla="*/ 2147483647 w 16384"/>
                    <a:gd name="T81" fmla="*/ 2147483647 h 16384"/>
                    <a:gd name="T82" fmla="*/ 2147483647 w 16384"/>
                    <a:gd name="T83" fmla="*/ 2147483647 h 16384"/>
                    <a:gd name="T84" fmla="*/ 2147483647 w 16384"/>
                    <a:gd name="T85" fmla="*/ 2147483647 h 16384"/>
                    <a:gd name="T86" fmla="*/ 2147483647 w 16384"/>
                    <a:gd name="T87" fmla="*/ 2147483647 h 16384"/>
                    <a:gd name="T88" fmla="*/ 2147483647 w 16384"/>
                    <a:gd name="T89" fmla="*/ 2147483647 h 16384"/>
                    <a:gd name="T90" fmla="*/ 2147483647 w 16384"/>
                    <a:gd name="T91" fmla="*/ 2147483647 h 16384"/>
                    <a:gd name="T92" fmla="*/ 2147483647 w 16384"/>
                    <a:gd name="T93" fmla="*/ 2147483647 h 16384"/>
                    <a:gd name="T94" fmla="*/ 2147483647 w 16384"/>
                    <a:gd name="T95" fmla="*/ 2147483647 h 16384"/>
                    <a:gd name="T96" fmla="*/ 2147483647 w 16384"/>
                    <a:gd name="T97" fmla="*/ 2147483647 h 16384"/>
                    <a:gd name="T98" fmla="*/ 2147483647 w 16384"/>
                    <a:gd name="T99" fmla="*/ 2147483647 h 16384"/>
                    <a:gd name="T100" fmla="*/ 2147483647 w 16384"/>
                    <a:gd name="T101" fmla="*/ 2147483647 h 16384"/>
                    <a:gd name="T102" fmla="*/ 2147483647 w 16384"/>
                    <a:gd name="T103" fmla="*/ 2147483647 h 16384"/>
                    <a:gd name="T104" fmla="*/ 2147483647 w 16384"/>
                    <a:gd name="T105" fmla="*/ 2147483647 h 16384"/>
                    <a:gd name="T106" fmla="*/ 2147483647 w 16384"/>
                    <a:gd name="T107" fmla="*/ 2147483647 h 16384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w 16384"/>
                    <a:gd name="T163" fmla="*/ 0 h 16384"/>
                    <a:gd name="T164" fmla="*/ 16384 w 16384"/>
                    <a:gd name="T165" fmla="*/ 16384 h 16384"/>
                  </a:gdLst>
                  <a:ahLst/>
                  <a:cxnLst>
                    <a:cxn ang="T108">
                      <a:pos x="T0" y="T1"/>
                    </a:cxn>
                    <a:cxn ang="T109">
                      <a:pos x="T2" y="T3"/>
                    </a:cxn>
                    <a:cxn ang="T110">
                      <a:pos x="T4" y="T5"/>
                    </a:cxn>
                    <a:cxn ang="T111">
                      <a:pos x="T6" y="T7"/>
                    </a:cxn>
                    <a:cxn ang="T112">
                      <a:pos x="T8" y="T9"/>
                    </a:cxn>
                    <a:cxn ang="T113">
                      <a:pos x="T10" y="T11"/>
                    </a:cxn>
                    <a:cxn ang="T114">
                      <a:pos x="T12" y="T13"/>
                    </a:cxn>
                    <a:cxn ang="T115">
                      <a:pos x="T14" y="T15"/>
                    </a:cxn>
                    <a:cxn ang="T116">
                      <a:pos x="T16" y="T17"/>
                    </a:cxn>
                    <a:cxn ang="T117">
                      <a:pos x="T18" y="T19"/>
                    </a:cxn>
                    <a:cxn ang="T118">
                      <a:pos x="T20" y="T21"/>
                    </a:cxn>
                    <a:cxn ang="T119">
                      <a:pos x="T22" y="T23"/>
                    </a:cxn>
                    <a:cxn ang="T120">
                      <a:pos x="T24" y="T25"/>
                    </a:cxn>
                    <a:cxn ang="T121">
                      <a:pos x="T26" y="T27"/>
                    </a:cxn>
                    <a:cxn ang="T122">
                      <a:pos x="T28" y="T29"/>
                    </a:cxn>
                    <a:cxn ang="T123">
                      <a:pos x="T30" y="T31"/>
                    </a:cxn>
                    <a:cxn ang="T124">
                      <a:pos x="T32" y="T33"/>
                    </a:cxn>
                    <a:cxn ang="T125">
                      <a:pos x="T34" y="T35"/>
                    </a:cxn>
                    <a:cxn ang="T126">
                      <a:pos x="T36" y="T37"/>
                    </a:cxn>
                    <a:cxn ang="T127">
                      <a:pos x="T38" y="T39"/>
                    </a:cxn>
                    <a:cxn ang="T128">
                      <a:pos x="T40" y="T41"/>
                    </a:cxn>
                    <a:cxn ang="T129">
                      <a:pos x="T42" y="T43"/>
                    </a:cxn>
                    <a:cxn ang="T130">
                      <a:pos x="T44" y="T45"/>
                    </a:cxn>
                    <a:cxn ang="T131">
                      <a:pos x="T46" y="T47"/>
                    </a:cxn>
                    <a:cxn ang="T132">
                      <a:pos x="T48" y="T49"/>
                    </a:cxn>
                    <a:cxn ang="T133">
                      <a:pos x="T50" y="T51"/>
                    </a:cxn>
                    <a:cxn ang="T134">
                      <a:pos x="T52" y="T53"/>
                    </a:cxn>
                    <a:cxn ang="T135">
                      <a:pos x="T54" y="T55"/>
                    </a:cxn>
                    <a:cxn ang="T136">
                      <a:pos x="T56" y="T57"/>
                    </a:cxn>
                    <a:cxn ang="T137">
                      <a:pos x="T58" y="T59"/>
                    </a:cxn>
                    <a:cxn ang="T138">
                      <a:pos x="T60" y="T61"/>
                    </a:cxn>
                    <a:cxn ang="T139">
                      <a:pos x="T62" y="T63"/>
                    </a:cxn>
                    <a:cxn ang="T140">
                      <a:pos x="T64" y="T65"/>
                    </a:cxn>
                    <a:cxn ang="T141">
                      <a:pos x="T66" y="T67"/>
                    </a:cxn>
                    <a:cxn ang="T142">
                      <a:pos x="T68" y="T69"/>
                    </a:cxn>
                    <a:cxn ang="T143">
                      <a:pos x="T70" y="T71"/>
                    </a:cxn>
                    <a:cxn ang="T144">
                      <a:pos x="T72" y="T73"/>
                    </a:cxn>
                    <a:cxn ang="T145">
                      <a:pos x="T74" y="T75"/>
                    </a:cxn>
                    <a:cxn ang="T146">
                      <a:pos x="T76" y="T77"/>
                    </a:cxn>
                    <a:cxn ang="T147">
                      <a:pos x="T78" y="T79"/>
                    </a:cxn>
                    <a:cxn ang="T148">
                      <a:pos x="T80" y="T81"/>
                    </a:cxn>
                    <a:cxn ang="T149">
                      <a:pos x="T82" y="T83"/>
                    </a:cxn>
                    <a:cxn ang="T150">
                      <a:pos x="T84" y="T85"/>
                    </a:cxn>
                    <a:cxn ang="T151">
                      <a:pos x="T86" y="T87"/>
                    </a:cxn>
                    <a:cxn ang="T152">
                      <a:pos x="T88" y="T89"/>
                    </a:cxn>
                    <a:cxn ang="T153">
                      <a:pos x="T90" y="T91"/>
                    </a:cxn>
                    <a:cxn ang="T154">
                      <a:pos x="T92" y="T93"/>
                    </a:cxn>
                    <a:cxn ang="T155">
                      <a:pos x="T94" y="T95"/>
                    </a:cxn>
                    <a:cxn ang="T156">
                      <a:pos x="T96" y="T97"/>
                    </a:cxn>
                    <a:cxn ang="T157">
                      <a:pos x="T98" y="T99"/>
                    </a:cxn>
                    <a:cxn ang="T158">
                      <a:pos x="T100" y="T101"/>
                    </a:cxn>
                    <a:cxn ang="T159">
                      <a:pos x="T102" y="T103"/>
                    </a:cxn>
                    <a:cxn ang="T160">
                      <a:pos x="T104" y="T105"/>
                    </a:cxn>
                    <a:cxn ang="T161">
                      <a:pos x="T106" y="T107"/>
                    </a:cxn>
                  </a:cxnLst>
                  <a:rect l="T162" t="T163" r="T164" b="T165"/>
                  <a:pathLst>
                    <a:path w="16384" h="16384">
                      <a:moveTo>
                        <a:pt x="13146" y="15981"/>
                      </a:moveTo>
                      <a:lnTo>
                        <a:pt x="13276" y="15834"/>
                      </a:lnTo>
                      <a:lnTo>
                        <a:pt x="13211" y="15724"/>
                      </a:lnTo>
                      <a:lnTo>
                        <a:pt x="13211" y="15651"/>
                      </a:lnTo>
                      <a:lnTo>
                        <a:pt x="12952" y="15504"/>
                      </a:lnTo>
                      <a:lnTo>
                        <a:pt x="12952" y="15431"/>
                      </a:lnTo>
                      <a:lnTo>
                        <a:pt x="12952" y="15358"/>
                      </a:lnTo>
                      <a:lnTo>
                        <a:pt x="13017" y="15248"/>
                      </a:lnTo>
                      <a:lnTo>
                        <a:pt x="13017" y="15101"/>
                      </a:lnTo>
                      <a:lnTo>
                        <a:pt x="13081" y="15028"/>
                      </a:lnTo>
                      <a:lnTo>
                        <a:pt x="13146" y="14991"/>
                      </a:lnTo>
                      <a:lnTo>
                        <a:pt x="13340" y="14955"/>
                      </a:lnTo>
                      <a:lnTo>
                        <a:pt x="13470" y="14955"/>
                      </a:lnTo>
                      <a:lnTo>
                        <a:pt x="13535" y="14955"/>
                      </a:lnTo>
                      <a:lnTo>
                        <a:pt x="13858" y="14845"/>
                      </a:lnTo>
                      <a:lnTo>
                        <a:pt x="14182" y="14771"/>
                      </a:lnTo>
                      <a:lnTo>
                        <a:pt x="14506" y="14771"/>
                      </a:lnTo>
                      <a:lnTo>
                        <a:pt x="14571" y="14735"/>
                      </a:lnTo>
                      <a:lnTo>
                        <a:pt x="14636" y="14661"/>
                      </a:lnTo>
                      <a:lnTo>
                        <a:pt x="14506" y="14551"/>
                      </a:lnTo>
                      <a:lnTo>
                        <a:pt x="14376" y="14478"/>
                      </a:lnTo>
                      <a:lnTo>
                        <a:pt x="14247" y="14331"/>
                      </a:lnTo>
                      <a:lnTo>
                        <a:pt x="14182" y="14221"/>
                      </a:lnTo>
                      <a:lnTo>
                        <a:pt x="14247" y="14111"/>
                      </a:lnTo>
                      <a:lnTo>
                        <a:pt x="14441" y="14038"/>
                      </a:lnTo>
                      <a:lnTo>
                        <a:pt x="14636" y="13928"/>
                      </a:lnTo>
                      <a:lnTo>
                        <a:pt x="14700" y="13818"/>
                      </a:lnTo>
                      <a:lnTo>
                        <a:pt x="14636" y="13745"/>
                      </a:lnTo>
                      <a:lnTo>
                        <a:pt x="14441" y="13745"/>
                      </a:lnTo>
                      <a:lnTo>
                        <a:pt x="14571" y="13635"/>
                      </a:lnTo>
                      <a:lnTo>
                        <a:pt x="14376" y="13562"/>
                      </a:lnTo>
                      <a:lnTo>
                        <a:pt x="14376" y="13525"/>
                      </a:lnTo>
                      <a:lnTo>
                        <a:pt x="14441" y="13525"/>
                      </a:lnTo>
                      <a:lnTo>
                        <a:pt x="14636" y="13488"/>
                      </a:lnTo>
                      <a:lnTo>
                        <a:pt x="14636" y="13378"/>
                      </a:lnTo>
                      <a:lnTo>
                        <a:pt x="14636" y="13195"/>
                      </a:lnTo>
                      <a:lnTo>
                        <a:pt x="14571" y="13085"/>
                      </a:lnTo>
                      <a:lnTo>
                        <a:pt x="14830" y="12975"/>
                      </a:lnTo>
                      <a:lnTo>
                        <a:pt x="14895" y="12829"/>
                      </a:lnTo>
                      <a:lnTo>
                        <a:pt x="15024" y="12755"/>
                      </a:lnTo>
                      <a:lnTo>
                        <a:pt x="14959" y="12682"/>
                      </a:lnTo>
                      <a:lnTo>
                        <a:pt x="14765" y="12682"/>
                      </a:lnTo>
                      <a:lnTo>
                        <a:pt x="14700" y="12609"/>
                      </a:lnTo>
                      <a:lnTo>
                        <a:pt x="14636" y="12535"/>
                      </a:lnTo>
                      <a:lnTo>
                        <a:pt x="14765" y="12499"/>
                      </a:lnTo>
                      <a:lnTo>
                        <a:pt x="14830" y="12462"/>
                      </a:lnTo>
                      <a:lnTo>
                        <a:pt x="14830" y="12352"/>
                      </a:lnTo>
                      <a:lnTo>
                        <a:pt x="14959" y="12352"/>
                      </a:lnTo>
                      <a:lnTo>
                        <a:pt x="15024" y="12389"/>
                      </a:lnTo>
                      <a:lnTo>
                        <a:pt x="15089" y="12315"/>
                      </a:lnTo>
                      <a:lnTo>
                        <a:pt x="15283" y="12352"/>
                      </a:lnTo>
                      <a:lnTo>
                        <a:pt x="15283" y="12315"/>
                      </a:lnTo>
                      <a:lnTo>
                        <a:pt x="15283" y="12169"/>
                      </a:lnTo>
                      <a:lnTo>
                        <a:pt x="15413" y="12059"/>
                      </a:lnTo>
                      <a:lnTo>
                        <a:pt x="15542" y="11949"/>
                      </a:lnTo>
                      <a:lnTo>
                        <a:pt x="15607" y="11876"/>
                      </a:lnTo>
                      <a:lnTo>
                        <a:pt x="15542" y="11802"/>
                      </a:lnTo>
                      <a:lnTo>
                        <a:pt x="15607" y="11766"/>
                      </a:lnTo>
                      <a:lnTo>
                        <a:pt x="15801" y="11692"/>
                      </a:lnTo>
                      <a:lnTo>
                        <a:pt x="15801" y="11582"/>
                      </a:lnTo>
                      <a:lnTo>
                        <a:pt x="15866" y="11509"/>
                      </a:lnTo>
                      <a:lnTo>
                        <a:pt x="15931" y="11399"/>
                      </a:lnTo>
                      <a:lnTo>
                        <a:pt x="15931" y="11289"/>
                      </a:lnTo>
                      <a:lnTo>
                        <a:pt x="16060" y="11179"/>
                      </a:lnTo>
                      <a:lnTo>
                        <a:pt x="16254" y="11106"/>
                      </a:lnTo>
                      <a:lnTo>
                        <a:pt x="16384" y="11069"/>
                      </a:lnTo>
                      <a:lnTo>
                        <a:pt x="16384" y="10959"/>
                      </a:lnTo>
                      <a:lnTo>
                        <a:pt x="16319" y="10776"/>
                      </a:lnTo>
                      <a:lnTo>
                        <a:pt x="16190" y="10629"/>
                      </a:lnTo>
                      <a:lnTo>
                        <a:pt x="16190" y="10483"/>
                      </a:lnTo>
                      <a:lnTo>
                        <a:pt x="16254" y="10336"/>
                      </a:lnTo>
                      <a:lnTo>
                        <a:pt x="16190" y="10300"/>
                      </a:lnTo>
                      <a:lnTo>
                        <a:pt x="15995" y="10190"/>
                      </a:lnTo>
                      <a:lnTo>
                        <a:pt x="15931" y="10006"/>
                      </a:lnTo>
                      <a:lnTo>
                        <a:pt x="15866" y="9970"/>
                      </a:lnTo>
                      <a:lnTo>
                        <a:pt x="15607" y="9860"/>
                      </a:lnTo>
                      <a:lnTo>
                        <a:pt x="15542" y="9823"/>
                      </a:lnTo>
                      <a:lnTo>
                        <a:pt x="15672" y="9713"/>
                      </a:lnTo>
                      <a:lnTo>
                        <a:pt x="15736" y="9640"/>
                      </a:lnTo>
                      <a:lnTo>
                        <a:pt x="15866" y="9566"/>
                      </a:lnTo>
                      <a:lnTo>
                        <a:pt x="15801" y="9493"/>
                      </a:lnTo>
                      <a:lnTo>
                        <a:pt x="15801" y="9457"/>
                      </a:lnTo>
                      <a:lnTo>
                        <a:pt x="15736" y="9383"/>
                      </a:lnTo>
                      <a:lnTo>
                        <a:pt x="15672" y="9310"/>
                      </a:lnTo>
                      <a:lnTo>
                        <a:pt x="15801" y="9237"/>
                      </a:lnTo>
                      <a:lnTo>
                        <a:pt x="15995" y="9163"/>
                      </a:lnTo>
                      <a:lnTo>
                        <a:pt x="15931" y="8797"/>
                      </a:lnTo>
                      <a:lnTo>
                        <a:pt x="15931" y="8430"/>
                      </a:lnTo>
                      <a:lnTo>
                        <a:pt x="15736" y="7661"/>
                      </a:lnTo>
                      <a:lnTo>
                        <a:pt x="15672" y="6854"/>
                      </a:lnTo>
                      <a:lnTo>
                        <a:pt x="15542" y="5865"/>
                      </a:lnTo>
                      <a:lnTo>
                        <a:pt x="15477" y="5865"/>
                      </a:lnTo>
                      <a:lnTo>
                        <a:pt x="15413" y="5131"/>
                      </a:lnTo>
                      <a:lnTo>
                        <a:pt x="15283" y="4288"/>
                      </a:lnTo>
                      <a:lnTo>
                        <a:pt x="15218" y="3849"/>
                      </a:lnTo>
                      <a:lnTo>
                        <a:pt x="15154" y="3482"/>
                      </a:lnTo>
                      <a:lnTo>
                        <a:pt x="15089" y="2969"/>
                      </a:lnTo>
                      <a:lnTo>
                        <a:pt x="14959" y="2163"/>
                      </a:lnTo>
                      <a:lnTo>
                        <a:pt x="14830" y="2126"/>
                      </a:lnTo>
                      <a:lnTo>
                        <a:pt x="14765" y="2053"/>
                      </a:lnTo>
                      <a:lnTo>
                        <a:pt x="14571" y="1869"/>
                      </a:lnTo>
                      <a:lnTo>
                        <a:pt x="14506" y="1613"/>
                      </a:lnTo>
                      <a:lnTo>
                        <a:pt x="14441" y="1466"/>
                      </a:lnTo>
                      <a:lnTo>
                        <a:pt x="14312" y="1320"/>
                      </a:lnTo>
                      <a:lnTo>
                        <a:pt x="14247" y="1210"/>
                      </a:lnTo>
                      <a:lnTo>
                        <a:pt x="13988" y="1063"/>
                      </a:lnTo>
                      <a:lnTo>
                        <a:pt x="13858" y="990"/>
                      </a:lnTo>
                      <a:lnTo>
                        <a:pt x="13729" y="880"/>
                      </a:lnTo>
                      <a:lnTo>
                        <a:pt x="13599" y="770"/>
                      </a:lnTo>
                      <a:lnTo>
                        <a:pt x="13535" y="660"/>
                      </a:lnTo>
                      <a:lnTo>
                        <a:pt x="13535" y="513"/>
                      </a:lnTo>
                      <a:lnTo>
                        <a:pt x="13599" y="403"/>
                      </a:lnTo>
                      <a:lnTo>
                        <a:pt x="13599" y="183"/>
                      </a:lnTo>
                      <a:lnTo>
                        <a:pt x="13599" y="73"/>
                      </a:lnTo>
                      <a:lnTo>
                        <a:pt x="13599" y="0"/>
                      </a:lnTo>
                      <a:lnTo>
                        <a:pt x="12045" y="73"/>
                      </a:lnTo>
                      <a:lnTo>
                        <a:pt x="11592" y="73"/>
                      </a:lnTo>
                      <a:lnTo>
                        <a:pt x="10167" y="147"/>
                      </a:lnTo>
                      <a:lnTo>
                        <a:pt x="9843" y="183"/>
                      </a:lnTo>
                      <a:lnTo>
                        <a:pt x="9196" y="183"/>
                      </a:lnTo>
                      <a:lnTo>
                        <a:pt x="7577" y="257"/>
                      </a:lnTo>
                      <a:lnTo>
                        <a:pt x="7512" y="257"/>
                      </a:lnTo>
                      <a:lnTo>
                        <a:pt x="5764" y="293"/>
                      </a:lnTo>
                      <a:lnTo>
                        <a:pt x="5505" y="330"/>
                      </a:lnTo>
                      <a:lnTo>
                        <a:pt x="3562" y="367"/>
                      </a:lnTo>
                      <a:lnTo>
                        <a:pt x="2720" y="403"/>
                      </a:lnTo>
                      <a:lnTo>
                        <a:pt x="2720" y="476"/>
                      </a:lnTo>
                      <a:lnTo>
                        <a:pt x="3367" y="733"/>
                      </a:lnTo>
                      <a:lnTo>
                        <a:pt x="3497" y="770"/>
                      </a:lnTo>
                      <a:lnTo>
                        <a:pt x="3626" y="880"/>
                      </a:lnTo>
                      <a:lnTo>
                        <a:pt x="3626" y="990"/>
                      </a:lnTo>
                      <a:lnTo>
                        <a:pt x="3691" y="1136"/>
                      </a:lnTo>
                      <a:lnTo>
                        <a:pt x="3821" y="1210"/>
                      </a:lnTo>
                      <a:lnTo>
                        <a:pt x="4015" y="1246"/>
                      </a:lnTo>
                      <a:lnTo>
                        <a:pt x="4339" y="1320"/>
                      </a:lnTo>
                      <a:lnTo>
                        <a:pt x="4598" y="1429"/>
                      </a:lnTo>
                      <a:lnTo>
                        <a:pt x="4663" y="1539"/>
                      </a:lnTo>
                      <a:lnTo>
                        <a:pt x="4727" y="1723"/>
                      </a:lnTo>
                      <a:lnTo>
                        <a:pt x="4792" y="1796"/>
                      </a:lnTo>
                      <a:lnTo>
                        <a:pt x="4727" y="1943"/>
                      </a:lnTo>
                      <a:lnTo>
                        <a:pt x="4727" y="2016"/>
                      </a:lnTo>
                      <a:lnTo>
                        <a:pt x="4727" y="2126"/>
                      </a:lnTo>
                      <a:lnTo>
                        <a:pt x="4727" y="2309"/>
                      </a:lnTo>
                      <a:lnTo>
                        <a:pt x="4663" y="2346"/>
                      </a:lnTo>
                      <a:lnTo>
                        <a:pt x="4468" y="2456"/>
                      </a:lnTo>
                      <a:lnTo>
                        <a:pt x="4339" y="2492"/>
                      </a:lnTo>
                      <a:lnTo>
                        <a:pt x="4274" y="2566"/>
                      </a:lnTo>
                      <a:lnTo>
                        <a:pt x="4209" y="2639"/>
                      </a:lnTo>
                      <a:lnTo>
                        <a:pt x="4145" y="2749"/>
                      </a:lnTo>
                      <a:lnTo>
                        <a:pt x="4145" y="2969"/>
                      </a:lnTo>
                      <a:lnTo>
                        <a:pt x="4080" y="3042"/>
                      </a:lnTo>
                      <a:lnTo>
                        <a:pt x="3886" y="3152"/>
                      </a:lnTo>
                      <a:lnTo>
                        <a:pt x="3691" y="3225"/>
                      </a:lnTo>
                      <a:lnTo>
                        <a:pt x="3367" y="3299"/>
                      </a:lnTo>
                      <a:lnTo>
                        <a:pt x="3108" y="3372"/>
                      </a:lnTo>
                      <a:lnTo>
                        <a:pt x="2979" y="3445"/>
                      </a:lnTo>
                      <a:lnTo>
                        <a:pt x="2720" y="3482"/>
                      </a:lnTo>
                      <a:lnTo>
                        <a:pt x="2526" y="3482"/>
                      </a:lnTo>
                      <a:lnTo>
                        <a:pt x="2267" y="3519"/>
                      </a:lnTo>
                      <a:lnTo>
                        <a:pt x="2137" y="3555"/>
                      </a:lnTo>
                      <a:lnTo>
                        <a:pt x="1943" y="3592"/>
                      </a:lnTo>
                      <a:lnTo>
                        <a:pt x="1684" y="3592"/>
                      </a:lnTo>
                      <a:lnTo>
                        <a:pt x="1619" y="3592"/>
                      </a:lnTo>
                      <a:lnTo>
                        <a:pt x="1489" y="3665"/>
                      </a:lnTo>
                      <a:lnTo>
                        <a:pt x="1425" y="3885"/>
                      </a:lnTo>
                      <a:lnTo>
                        <a:pt x="1425" y="3922"/>
                      </a:lnTo>
                      <a:lnTo>
                        <a:pt x="1425" y="3959"/>
                      </a:lnTo>
                      <a:lnTo>
                        <a:pt x="1295" y="4105"/>
                      </a:lnTo>
                      <a:lnTo>
                        <a:pt x="1360" y="4215"/>
                      </a:lnTo>
                      <a:lnTo>
                        <a:pt x="1489" y="4288"/>
                      </a:lnTo>
                      <a:lnTo>
                        <a:pt x="1619" y="4362"/>
                      </a:lnTo>
                      <a:lnTo>
                        <a:pt x="1748" y="4398"/>
                      </a:lnTo>
                      <a:lnTo>
                        <a:pt x="1878" y="4508"/>
                      </a:lnTo>
                      <a:lnTo>
                        <a:pt x="1943" y="4618"/>
                      </a:lnTo>
                      <a:lnTo>
                        <a:pt x="1943" y="4655"/>
                      </a:lnTo>
                      <a:lnTo>
                        <a:pt x="1943" y="4948"/>
                      </a:lnTo>
                      <a:lnTo>
                        <a:pt x="1878" y="5058"/>
                      </a:lnTo>
                      <a:lnTo>
                        <a:pt x="1619" y="5241"/>
                      </a:lnTo>
                      <a:lnTo>
                        <a:pt x="1425" y="5388"/>
                      </a:lnTo>
                      <a:lnTo>
                        <a:pt x="1425" y="5608"/>
                      </a:lnTo>
                      <a:lnTo>
                        <a:pt x="1425" y="5718"/>
                      </a:lnTo>
                      <a:lnTo>
                        <a:pt x="1425" y="5791"/>
                      </a:lnTo>
                      <a:lnTo>
                        <a:pt x="1230" y="5901"/>
                      </a:lnTo>
                      <a:lnTo>
                        <a:pt x="1101" y="5938"/>
                      </a:lnTo>
                      <a:lnTo>
                        <a:pt x="842" y="5974"/>
                      </a:lnTo>
                      <a:lnTo>
                        <a:pt x="648" y="5974"/>
                      </a:lnTo>
                      <a:lnTo>
                        <a:pt x="453" y="6048"/>
                      </a:lnTo>
                      <a:lnTo>
                        <a:pt x="389" y="6121"/>
                      </a:lnTo>
                      <a:lnTo>
                        <a:pt x="194" y="6194"/>
                      </a:lnTo>
                      <a:lnTo>
                        <a:pt x="194" y="6231"/>
                      </a:lnTo>
                      <a:lnTo>
                        <a:pt x="389" y="6378"/>
                      </a:lnTo>
                      <a:lnTo>
                        <a:pt x="324" y="6524"/>
                      </a:lnTo>
                      <a:lnTo>
                        <a:pt x="389" y="6598"/>
                      </a:lnTo>
                      <a:lnTo>
                        <a:pt x="389" y="6671"/>
                      </a:lnTo>
                      <a:lnTo>
                        <a:pt x="324" y="6708"/>
                      </a:lnTo>
                      <a:lnTo>
                        <a:pt x="259" y="6744"/>
                      </a:lnTo>
                      <a:lnTo>
                        <a:pt x="194" y="6818"/>
                      </a:lnTo>
                      <a:lnTo>
                        <a:pt x="65" y="7037"/>
                      </a:lnTo>
                      <a:lnTo>
                        <a:pt x="0" y="7111"/>
                      </a:lnTo>
                      <a:lnTo>
                        <a:pt x="0" y="7257"/>
                      </a:lnTo>
                      <a:lnTo>
                        <a:pt x="0" y="7404"/>
                      </a:lnTo>
                      <a:lnTo>
                        <a:pt x="65" y="7734"/>
                      </a:lnTo>
                      <a:lnTo>
                        <a:pt x="194" y="7844"/>
                      </a:lnTo>
                      <a:lnTo>
                        <a:pt x="324" y="8027"/>
                      </a:lnTo>
                      <a:lnTo>
                        <a:pt x="259" y="8100"/>
                      </a:lnTo>
                      <a:lnTo>
                        <a:pt x="194" y="8210"/>
                      </a:lnTo>
                      <a:lnTo>
                        <a:pt x="259" y="8284"/>
                      </a:lnTo>
                      <a:lnTo>
                        <a:pt x="518" y="8430"/>
                      </a:lnTo>
                      <a:lnTo>
                        <a:pt x="648" y="8540"/>
                      </a:lnTo>
                      <a:lnTo>
                        <a:pt x="648" y="8614"/>
                      </a:lnTo>
                      <a:lnTo>
                        <a:pt x="777" y="8687"/>
                      </a:lnTo>
                      <a:lnTo>
                        <a:pt x="971" y="8760"/>
                      </a:lnTo>
                      <a:lnTo>
                        <a:pt x="1360" y="9017"/>
                      </a:lnTo>
                      <a:lnTo>
                        <a:pt x="1489" y="9090"/>
                      </a:lnTo>
                      <a:lnTo>
                        <a:pt x="1748" y="9237"/>
                      </a:lnTo>
                      <a:lnTo>
                        <a:pt x="1878" y="9420"/>
                      </a:lnTo>
                      <a:lnTo>
                        <a:pt x="2008" y="9420"/>
                      </a:lnTo>
                      <a:lnTo>
                        <a:pt x="2267" y="9530"/>
                      </a:lnTo>
                      <a:lnTo>
                        <a:pt x="2396" y="9530"/>
                      </a:lnTo>
                      <a:lnTo>
                        <a:pt x="2590" y="9640"/>
                      </a:lnTo>
                      <a:lnTo>
                        <a:pt x="2914" y="9823"/>
                      </a:lnTo>
                      <a:lnTo>
                        <a:pt x="3173" y="9933"/>
                      </a:lnTo>
                      <a:lnTo>
                        <a:pt x="3238" y="10006"/>
                      </a:lnTo>
                      <a:lnTo>
                        <a:pt x="3303" y="10080"/>
                      </a:lnTo>
                      <a:lnTo>
                        <a:pt x="3303" y="10153"/>
                      </a:lnTo>
                      <a:lnTo>
                        <a:pt x="3367" y="10300"/>
                      </a:lnTo>
                      <a:lnTo>
                        <a:pt x="3432" y="10373"/>
                      </a:lnTo>
                      <a:lnTo>
                        <a:pt x="3367" y="10556"/>
                      </a:lnTo>
                      <a:lnTo>
                        <a:pt x="3497" y="10703"/>
                      </a:lnTo>
                      <a:lnTo>
                        <a:pt x="3562" y="10886"/>
                      </a:lnTo>
                      <a:lnTo>
                        <a:pt x="3626" y="10959"/>
                      </a:lnTo>
                      <a:lnTo>
                        <a:pt x="3756" y="11033"/>
                      </a:lnTo>
                      <a:lnTo>
                        <a:pt x="3886" y="11106"/>
                      </a:lnTo>
                      <a:lnTo>
                        <a:pt x="4080" y="11069"/>
                      </a:lnTo>
                      <a:lnTo>
                        <a:pt x="4145" y="10996"/>
                      </a:lnTo>
                      <a:lnTo>
                        <a:pt x="4274" y="10886"/>
                      </a:lnTo>
                      <a:lnTo>
                        <a:pt x="4468" y="10776"/>
                      </a:lnTo>
                      <a:lnTo>
                        <a:pt x="4663" y="10776"/>
                      </a:lnTo>
                      <a:lnTo>
                        <a:pt x="4792" y="10813"/>
                      </a:lnTo>
                      <a:lnTo>
                        <a:pt x="5051" y="10886"/>
                      </a:lnTo>
                      <a:lnTo>
                        <a:pt x="5181" y="10849"/>
                      </a:lnTo>
                      <a:lnTo>
                        <a:pt x="5310" y="10886"/>
                      </a:lnTo>
                      <a:lnTo>
                        <a:pt x="5569" y="10959"/>
                      </a:lnTo>
                      <a:lnTo>
                        <a:pt x="5764" y="11033"/>
                      </a:lnTo>
                      <a:lnTo>
                        <a:pt x="5828" y="11143"/>
                      </a:lnTo>
                      <a:lnTo>
                        <a:pt x="5893" y="11216"/>
                      </a:lnTo>
                      <a:lnTo>
                        <a:pt x="5764" y="11253"/>
                      </a:lnTo>
                      <a:lnTo>
                        <a:pt x="5634" y="11289"/>
                      </a:lnTo>
                      <a:lnTo>
                        <a:pt x="5634" y="11399"/>
                      </a:lnTo>
                      <a:lnTo>
                        <a:pt x="5569" y="11546"/>
                      </a:lnTo>
                      <a:lnTo>
                        <a:pt x="5634" y="11656"/>
                      </a:lnTo>
                      <a:lnTo>
                        <a:pt x="5699" y="11766"/>
                      </a:lnTo>
                      <a:lnTo>
                        <a:pt x="5634" y="11876"/>
                      </a:lnTo>
                      <a:lnTo>
                        <a:pt x="5440" y="11986"/>
                      </a:lnTo>
                      <a:lnTo>
                        <a:pt x="5375" y="12096"/>
                      </a:lnTo>
                      <a:lnTo>
                        <a:pt x="5245" y="12315"/>
                      </a:lnTo>
                      <a:lnTo>
                        <a:pt x="5116" y="12389"/>
                      </a:lnTo>
                      <a:lnTo>
                        <a:pt x="4986" y="12462"/>
                      </a:lnTo>
                      <a:lnTo>
                        <a:pt x="4922" y="12645"/>
                      </a:lnTo>
                      <a:lnTo>
                        <a:pt x="4986" y="12902"/>
                      </a:lnTo>
                      <a:lnTo>
                        <a:pt x="5051" y="12975"/>
                      </a:lnTo>
                      <a:lnTo>
                        <a:pt x="5310" y="13085"/>
                      </a:lnTo>
                      <a:lnTo>
                        <a:pt x="5569" y="13232"/>
                      </a:lnTo>
                      <a:lnTo>
                        <a:pt x="5764" y="13305"/>
                      </a:lnTo>
                      <a:lnTo>
                        <a:pt x="5764" y="13342"/>
                      </a:lnTo>
                      <a:lnTo>
                        <a:pt x="5958" y="13378"/>
                      </a:lnTo>
                      <a:lnTo>
                        <a:pt x="6087" y="13488"/>
                      </a:lnTo>
                      <a:lnTo>
                        <a:pt x="6605" y="13635"/>
                      </a:lnTo>
                      <a:lnTo>
                        <a:pt x="6800" y="13598"/>
                      </a:lnTo>
                      <a:lnTo>
                        <a:pt x="6864" y="13635"/>
                      </a:lnTo>
                      <a:lnTo>
                        <a:pt x="6864" y="13672"/>
                      </a:lnTo>
                      <a:lnTo>
                        <a:pt x="6670" y="13745"/>
                      </a:lnTo>
                      <a:lnTo>
                        <a:pt x="6735" y="13782"/>
                      </a:lnTo>
                      <a:lnTo>
                        <a:pt x="6929" y="13855"/>
                      </a:lnTo>
                      <a:lnTo>
                        <a:pt x="7059" y="13892"/>
                      </a:lnTo>
                      <a:lnTo>
                        <a:pt x="7253" y="13855"/>
                      </a:lnTo>
                      <a:lnTo>
                        <a:pt x="7771" y="14038"/>
                      </a:lnTo>
                      <a:lnTo>
                        <a:pt x="8030" y="14075"/>
                      </a:lnTo>
                      <a:lnTo>
                        <a:pt x="8095" y="14148"/>
                      </a:lnTo>
                      <a:lnTo>
                        <a:pt x="8160" y="14221"/>
                      </a:lnTo>
                      <a:lnTo>
                        <a:pt x="8548" y="14405"/>
                      </a:lnTo>
                      <a:lnTo>
                        <a:pt x="8678" y="14441"/>
                      </a:lnTo>
                      <a:lnTo>
                        <a:pt x="8742" y="14515"/>
                      </a:lnTo>
                      <a:lnTo>
                        <a:pt x="8678" y="14698"/>
                      </a:lnTo>
                      <a:lnTo>
                        <a:pt x="8678" y="14735"/>
                      </a:lnTo>
                      <a:lnTo>
                        <a:pt x="8807" y="14845"/>
                      </a:lnTo>
                      <a:lnTo>
                        <a:pt x="9066" y="15138"/>
                      </a:lnTo>
                      <a:lnTo>
                        <a:pt x="9196" y="15284"/>
                      </a:lnTo>
                      <a:lnTo>
                        <a:pt x="9131" y="15321"/>
                      </a:lnTo>
                      <a:lnTo>
                        <a:pt x="9001" y="15394"/>
                      </a:lnTo>
                      <a:lnTo>
                        <a:pt x="8872" y="15468"/>
                      </a:lnTo>
                      <a:lnTo>
                        <a:pt x="8807" y="15578"/>
                      </a:lnTo>
                      <a:lnTo>
                        <a:pt x="8872" y="15614"/>
                      </a:lnTo>
                      <a:lnTo>
                        <a:pt x="9001" y="15651"/>
                      </a:lnTo>
                      <a:lnTo>
                        <a:pt x="9066" y="15761"/>
                      </a:lnTo>
                      <a:lnTo>
                        <a:pt x="9131" y="15871"/>
                      </a:lnTo>
                      <a:lnTo>
                        <a:pt x="9325" y="15981"/>
                      </a:lnTo>
                      <a:lnTo>
                        <a:pt x="9390" y="16054"/>
                      </a:lnTo>
                      <a:lnTo>
                        <a:pt x="9390" y="16164"/>
                      </a:lnTo>
                      <a:lnTo>
                        <a:pt x="9584" y="16274"/>
                      </a:lnTo>
                      <a:lnTo>
                        <a:pt x="9714" y="16347"/>
                      </a:lnTo>
                      <a:lnTo>
                        <a:pt x="9779" y="16384"/>
                      </a:lnTo>
                      <a:lnTo>
                        <a:pt x="9908" y="16384"/>
                      </a:lnTo>
                      <a:lnTo>
                        <a:pt x="9973" y="16311"/>
                      </a:lnTo>
                      <a:lnTo>
                        <a:pt x="9843" y="16201"/>
                      </a:lnTo>
                      <a:lnTo>
                        <a:pt x="9843" y="16127"/>
                      </a:lnTo>
                      <a:lnTo>
                        <a:pt x="9908" y="16091"/>
                      </a:lnTo>
                      <a:lnTo>
                        <a:pt x="10038" y="16164"/>
                      </a:lnTo>
                      <a:lnTo>
                        <a:pt x="10232" y="16274"/>
                      </a:lnTo>
                      <a:lnTo>
                        <a:pt x="10297" y="16347"/>
                      </a:lnTo>
                      <a:lnTo>
                        <a:pt x="10232" y="16237"/>
                      </a:lnTo>
                      <a:lnTo>
                        <a:pt x="10297" y="16164"/>
                      </a:lnTo>
                      <a:lnTo>
                        <a:pt x="10426" y="15981"/>
                      </a:lnTo>
                      <a:lnTo>
                        <a:pt x="10491" y="15908"/>
                      </a:lnTo>
                      <a:lnTo>
                        <a:pt x="10556" y="15798"/>
                      </a:lnTo>
                      <a:lnTo>
                        <a:pt x="10750" y="15688"/>
                      </a:lnTo>
                      <a:lnTo>
                        <a:pt x="10879" y="15651"/>
                      </a:lnTo>
                      <a:lnTo>
                        <a:pt x="11074" y="15614"/>
                      </a:lnTo>
                      <a:lnTo>
                        <a:pt x="11203" y="15614"/>
                      </a:lnTo>
                      <a:lnTo>
                        <a:pt x="11592" y="15651"/>
                      </a:lnTo>
                      <a:lnTo>
                        <a:pt x="11721" y="15724"/>
                      </a:lnTo>
                      <a:lnTo>
                        <a:pt x="11980" y="15798"/>
                      </a:lnTo>
                      <a:lnTo>
                        <a:pt x="12110" y="15834"/>
                      </a:lnTo>
                      <a:lnTo>
                        <a:pt x="12434" y="15871"/>
                      </a:lnTo>
                      <a:lnTo>
                        <a:pt x="12693" y="15981"/>
                      </a:lnTo>
                      <a:lnTo>
                        <a:pt x="12887" y="16017"/>
                      </a:lnTo>
                      <a:lnTo>
                        <a:pt x="13081" y="16017"/>
                      </a:lnTo>
                      <a:lnTo>
                        <a:pt x="13146" y="15981"/>
                      </a:lnTo>
                      <a:close/>
                    </a:path>
                  </a:pathLst>
                </a:custGeom>
                <a:solidFill>
                  <a:srgbClr val="FFFF00"/>
                </a:solidFill>
                <a:ln w="9525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defTabSz="121917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33" name="Indiana">
                  <a:extLst>
                    <a:ext uri="{FF2B5EF4-FFF2-40B4-BE49-F238E27FC236}">
                      <a16:creationId xmlns:a16="http://schemas.microsoft.com/office/drawing/2014/main" id="{F94AADFF-CACC-7255-58D5-F0157C1F4F7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0516850" y="6619875"/>
                  <a:ext cx="1847850" cy="3019425"/>
                </a:xfrm>
                <a:custGeom>
                  <a:avLst/>
                  <a:gdLst>
                    <a:gd name="T0" fmla="*/ 2147483647 w 16384"/>
                    <a:gd name="T1" fmla="*/ 2147483647 h 16384"/>
                    <a:gd name="T2" fmla="*/ 2147483647 w 16384"/>
                    <a:gd name="T3" fmla="*/ 2147483647 h 16384"/>
                    <a:gd name="T4" fmla="*/ 2147483647 w 16384"/>
                    <a:gd name="T5" fmla="*/ 2147483647 h 16384"/>
                    <a:gd name="T6" fmla="*/ 2147483647 w 16384"/>
                    <a:gd name="T7" fmla="*/ 2147483647 h 16384"/>
                    <a:gd name="T8" fmla="*/ 2147483647 w 16384"/>
                    <a:gd name="T9" fmla="*/ 2147483647 h 16384"/>
                    <a:gd name="T10" fmla="*/ 2147483647 w 16384"/>
                    <a:gd name="T11" fmla="*/ 2147483647 h 16384"/>
                    <a:gd name="T12" fmla="*/ 2147483647 w 16384"/>
                    <a:gd name="T13" fmla="*/ 2147483647 h 16384"/>
                    <a:gd name="T14" fmla="*/ 2147483647 w 16384"/>
                    <a:gd name="T15" fmla="*/ 2147483647 h 16384"/>
                    <a:gd name="T16" fmla="*/ 2147483647 w 16384"/>
                    <a:gd name="T17" fmla="*/ 2147483647 h 16384"/>
                    <a:gd name="T18" fmla="*/ 2147483647 w 16384"/>
                    <a:gd name="T19" fmla="*/ 2147483647 h 16384"/>
                    <a:gd name="T20" fmla="*/ 2147483647 w 16384"/>
                    <a:gd name="T21" fmla="*/ 2147483647 h 16384"/>
                    <a:gd name="T22" fmla="*/ 2147483647 w 16384"/>
                    <a:gd name="T23" fmla="*/ 2147483647 h 16384"/>
                    <a:gd name="T24" fmla="*/ 2147483647 w 16384"/>
                    <a:gd name="T25" fmla="*/ 2147483647 h 16384"/>
                    <a:gd name="T26" fmla="*/ 2147483647 w 16384"/>
                    <a:gd name="T27" fmla="*/ 2147483647 h 16384"/>
                    <a:gd name="T28" fmla="*/ 2147483647 w 16384"/>
                    <a:gd name="T29" fmla="*/ 2147483647 h 16384"/>
                    <a:gd name="T30" fmla="*/ 2147483647 w 16384"/>
                    <a:gd name="T31" fmla="*/ 2147483647 h 16384"/>
                    <a:gd name="T32" fmla="*/ 2147483647 w 16384"/>
                    <a:gd name="T33" fmla="*/ 2147483647 h 16384"/>
                    <a:gd name="T34" fmla="*/ 2147483647 w 16384"/>
                    <a:gd name="T35" fmla="*/ 2147483647 h 16384"/>
                    <a:gd name="T36" fmla="*/ 2147483647 w 16384"/>
                    <a:gd name="T37" fmla="*/ 2147483647 h 16384"/>
                    <a:gd name="T38" fmla="*/ 2147483647 w 16384"/>
                    <a:gd name="T39" fmla="*/ 2147483647 h 16384"/>
                    <a:gd name="T40" fmla="*/ 2147483647 w 16384"/>
                    <a:gd name="T41" fmla="*/ 2147483647 h 16384"/>
                    <a:gd name="T42" fmla="*/ 2147483647 w 16384"/>
                    <a:gd name="T43" fmla="*/ 2147483647 h 16384"/>
                    <a:gd name="T44" fmla="*/ 2147483647 w 16384"/>
                    <a:gd name="T45" fmla="*/ 2147483647 h 16384"/>
                    <a:gd name="T46" fmla="*/ 2147483647 w 16384"/>
                    <a:gd name="T47" fmla="*/ 2147483647 h 16384"/>
                    <a:gd name="T48" fmla="*/ 2147483647 w 16384"/>
                    <a:gd name="T49" fmla="*/ 2147483647 h 16384"/>
                    <a:gd name="T50" fmla="*/ 2147483647 w 16384"/>
                    <a:gd name="T51" fmla="*/ 2147483647 h 16384"/>
                    <a:gd name="T52" fmla="*/ 2147483647 w 16384"/>
                    <a:gd name="T53" fmla="*/ 2147483647 h 16384"/>
                    <a:gd name="T54" fmla="*/ 2147483647 w 16384"/>
                    <a:gd name="T55" fmla="*/ 2147483647 h 16384"/>
                    <a:gd name="T56" fmla="*/ 2147483647 w 16384"/>
                    <a:gd name="T57" fmla="*/ 2147483647 h 16384"/>
                    <a:gd name="T58" fmla="*/ 2147483647 w 16384"/>
                    <a:gd name="T59" fmla="*/ 2147483647 h 16384"/>
                    <a:gd name="T60" fmla="*/ 2147483647 w 16384"/>
                    <a:gd name="T61" fmla="*/ 2147483647 h 16384"/>
                    <a:gd name="T62" fmla="*/ 2147483647 w 16384"/>
                    <a:gd name="T63" fmla="*/ 2147483647 h 16384"/>
                    <a:gd name="T64" fmla="*/ 2147483647 w 16384"/>
                    <a:gd name="T65" fmla="*/ 2147483647 h 16384"/>
                    <a:gd name="T66" fmla="*/ 2147483647 w 16384"/>
                    <a:gd name="T67" fmla="*/ 2147483647 h 16384"/>
                    <a:gd name="T68" fmla="*/ 2147483647 w 16384"/>
                    <a:gd name="T69" fmla="*/ 2147483647 h 16384"/>
                    <a:gd name="T70" fmla="*/ 0 w 16384"/>
                    <a:gd name="T71" fmla="*/ 2147483647 h 16384"/>
                    <a:gd name="T72" fmla="*/ 2147483647 w 16384"/>
                    <a:gd name="T73" fmla="*/ 2147483647 h 16384"/>
                    <a:gd name="T74" fmla="*/ 2147483647 w 16384"/>
                    <a:gd name="T75" fmla="*/ 2147483647 h 16384"/>
                    <a:gd name="T76" fmla="*/ 2147483647 w 16384"/>
                    <a:gd name="T77" fmla="*/ 2147483647 h 16384"/>
                    <a:gd name="T78" fmla="*/ 2147483647 w 16384"/>
                    <a:gd name="T79" fmla="*/ 2147483647 h 16384"/>
                    <a:gd name="T80" fmla="*/ 2147483647 w 16384"/>
                    <a:gd name="T81" fmla="*/ 2147483647 h 16384"/>
                    <a:gd name="T82" fmla="*/ 2147483647 w 16384"/>
                    <a:gd name="T83" fmla="*/ 2147483647 h 16384"/>
                    <a:gd name="T84" fmla="*/ 2147483647 w 16384"/>
                    <a:gd name="T85" fmla="*/ 2147483647 h 16384"/>
                    <a:gd name="T86" fmla="*/ 2147483647 w 16384"/>
                    <a:gd name="T87" fmla="*/ 2147483647 h 16384"/>
                    <a:gd name="T88" fmla="*/ 2147483647 w 16384"/>
                    <a:gd name="T89" fmla="*/ 2147483647 h 16384"/>
                    <a:gd name="T90" fmla="*/ 2147483647 w 16384"/>
                    <a:gd name="T91" fmla="*/ 2147483647 h 16384"/>
                    <a:gd name="T92" fmla="*/ 2147483647 w 16384"/>
                    <a:gd name="T93" fmla="*/ 2147483647 h 16384"/>
                    <a:gd name="T94" fmla="*/ 2147483647 w 16384"/>
                    <a:gd name="T95" fmla="*/ 2147483647 h 16384"/>
                    <a:gd name="T96" fmla="*/ 2147483647 w 16384"/>
                    <a:gd name="T97" fmla="*/ 2147483647 h 16384"/>
                    <a:gd name="T98" fmla="*/ 2147483647 w 16384"/>
                    <a:gd name="T99" fmla="*/ 2147483647 h 16384"/>
                    <a:gd name="T100" fmla="*/ 2147483647 w 16384"/>
                    <a:gd name="T101" fmla="*/ 2147483647 h 16384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w 16384"/>
                    <a:gd name="T154" fmla="*/ 0 h 16384"/>
                    <a:gd name="T155" fmla="*/ 16384 w 16384"/>
                    <a:gd name="T156" fmla="*/ 16384 h 16384"/>
                  </a:gdLst>
                  <a:ahLst/>
                  <a:cxnLst>
                    <a:cxn ang="T102">
                      <a:pos x="T0" y="T1"/>
                    </a:cxn>
                    <a:cxn ang="T103">
                      <a:pos x="T2" y="T3"/>
                    </a:cxn>
                    <a:cxn ang="T104">
                      <a:pos x="T4" y="T5"/>
                    </a:cxn>
                    <a:cxn ang="T105">
                      <a:pos x="T6" y="T7"/>
                    </a:cxn>
                    <a:cxn ang="T106">
                      <a:pos x="T8" y="T9"/>
                    </a:cxn>
                    <a:cxn ang="T107">
                      <a:pos x="T10" y="T11"/>
                    </a:cxn>
                    <a:cxn ang="T108">
                      <a:pos x="T12" y="T13"/>
                    </a:cxn>
                    <a:cxn ang="T109">
                      <a:pos x="T14" y="T15"/>
                    </a:cxn>
                    <a:cxn ang="T110">
                      <a:pos x="T16" y="T17"/>
                    </a:cxn>
                    <a:cxn ang="T111">
                      <a:pos x="T18" y="T19"/>
                    </a:cxn>
                    <a:cxn ang="T112">
                      <a:pos x="T20" y="T21"/>
                    </a:cxn>
                    <a:cxn ang="T113">
                      <a:pos x="T22" y="T23"/>
                    </a:cxn>
                    <a:cxn ang="T114">
                      <a:pos x="T24" y="T25"/>
                    </a:cxn>
                    <a:cxn ang="T115">
                      <a:pos x="T26" y="T27"/>
                    </a:cxn>
                    <a:cxn ang="T116">
                      <a:pos x="T28" y="T29"/>
                    </a:cxn>
                    <a:cxn ang="T117">
                      <a:pos x="T30" y="T31"/>
                    </a:cxn>
                    <a:cxn ang="T118">
                      <a:pos x="T32" y="T33"/>
                    </a:cxn>
                    <a:cxn ang="T119">
                      <a:pos x="T34" y="T35"/>
                    </a:cxn>
                    <a:cxn ang="T120">
                      <a:pos x="T36" y="T37"/>
                    </a:cxn>
                    <a:cxn ang="T121">
                      <a:pos x="T38" y="T39"/>
                    </a:cxn>
                    <a:cxn ang="T122">
                      <a:pos x="T40" y="T41"/>
                    </a:cxn>
                    <a:cxn ang="T123">
                      <a:pos x="T42" y="T43"/>
                    </a:cxn>
                    <a:cxn ang="T124">
                      <a:pos x="T44" y="T45"/>
                    </a:cxn>
                    <a:cxn ang="T125">
                      <a:pos x="T46" y="T47"/>
                    </a:cxn>
                    <a:cxn ang="T126">
                      <a:pos x="T48" y="T49"/>
                    </a:cxn>
                    <a:cxn ang="T127">
                      <a:pos x="T50" y="T51"/>
                    </a:cxn>
                    <a:cxn ang="T128">
                      <a:pos x="T52" y="T53"/>
                    </a:cxn>
                    <a:cxn ang="T129">
                      <a:pos x="T54" y="T55"/>
                    </a:cxn>
                    <a:cxn ang="T130">
                      <a:pos x="T56" y="T57"/>
                    </a:cxn>
                    <a:cxn ang="T131">
                      <a:pos x="T58" y="T59"/>
                    </a:cxn>
                    <a:cxn ang="T132">
                      <a:pos x="T60" y="T61"/>
                    </a:cxn>
                    <a:cxn ang="T133">
                      <a:pos x="T62" y="T63"/>
                    </a:cxn>
                    <a:cxn ang="T134">
                      <a:pos x="T64" y="T65"/>
                    </a:cxn>
                    <a:cxn ang="T135">
                      <a:pos x="T66" y="T67"/>
                    </a:cxn>
                    <a:cxn ang="T136">
                      <a:pos x="T68" y="T69"/>
                    </a:cxn>
                    <a:cxn ang="T137">
                      <a:pos x="T70" y="T71"/>
                    </a:cxn>
                    <a:cxn ang="T138">
                      <a:pos x="T72" y="T73"/>
                    </a:cxn>
                    <a:cxn ang="T139">
                      <a:pos x="T74" y="T75"/>
                    </a:cxn>
                    <a:cxn ang="T140">
                      <a:pos x="T76" y="T77"/>
                    </a:cxn>
                    <a:cxn ang="T141">
                      <a:pos x="T78" y="T79"/>
                    </a:cxn>
                    <a:cxn ang="T142">
                      <a:pos x="T80" y="T81"/>
                    </a:cxn>
                    <a:cxn ang="T143">
                      <a:pos x="T82" y="T83"/>
                    </a:cxn>
                    <a:cxn ang="T144">
                      <a:pos x="T84" y="T85"/>
                    </a:cxn>
                    <a:cxn ang="T145">
                      <a:pos x="T86" y="T87"/>
                    </a:cxn>
                    <a:cxn ang="T146">
                      <a:pos x="T88" y="T89"/>
                    </a:cxn>
                    <a:cxn ang="T147">
                      <a:pos x="T90" y="T91"/>
                    </a:cxn>
                    <a:cxn ang="T148">
                      <a:pos x="T92" y="T93"/>
                    </a:cxn>
                    <a:cxn ang="T149">
                      <a:pos x="T94" y="T95"/>
                    </a:cxn>
                    <a:cxn ang="T150">
                      <a:pos x="T96" y="T97"/>
                    </a:cxn>
                    <a:cxn ang="T151">
                      <a:pos x="T98" y="T99"/>
                    </a:cxn>
                    <a:cxn ang="T152">
                      <a:pos x="T100" y="T101"/>
                    </a:cxn>
                  </a:cxnLst>
                  <a:rect l="T153" t="T154" r="T155" b="T156"/>
                  <a:pathLst>
                    <a:path w="16384" h="16384">
                      <a:moveTo>
                        <a:pt x="8771" y="14682"/>
                      </a:moveTo>
                      <a:lnTo>
                        <a:pt x="9019" y="14585"/>
                      </a:lnTo>
                      <a:lnTo>
                        <a:pt x="8771" y="14537"/>
                      </a:lnTo>
                      <a:lnTo>
                        <a:pt x="8688" y="14488"/>
                      </a:lnTo>
                      <a:lnTo>
                        <a:pt x="8771" y="14391"/>
                      </a:lnTo>
                      <a:lnTo>
                        <a:pt x="8937" y="14342"/>
                      </a:lnTo>
                      <a:lnTo>
                        <a:pt x="9019" y="14342"/>
                      </a:lnTo>
                      <a:lnTo>
                        <a:pt x="9185" y="14342"/>
                      </a:lnTo>
                      <a:lnTo>
                        <a:pt x="9185" y="14439"/>
                      </a:lnTo>
                      <a:lnTo>
                        <a:pt x="9268" y="14537"/>
                      </a:lnTo>
                      <a:lnTo>
                        <a:pt x="9350" y="14731"/>
                      </a:lnTo>
                      <a:lnTo>
                        <a:pt x="9433" y="14877"/>
                      </a:lnTo>
                      <a:lnTo>
                        <a:pt x="9516" y="14925"/>
                      </a:lnTo>
                      <a:lnTo>
                        <a:pt x="9764" y="14974"/>
                      </a:lnTo>
                      <a:lnTo>
                        <a:pt x="10095" y="15023"/>
                      </a:lnTo>
                      <a:lnTo>
                        <a:pt x="10261" y="15023"/>
                      </a:lnTo>
                      <a:lnTo>
                        <a:pt x="10509" y="15120"/>
                      </a:lnTo>
                      <a:lnTo>
                        <a:pt x="10592" y="15071"/>
                      </a:lnTo>
                      <a:lnTo>
                        <a:pt x="10674" y="14974"/>
                      </a:lnTo>
                      <a:lnTo>
                        <a:pt x="10840" y="14974"/>
                      </a:lnTo>
                      <a:lnTo>
                        <a:pt x="11005" y="14974"/>
                      </a:lnTo>
                      <a:lnTo>
                        <a:pt x="11171" y="14877"/>
                      </a:lnTo>
                      <a:lnTo>
                        <a:pt x="11171" y="14682"/>
                      </a:lnTo>
                      <a:lnTo>
                        <a:pt x="11171" y="14634"/>
                      </a:lnTo>
                      <a:lnTo>
                        <a:pt x="11171" y="14439"/>
                      </a:lnTo>
                      <a:lnTo>
                        <a:pt x="11254" y="14293"/>
                      </a:lnTo>
                      <a:lnTo>
                        <a:pt x="11419" y="14148"/>
                      </a:lnTo>
                      <a:lnTo>
                        <a:pt x="11502" y="14002"/>
                      </a:lnTo>
                      <a:lnTo>
                        <a:pt x="11585" y="13856"/>
                      </a:lnTo>
                      <a:lnTo>
                        <a:pt x="11750" y="13807"/>
                      </a:lnTo>
                      <a:lnTo>
                        <a:pt x="11998" y="13856"/>
                      </a:lnTo>
                      <a:lnTo>
                        <a:pt x="12329" y="13661"/>
                      </a:lnTo>
                      <a:lnTo>
                        <a:pt x="12412" y="13467"/>
                      </a:lnTo>
                      <a:lnTo>
                        <a:pt x="12412" y="13370"/>
                      </a:lnTo>
                      <a:lnTo>
                        <a:pt x="12495" y="13224"/>
                      </a:lnTo>
                      <a:lnTo>
                        <a:pt x="12578" y="13127"/>
                      </a:lnTo>
                      <a:lnTo>
                        <a:pt x="12991" y="13078"/>
                      </a:lnTo>
                      <a:lnTo>
                        <a:pt x="13157" y="12884"/>
                      </a:lnTo>
                      <a:lnTo>
                        <a:pt x="13322" y="12786"/>
                      </a:lnTo>
                      <a:lnTo>
                        <a:pt x="13405" y="12689"/>
                      </a:lnTo>
                      <a:lnTo>
                        <a:pt x="13322" y="12592"/>
                      </a:lnTo>
                      <a:lnTo>
                        <a:pt x="13157" y="12349"/>
                      </a:lnTo>
                      <a:lnTo>
                        <a:pt x="13157" y="12203"/>
                      </a:lnTo>
                      <a:lnTo>
                        <a:pt x="13240" y="12057"/>
                      </a:lnTo>
                      <a:lnTo>
                        <a:pt x="13405" y="11960"/>
                      </a:lnTo>
                      <a:lnTo>
                        <a:pt x="13653" y="11960"/>
                      </a:lnTo>
                      <a:lnTo>
                        <a:pt x="13736" y="11911"/>
                      </a:lnTo>
                      <a:lnTo>
                        <a:pt x="13902" y="11911"/>
                      </a:lnTo>
                      <a:lnTo>
                        <a:pt x="14067" y="11911"/>
                      </a:lnTo>
                      <a:lnTo>
                        <a:pt x="14233" y="12057"/>
                      </a:lnTo>
                      <a:lnTo>
                        <a:pt x="14398" y="12057"/>
                      </a:lnTo>
                      <a:lnTo>
                        <a:pt x="14564" y="12106"/>
                      </a:lnTo>
                      <a:lnTo>
                        <a:pt x="14729" y="12057"/>
                      </a:lnTo>
                      <a:lnTo>
                        <a:pt x="15060" y="11814"/>
                      </a:lnTo>
                      <a:lnTo>
                        <a:pt x="15226" y="11765"/>
                      </a:lnTo>
                      <a:lnTo>
                        <a:pt x="15391" y="11668"/>
                      </a:lnTo>
                      <a:lnTo>
                        <a:pt x="15888" y="11620"/>
                      </a:lnTo>
                      <a:lnTo>
                        <a:pt x="16301" y="11620"/>
                      </a:lnTo>
                      <a:lnTo>
                        <a:pt x="16384" y="11571"/>
                      </a:lnTo>
                      <a:lnTo>
                        <a:pt x="16384" y="11522"/>
                      </a:lnTo>
                      <a:lnTo>
                        <a:pt x="16219" y="11376"/>
                      </a:lnTo>
                      <a:lnTo>
                        <a:pt x="16219" y="11328"/>
                      </a:lnTo>
                      <a:lnTo>
                        <a:pt x="16301" y="11279"/>
                      </a:lnTo>
                      <a:lnTo>
                        <a:pt x="16384" y="11231"/>
                      </a:lnTo>
                      <a:lnTo>
                        <a:pt x="16219" y="11133"/>
                      </a:lnTo>
                      <a:lnTo>
                        <a:pt x="15970" y="11133"/>
                      </a:lnTo>
                      <a:lnTo>
                        <a:pt x="15888" y="11036"/>
                      </a:lnTo>
                      <a:lnTo>
                        <a:pt x="15970" y="10939"/>
                      </a:lnTo>
                      <a:lnTo>
                        <a:pt x="15970" y="10793"/>
                      </a:lnTo>
                      <a:lnTo>
                        <a:pt x="15970" y="10744"/>
                      </a:lnTo>
                      <a:lnTo>
                        <a:pt x="15805" y="10647"/>
                      </a:lnTo>
                      <a:lnTo>
                        <a:pt x="15722" y="10599"/>
                      </a:lnTo>
                      <a:lnTo>
                        <a:pt x="15805" y="10453"/>
                      </a:lnTo>
                      <a:lnTo>
                        <a:pt x="16053" y="10307"/>
                      </a:lnTo>
                      <a:lnTo>
                        <a:pt x="15888" y="9529"/>
                      </a:lnTo>
                      <a:lnTo>
                        <a:pt x="15722" y="8702"/>
                      </a:lnTo>
                      <a:lnTo>
                        <a:pt x="15722" y="8557"/>
                      </a:lnTo>
                      <a:lnTo>
                        <a:pt x="15557" y="7925"/>
                      </a:lnTo>
                      <a:lnTo>
                        <a:pt x="15474" y="7147"/>
                      </a:lnTo>
                      <a:lnTo>
                        <a:pt x="15391" y="6806"/>
                      </a:lnTo>
                      <a:lnTo>
                        <a:pt x="15143" y="5640"/>
                      </a:lnTo>
                      <a:lnTo>
                        <a:pt x="15143" y="5494"/>
                      </a:lnTo>
                      <a:lnTo>
                        <a:pt x="14977" y="4667"/>
                      </a:lnTo>
                      <a:lnTo>
                        <a:pt x="14895" y="4035"/>
                      </a:lnTo>
                      <a:lnTo>
                        <a:pt x="14729" y="3257"/>
                      </a:lnTo>
                      <a:lnTo>
                        <a:pt x="14729" y="3014"/>
                      </a:lnTo>
                      <a:lnTo>
                        <a:pt x="14481" y="1993"/>
                      </a:lnTo>
                      <a:lnTo>
                        <a:pt x="14481" y="1896"/>
                      </a:lnTo>
                      <a:lnTo>
                        <a:pt x="14398" y="1313"/>
                      </a:lnTo>
                      <a:lnTo>
                        <a:pt x="14315" y="924"/>
                      </a:lnTo>
                      <a:lnTo>
                        <a:pt x="14233" y="243"/>
                      </a:lnTo>
                      <a:lnTo>
                        <a:pt x="14150" y="0"/>
                      </a:lnTo>
                      <a:lnTo>
                        <a:pt x="13984" y="0"/>
                      </a:lnTo>
                      <a:lnTo>
                        <a:pt x="12081" y="146"/>
                      </a:lnTo>
                      <a:lnTo>
                        <a:pt x="11667" y="146"/>
                      </a:lnTo>
                      <a:lnTo>
                        <a:pt x="9847" y="292"/>
                      </a:lnTo>
                      <a:lnTo>
                        <a:pt x="9433" y="340"/>
                      </a:lnTo>
                      <a:lnTo>
                        <a:pt x="7944" y="438"/>
                      </a:lnTo>
                      <a:lnTo>
                        <a:pt x="7034" y="486"/>
                      </a:lnTo>
                      <a:lnTo>
                        <a:pt x="5710" y="583"/>
                      </a:lnTo>
                      <a:lnTo>
                        <a:pt x="4220" y="632"/>
                      </a:lnTo>
                      <a:lnTo>
                        <a:pt x="3972" y="729"/>
                      </a:lnTo>
                      <a:lnTo>
                        <a:pt x="3724" y="875"/>
                      </a:lnTo>
                      <a:lnTo>
                        <a:pt x="3393" y="972"/>
                      </a:lnTo>
                      <a:lnTo>
                        <a:pt x="2979" y="1118"/>
                      </a:lnTo>
                      <a:lnTo>
                        <a:pt x="2482" y="1215"/>
                      </a:lnTo>
                      <a:lnTo>
                        <a:pt x="2317" y="1264"/>
                      </a:lnTo>
                      <a:lnTo>
                        <a:pt x="1903" y="1313"/>
                      </a:lnTo>
                      <a:lnTo>
                        <a:pt x="1655" y="1313"/>
                      </a:lnTo>
                      <a:lnTo>
                        <a:pt x="1407" y="1264"/>
                      </a:lnTo>
                      <a:lnTo>
                        <a:pt x="1241" y="1215"/>
                      </a:lnTo>
                      <a:lnTo>
                        <a:pt x="1076" y="1118"/>
                      </a:lnTo>
                      <a:lnTo>
                        <a:pt x="910" y="1021"/>
                      </a:lnTo>
                      <a:lnTo>
                        <a:pt x="745" y="924"/>
                      </a:lnTo>
                      <a:lnTo>
                        <a:pt x="910" y="1993"/>
                      </a:lnTo>
                      <a:lnTo>
                        <a:pt x="993" y="2674"/>
                      </a:lnTo>
                      <a:lnTo>
                        <a:pt x="1076" y="3160"/>
                      </a:lnTo>
                      <a:lnTo>
                        <a:pt x="1158" y="3744"/>
                      </a:lnTo>
                      <a:lnTo>
                        <a:pt x="1324" y="4862"/>
                      </a:lnTo>
                      <a:lnTo>
                        <a:pt x="1407" y="5834"/>
                      </a:lnTo>
                      <a:lnTo>
                        <a:pt x="1489" y="5834"/>
                      </a:lnTo>
                      <a:lnTo>
                        <a:pt x="1655" y="7147"/>
                      </a:lnTo>
                      <a:lnTo>
                        <a:pt x="1738" y="8216"/>
                      </a:lnTo>
                      <a:lnTo>
                        <a:pt x="1986" y="9237"/>
                      </a:lnTo>
                      <a:lnTo>
                        <a:pt x="1986" y="9723"/>
                      </a:lnTo>
                      <a:lnTo>
                        <a:pt x="2069" y="10210"/>
                      </a:lnTo>
                      <a:lnTo>
                        <a:pt x="1820" y="10307"/>
                      </a:lnTo>
                      <a:lnTo>
                        <a:pt x="1655" y="10404"/>
                      </a:lnTo>
                      <a:lnTo>
                        <a:pt x="1738" y="10501"/>
                      </a:lnTo>
                      <a:lnTo>
                        <a:pt x="1820" y="10599"/>
                      </a:lnTo>
                      <a:lnTo>
                        <a:pt x="1820" y="10647"/>
                      </a:lnTo>
                      <a:lnTo>
                        <a:pt x="1903" y="10744"/>
                      </a:lnTo>
                      <a:lnTo>
                        <a:pt x="1738" y="10842"/>
                      </a:lnTo>
                      <a:lnTo>
                        <a:pt x="1655" y="10939"/>
                      </a:lnTo>
                      <a:lnTo>
                        <a:pt x="1489" y="11085"/>
                      </a:lnTo>
                      <a:lnTo>
                        <a:pt x="1572" y="11133"/>
                      </a:lnTo>
                      <a:lnTo>
                        <a:pt x="1903" y="11279"/>
                      </a:lnTo>
                      <a:lnTo>
                        <a:pt x="1986" y="11328"/>
                      </a:lnTo>
                      <a:lnTo>
                        <a:pt x="2069" y="11571"/>
                      </a:lnTo>
                      <a:lnTo>
                        <a:pt x="2317" y="11717"/>
                      </a:lnTo>
                      <a:lnTo>
                        <a:pt x="2400" y="11765"/>
                      </a:lnTo>
                      <a:lnTo>
                        <a:pt x="2317" y="11960"/>
                      </a:lnTo>
                      <a:lnTo>
                        <a:pt x="2317" y="12154"/>
                      </a:lnTo>
                      <a:lnTo>
                        <a:pt x="2482" y="12349"/>
                      </a:lnTo>
                      <a:lnTo>
                        <a:pt x="2565" y="12592"/>
                      </a:lnTo>
                      <a:lnTo>
                        <a:pt x="2565" y="12738"/>
                      </a:lnTo>
                      <a:lnTo>
                        <a:pt x="2400" y="12786"/>
                      </a:lnTo>
                      <a:lnTo>
                        <a:pt x="2151" y="12884"/>
                      </a:lnTo>
                      <a:lnTo>
                        <a:pt x="1986" y="13029"/>
                      </a:lnTo>
                      <a:lnTo>
                        <a:pt x="1986" y="13175"/>
                      </a:lnTo>
                      <a:lnTo>
                        <a:pt x="1903" y="13321"/>
                      </a:lnTo>
                      <a:lnTo>
                        <a:pt x="1820" y="13418"/>
                      </a:lnTo>
                      <a:lnTo>
                        <a:pt x="1820" y="13564"/>
                      </a:lnTo>
                      <a:lnTo>
                        <a:pt x="1572" y="13661"/>
                      </a:lnTo>
                      <a:lnTo>
                        <a:pt x="1489" y="13710"/>
                      </a:lnTo>
                      <a:lnTo>
                        <a:pt x="1572" y="13807"/>
                      </a:lnTo>
                      <a:lnTo>
                        <a:pt x="1489" y="13905"/>
                      </a:lnTo>
                      <a:lnTo>
                        <a:pt x="1324" y="14050"/>
                      </a:lnTo>
                      <a:lnTo>
                        <a:pt x="1158" y="14196"/>
                      </a:lnTo>
                      <a:lnTo>
                        <a:pt x="1158" y="14391"/>
                      </a:lnTo>
                      <a:lnTo>
                        <a:pt x="1158" y="14439"/>
                      </a:lnTo>
                      <a:lnTo>
                        <a:pt x="910" y="14391"/>
                      </a:lnTo>
                      <a:lnTo>
                        <a:pt x="827" y="14488"/>
                      </a:lnTo>
                      <a:lnTo>
                        <a:pt x="745" y="14439"/>
                      </a:lnTo>
                      <a:lnTo>
                        <a:pt x="579" y="14439"/>
                      </a:lnTo>
                      <a:lnTo>
                        <a:pt x="579" y="14585"/>
                      </a:lnTo>
                      <a:lnTo>
                        <a:pt x="496" y="14634"/>
                      </a:lnTo>
                      <a:lnTo>
                        <a:pt x="331" y="14682"/>
                      </a:lnTo>
                      <a:lnTo>
                        <a:pt x="414" y="14780"/>
                      </a:lnTo>
                      <a:lnTo>
                        <a:pt x="496" y="14877"/>
                      </a:lnTo>
                      <a:lnTo>
                        <a:pt x="745" y="14877"/>
                      </a:lnTo>
                      <a:lnTo>
                        <a:pt x="827" y="14974"/>
                      </a:lnTo>
                      <a:lnTo>
                        <a:pt x="662" y="15071"/>
                      </a:lnTo>
                      <a:lnTo>
                        <a:pt x="579" y="15266"/>
                      </a:lnTo>
                      <a:lnTo>
                        <a:pt x="248" y="15412"/>
                      </a:lnTo>
                      <a:lnTo>
                        <a:pt x="331" y="15558"/>
                      </a:lnTo>
                      <a:lnTo>
                        <a:pt x="331" y="15801"/>
                      </a:lnTo>
                      <a:lnTo>
                        <a:pt x="331" y="15946"/>
                      </a:lnTo>
                      <a:lnTo>
                        <a:pt x="83" y="15995"/>
                      </a:lnTo>
                      <a:lnTo>
                        <a:pt x="0" y="15995"/>
                      </a:lnTo>
                      <a:lnTo>
                        <a:pt x="0" y="16044"/>
                      </a:lnTo>
                      <a:lnTo>
                        <a:pt x="248" y="16141"/>
                      </a:lnTo>
                      <a:lnTo>
                        <a:pt x="83" y="16287"/>
                      </a:lnTo>
                      <a:lnTo>
                        <a:pt x="331" y="16287"/>
                      </a:lnTo>
                      <a:lnTo>
                        <a:pt x="414" y="16384"/>
                      </a:lnTo>
                      <a:lnTo>
                        <a:pt x="579" y="16384"/>
                      </a:lnTo>
                      <a:lnTo>
                        <a:pt x="745" y="16384"/>
                      </a:lnTo>
                      <a:lnTo>
                        <a:pt x="827" y="16384"/>
                      </a:lnTo>
                      <a:lnTo>
                        <a:pt x="993" y="16384"/>
                      </a:lnTo>
                      <a:lnTo>
                        <a:pt x="1076" y="16335"/>
                      </a:lnTo>
                      <a:lnTo>
                        <a:pt x="993" y="16335"/>
                      </a:lnTo>
                      <a:lnTo>
                        <a:pt x="1076" y="16238"/>
                      </a:lnTo>
                      <a:lnTo>
                        <a:pt x="993" y="16141"/>
                      </a:lnTo>
                      <a:lnTo>
                        <a:pt x="910" y="16092"/>
                      </a:lnTo>
                      <a:lnTo>
                        <a:pt x="910" y="15995"/>
                      </a:lnTo>
                      <a:lnTo>
                        <a:pt x="993" y="15946"/>
                      </a:lnTo>
                      <a:lnTo>
                        <a:pt x="993" y="15849"/>
                      </a:lnTo>
                      <a:lnTo>
                        <a:pt x="1158" y="15849"/>
                      </a:lnTo>
                      <a:lnTo>
                        <a:pt x="1324" y="15946"/>
                      </a:lnTo>
                      <a:lnTo>
                        <a:pt x="1489" y="15995"/>
                      </a:lnTo>
                      <a:lnTo>
                        <a:pt x="1572" y="15946"/>
                      </a:lnTo>
                      <a:lnTo>
                        <a:pt x="1903" y="15898"/>
                      </a:lnTo>
                      <a:lnTo>
                        <a:pt x="2069" y="15898"/>
                      </a:lnTo>
                      <a:lnTo>
                        <a:pt x="2151" y="15946"/>
                      </a:lnTo>
                      <a:lnTo>
                        <a:pt x="2151" y="16141"/>
                      </a:lnTo>
                      <a:lnTo>
                        <a:pt x="2317" y="16190"/>
                      </a:lnTo>
                      <a:lnTo>
                        <a:pt x="2400" y="16141"/>
                      </a:lnTo>
                      <a:lnTo>
                        <a:pt x="2565" y="16092"/>
                      </a:lnTo>
                      <a:lnTo>
                        <a:pt x="2565" y="15946"/>
                      </a:lnTo>
                      <a:lnTo>
                        <a:pt x="2565" y="15849"/>
                      </a:lnTo>
                      <a:lnTo>
                        <a:pt x="2482" y="15752"/>
                      </a:lnTo>
                      <a:lnTo>
                        <a:pt x="2565" y="15606"/>
                      </a:lnTo>
                      <a:lnTo>
                        <a:pt x="2648" y="15606"/>
                      </a:lnTo>
                      <a:lnTo>
                        <a:pt x="2813" y="15752"/>
                      </a:lnTo>
                      <a:lnTo>
                        <a:pt x="2896" y="15752"/>
                      </a:lnTo>
                      <a:lnTo>
                        <a:pt x="3062" y="15752"/>
                      </a:lnTo>
                      <a:lnTo>
                        <a:pt x="3227" y="15703"/>
                      </a:lnTo>
                      <a:lnTo>
                        <a:pt x="3310" y="15655"/>
                      </a:lnTo>
                      <a:lnTo>
                        <a:pt x="3393" y="15703"/>
                      </a:lnTo>
                      <a:lnTo>
                        <a:pt x="3641" y="15703"/>
                      </a:lnTo>
                      <a:lnTo>
                        <a:pt x="3889" y="15752"/>
                      </a:lnTo>
                      <a:lnTo>
                        <a:pt x="4055" y="15752"/>
                      </a:lnTo>
                      <a:lnTo>
                        <a:pt x="4137" y="15801"/>
                      </a:lnTo>
                      <a:lnTo>
                        <a:pt x="4551" y="15946"/>
                      </a:lnTo>
                      <a:lnTo>
                        <a:pt x="4882" y="15995"/>
                      </a:lnTo>
                      <a:lnTo>
                        <a:pt x="4965" y="16044"/>
                      </a:lnTo>
                      <a:lnTo>
                        <a:pt x="5130" y="16141"/>
                      </a:lnTo>
                      <a:lnTo>
                        <a:pt x="5213" y="16141"/>
                      </a:lnTo>
                      <a:lnTo>
                        <a:pt x="5296" y="16141"/>
                      </a:lnTo>
                      <a:lnTo>
                        <a:pt x="5461" y="15946"/>
                      </a:lnTo>
                      <a:lnTo>
                        <a:pt x="5544" y="15703"/>
                      </a:lnTo>
                      <a:lnTo>
                        <a:pt x="5627" y="15655"/>
                      </a:lnTo>
                      <a:lnTo>
                        <a:pt x="5792" y="15558"/>
                      </a:lnTo>
                      <a:lnTo>
                        <a:pt x="6041" y="15509"/>
                      </a:lnTo>
                      <a:lnTo>
                        <a:pt x="6206" y="15460"/>
                      </a:lnTo>
                      <a:lnTo>
                        <a:pt x="6454" y="15314"/>
                      </a:lnTo>
                      <a:lnTo>
                        <a:pt x="6620" y="15266"/>
                      </a:lnTo>
                      <a:lnTo>
                        <a:pt x="6703" y="15314"/>
                      </a:lnTo>
                      <a:lnTo>
                        <a:pt x="7034" y="15606"/>
                      </a:lnTo>
                      <a:lnTo>
                        <a:pt x="7199" y="15606"/>
                      </a:lnTo>
                      <a:lnTo>
                        <a:pt x="7365" y="15558"/>
                      </a:lnTo>
                      <a:lnTo>
                        <a:pt x="7447" y="15558"/>
                      </a:lnTo>
                      <a:lnTo>
                        <a:pt x="7530" y="15655"/>
                      </a:lnTo>
                      <a:lnTo>
                        <a:pt x="7530" y="15752"/>
                      </a:lnTo>
                      <a:lnTo>
                        <a:pt x="7613" y="15801"/>
                      </a:lnTo>
                      <a:lnTo>
                        <a:pt x="7778" y="15703"/>
                      </a:lnTo>
                      <a:lnTo>
                        <a:pt x="7778" y="15460"/>
                      </a:lnTo>
                      <a:lnTo>
                        <a:pt x="8109" y="15460"/>
                      </a:lnTo>
                      <a:lnTo>
                        <a:pt x="8192" y="15363"/>
                      </a:lnTo>
                      <a:lnTo>
                        <a:pt x="8027" y="15169"/>
                      </a:lnTo>
                      <a:lnTo>
                        <a:pt x="8109" y="15023"/>
                      </a:lnTo>
                      <a:lnTo>
                        <a:pt x="8275" y="14974"/>
                      </a:lnTo>
                      <a:lnTo>
                        <a:pt x="8357" y="14974"/>
                      </a:lnTo>
                      <a:lnTo>
                        <a:pt x="8440" y="14877"/>
                      </a:lnTo>
                      <a:lnTo>
                        <a:pt x="8275" y="14731"/>
                      </a:lnTo>
                      <a:lnTo>
                        <a:pt x="8275" y="14682"/>
                      </a:lnTo>
                      <a:lnTo>
                        <a:pt x="8357" y="14634"/>
                      </a:lnTo>
                      <a:lnTo>
                        <a:pt x="8771" y="14682"/>
                      </a:lnTo>
                      <a:close/>
                    </a:path>
                  </a:pathLst>
                </a:custGeom>
                <a:solidFill>
                  <a:srgbClr val="FFFF00"/>
                </a:solidFill>
                <a:ln w="9525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defTabSz="121917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34" name="Iowa">
                  <a:extLst>
                    <a:ext uri="{FF2B5EF4-FFF2-40B4-BE49-F238E27FC236}">
                      <a16:creationId xmlns:a16="http://schemas.microsoft.com/office/drawing/2014/main" id="{0D0C178B-3594-82CA-DF55-4243B82D54E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5554325" y="5667375"/>
                  <a:ext cx="3581400" cy="2238375"/>
                </a:xfrm>
                <a:custGeom>
                  <a:avLst/>
                  <a:gdLst>
                    <a:gd name="T0" fmla="*/ 2147483647 w 16384"/>
                    <a:gd name="T1" fmla="*/ 2147483647 h 16384"/>
                    <a:gd name="T2" fmla="*/ 2147483647 w 16384"/>
                    <a:gd name="T3" fmla="*/ 2147483647 h 16384"/>
                    <a:gd name="T4" fmla="*/ 2147483647 w 16384"/>
                    <a:gd name="T5" fmla="*/ 2147483647 h 16384"/>
                    <a:gd name="T6" fmla="*/ 2147483647 w 16384"/>
                    <a:gd name="T7" fmla="*/ 2147483647 h 16384"/>
                    <a:gd name="T8" fmla="*/ 2147483647 w 16384"/>
                    <a:gd name="T9" fmla="*/ 2147483647 h 16384"/>
                    <a:gd name="T10" fmla="*/ 2147483647 w 16384"/>
                    <a:gd name="T11" fmla="*/ 2147483647 h 16384"/>
                    <a:gd name="T12" fmla="*/ 2147483647 w 16384"/>
                    <a:gd name="T13" fmla="*/ 2147483647 h 16384"/>
                    <a:gd name="T14" fmla="*/ 2147483647 w 16384"/>
                    <a:gd name="T15" fmla="*/ 2147483647 h 16384"/>
                    <a:gd name="T16" fmla="*/ 2147483647 w 16384"/>
                    <a:gd name="T17" fmla="*/ 2147483647 h 16384"/>
                    <a:gd name="T18" fmla="*/ 2147483647 w 16384"/>
                    <a:gd name="T19" fmla="*/ 2147483647 h 16384"/>
                    <a:gd name="T20" fmla="*/ 2147483647 w 16384"/>
                    <a:gd name="T21" fmla="*/ 2147483647 h 16384"/>
                    <a:gd name="T22" fmla="*/ 2147483647 w 16384"/>
                    <a:gd name="T23" fmla="*/ 2147483647 h 16384"/>
                    <a:gd name="T24" fmla="*/ 2147483647 w 16384"/>
                    <a:gd name="T25" fmla="*/ 2147483647 h 16384"/>
                    <a:gd name="T26" fmla="*/ 2147483647 w 16384"/>
                    <a:gd name="T27" fmla="*/ 2147483647 h 16384"/>
                    <a:gd name="T28" fmla="*/ 2147483647 w 16384"/>
                    <a:gd name="T29" fmla="*/ 2147483647 h 16384"/>
                    <a:gd name="T30" fmla="*/ 2147483647 w 16384"/>
                    <a:gd name="T31" fmla="*/ 2147483647 h 16384"/>
                    <a:gd name="T32" fmla="*/ 2147483647 w 16384"/>
                    <a:gd name="T33" fmla="*/ 2147483647 h 16384"/>
                    <a:gd name="T34" fmla="*/ 2147483647 w 16384"/>
                    <a:gd name="T35" fmla="*/ 2147483647 h 16384"/>
                    <a:gd name="T36" fmla="*/ 2147483647 w 16384"/>
                    <a:gd name="T37" fmla="*/ 2147483647 h 16384"/>
                    <a:gd name="T38" fmla="*/ 2147483647 w 16384"/>
                    <a:gd name="T39" fmla="*/ 2147483647 h 16384"/>
                    <a:gd name="T40" fmla="*/ 2147483647 w 16384"/>
                    <a:gd name="T41" fmla="*/ 2147483647 h 16384"/>
                    <a:gd name="T42" fmla="*/ 2147483647 w 16384"/>
                    <a:gd name="T43" fmla="*/ 2147483647 h 16384"/>
                    <a:gd name="T44" fmla="*/ 2147483647 w 16384"/>
                    <a:gd name="T45" fmla="*/ 2147483647 h 16384"/>
                    <a:gd name="T46" fmla="*/ 2147483647 w 16384"/>
                    <a:gd name="T47" fmla="*/ 2147483647 h 16384"/>
                    <a:gd name="T48" fmla="*/ 2147483647 w 16384"/>
                    <a:gd name="T49" fmla="*/ 2147483647 h 16384"/>
                    <a:gd name="T50" fmla="*/ 2147483647 w 16384"/>
                    <a:gd name="T51" fmla="*/ 2147483647 h 16384"/>
                    <a:gd name="T52" fmla="*/ 2147483647 w 16384"/>
                    <a:gd name="T53" fmla="*/ 0 h 16384"/>
                    <a:gd name="T54" fmla="*/ 2147483647 w 16384"/>
                    <a:gd name="T55" fmla="*/ 2147483647 h 16384"/>
                    <a:gd name="T56" fmla="*/ 2147483647 w 16384"/>
                    <a:gd name="T57" fmla="*/ 2147483647 h 16384"/>
                    <a:gd name="T58" fmla="*/ 2147483647 w 16384"/>
                    <a:gd name="T59" fmla="*/ 2147483647 h 16384"/>
                    <a:gd name="T60" fmla="*/ 2147483647 w 16384"/>
                    <a:gd name="T61" fmla="*/ 2147483647 h 16384"/>
                    <a:gd name="T62" fmla="*/ 2147483647 w 16384"/>
                    <a:gd name="T63" fmla="*/ 2147483647 h 16384"/>
                    <a:gd name="T64" fmla="*/ 2147483647 w 16384"/>
                    <a:gd name="T65" fmla="*/ 2147483647 h 16384"/>
                    <a:gd name="T66" fmla="*/ 2147483647 w 16384"/>
                    <a:gd name="T67" fmla="*/ 2147483647 h 16384"/>
                    <a:gd name="T68" fmla="*/ 2147483647 w 16384"/>
                    <a:gd name="T69" fmla="*/ 2147483647 h 16384"/>
                    <a:gd name="T70" fmla="*/ 2147483647 w 16384"/>
                    <a:gd name="T71" fmla="*/ 2147483647 h 16384"/>
                    <a:gd name="T72" fmla="*/ 2147483647 w 16384"/>
                    <a:gd name="T73" fmla="*/ 2147483647 h 16384"/>
                    <a:gd name="T74" fmla="*/ 2147483647 w 16384"/>
                    <a:gd name="T75" fmla="*/ 2147483647 h 16384"/>
                    <a:gd name="T76" fmla="*/ 2147483647 w 16384"/>
                    <a:gd name="T77" fmla="*/ 2147483647 h 16384"/>
                    <a:gd name="T78" fmla="*/ 2147483647 w 16384"/>
                    <a:gd name="T79" fmla="*/ 2147483647 h 16384"/>
                    <a:gd name="T80" fmla="*/ 2147483647 w 16384"/>
                    <a:gd name="T81" fmla="*/ 2147483647 h 16384"/>
                    <a:gd name="T82" fmla="*/ 2147483647 w 16384"/>
                    <a:gd name="T83" fmla="*/ 2147483647 h 16384"/>
                    <a:gd name="T84" fmla="*/ 2147483647 w 16384"/>
                    <a:gd name="T85" fmla="*/ 2147483647 h 16384"/>
                    <a:gd name="T86" fmla="*/ 2147483647 w 16384"/>
                    <a:gd name="T87" fmla="*/ 2147483647 h 16384"/>
                    <a:gd name="T88" fmla="*/ 2147483647 w 16384"/>
                    <a:gd name="T89" fmla="*/ 2147483647 h 16384"/>
                    <a:gd name="T90" fmla="*/ 2147483647 w 16384"/>
                    <a:gd name="T91" fmla="*/ 2147483647 h 16384"/>
                    <a:gd name="T92" fmla="*/ 2147483647 w 16384"/>
                    <a:gd name="T93" fmla="*/ 2147483647 h 16384"/>
                    <a:gd name="T94" fmla="*/ 2147483647 w 16384"/>
                    <a:gd name="T95" fmla="*/ 2147483647 h 16384"/>
                    <a:gd name="T96" fmla="*/ 2147483647 w 16384"/>
                    <a:gd name="T97" fmla="*/ 2147483647 h 16384"/>
                    <a:gd name="T98" fmla="*/ 2147483647 w 16384"/>
                    <a:gd name="T99" fmla="*/ 2147483647 h 16384"/>
                    <a:gd name="T100" fmla="*/ 2147483647 w 16384"/>
                    <a:gd name="T101" fmla="*/ 2147483647 h 16384"/>
                    <a:gd name="T102" fmla="*/ 2147483647 w 16384"/>
                    <a:gd name="T103" fmla="*/ 2147483647 h 16384"/>
                    <a:gd name="T104" fmla="*/ 2147483647 w 16384"/>
                    <a:gd name="T105" fmla="*/ 2147483647 h 16384"/>
                    <a:gd name="T106" fmla="*/ 2147483647 w 16384"/>
                    <a:gd name="T107" fmla="*/ 2147483647 h 16384"/>
                    <a:gd name="T108" fmla="*/ 2147483647 w 16384"/>
                    <a:gd name="T109" fmla="*/ 2147483647 h 16384"/>
                    <a:gd name="T110" fmla="*/ 2147483647 w 16384"/>
                    <a:gd name="T111" fmla="*/ 2147483647 h 16384"/>
                    <a:gd name="T112" fmla="*/ 2147483647 w 16384"/>
                    <a:gd name="T113" fmla="*/ 2147483647 h 16384"/>
                    <a:gd name="T114" fmla="*/ 2147483647 w 16384"/>
                    <a:gd name="T115" fmla="*/ 2147483647 h 16384"/>
                    <a:gd name="T116" fmla="*/ 2147483647 w 16384"/>
                    <a:gd name="T117" fmla="*/ 2147483647 h 16384"/>
                    <a:gd name="T118" fmla="*/ 2147483647 w 16384"/>
                    <a:gd name="T119" fmla="*/ 2147483647 h 16384"/>
                    <a:gd name="T120" fmla="*/ 2147483647 w 16384"/>
                    <a:gd name="T121" fmla="*/ 2147483647 h 16384"/>
                    <a:gd name="T122" fmla="*/ 2147483647 w 16384"/>
                    <a:gd name="T123" fmla="*/ 2147483647 h 16384"/>
                    <a:gd name="T124" fmla="*/ 2147483647 w 16384"/>
                    <a:gd name="T125" fmla="*/ 2147483647 h 16384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60000 65536"/>
                    <a:gd name="T178" fmla="*/ 0 60000 65536"/>
                    <a:gd name="T179" fmla="*/ 0 60000 65536"/>
                    <a:gd name="T180" fmla="*/ 0 60000 65536"/>
                    <a:gd name="T181" fmla="*/ 0 60000 65536"/>
                    <a:gd name="T182" fmla="*/ 0 60000 65536"/>
                    <a:gd name="T183" fmla="*/ 0 60000 65536"/>
                    <a:gd name="T184" fmla="*/ 0 60000 65536"/>
                    <a:gd name="T185" fmla="*/ 0 60000 65536"/>
                    <a:gd name="T186" fmla="*/ 0 60000 65536"/>
                    <a:gd name="T187" fmla="*/ 0 60000 65536"/>
                    <a:gd name="T188" fmla="*/ 0 60000 65536"/>
                    <a:gd name="T189" fmla="*/ 0 w 16384"/>
                    <a:gd name="T190" fmla="*/ 0 h 16384"/>
                    <a:gd name="T191" fmla="*/ 16384 w 16384"/>
                    <a:gd name="T192" fmla="*/ 16384 h 16384"/>
                  </a:gdLst>
                  <a:ahLst/>
                  <a:cxnLst>
                    <a:cxn ang="T126">
                      <a:pos x="T0" y="T1"/>
                    </a:cxn>
                    <a:cxn ang="T127">
                      <a:pos x="T2" y="T3"/>
                    </a:cxn>
                    <a:cxn ang="T128">
                      <a:pos x="T4" y="T5"/>
                    </a:cxn>
                    <a:cxn ang="T129">
                      <a:pos x="T6" y="T7"/>
                    </a:cxn>
                    <a:cxn ang="T130">
                      <a:pos x="T8" y="T9"/>
                    </a:cxn>
                    <a:cxn ang="T131">
                      <a:pos x="T10" y="T11"/>
                    </a:cxn>
                    <a:cxn ang="T132">
                      <a:pos x="T12" y="T13"/>
                    </a:cxn>
                    <a:cxn ang="T133">
                      <a:pos x="T14" y="T15"/>
                    </a:cxn>
                    <a:cxn ang="T134">
                      <a:pos x="T16" y="T17"/>
                    </a:cxn>
                    <a:cxn ang="T135">
                      <a:pos x="T18" y="T19"/>
                    </a:cxn>
                    <a:cxn ang="T136">
                      <a:pos x="T20" y="T21"/>
                    </a:cxn>
                    <a:cxn ang="T137">
                      <a:pos x="T22" y="T23"/>
                    </a:cxn>
                    <a:cxn ang="T138">
                      <a:pos x="T24" y="T25"/>
                    </a:cxn>
                    <a:cxn ang="T139">
                      <a:pos x="T26" y="T27"/>
                    </a:cxn>
                    <a:cxn ang="T140">
                      <a:pos x="T28" y="T29"/>
                    </a:cxn>
                    <a:cxn ang="T141">
                      <a:pos x="T30" y="T31"/>
                    </a:cxn>
                    <a:cxn ang="T142">
                      <a:pos x="T32" y="T33"/>
                    </a:cxn>
                    <a:cxn ang="T143">
                      <a:pos x="T34" y="T35"/>
                    </a:cxn>
                    <a:cxn ang="T144">
                      <a:pos x="T36" y="T37"/>
                    </a:cxn>
                    <a:cxn ang="T145">
                      <a:pos x="T38" y="T39"/>
                    </a:cxn>
                    <a:cxn ang="T146">
                      <a:pos x="T40" y="T41"/>
                    </a:cxn>
                    <a:cxn ang="T147">
                      <a:pos x="T42" y="T43"/>
                    </a:cxn>
                    <a:cxn ang="T148">
                      <a:pos x="T44" y="T45"/>
                    </a:cxn>
                    <a:cxn ang="T149">
                      <a:pos x="T46" y="T47"/>
                    </a:cxn>
                    <a:cxn ang="T150">
                      <a:pos x="T48" y="T49"/>
                    </a:cxn>
                    <a:cxn ang="T151">
                      <a:pos x="T50" y="T51"/>
                    </a:cxn>
                    <a:cxn ang="T152">
                      <a:pos x="T52" y="T53"/>
                    </a:cxn>
                    <a:cxn ang="T153">
                      <a:pos x="T54" y="T55"/>
                    </a:cxn>
                    <a:cxn ang="T154">
                      <a:pos x="T56" y="T57"/>
                    </a:cxn>
                    <a:cxn ang="T155">
                      <a:pos x="T58" y="T59"/>
                    </a:cxn>
                    <a:cxn ang="T156">
                      <a:pos x="T60" y="T61"/>
                    </a:cxn>
                    <a:cxn ang="T157">
                      <a:pos x="T62" y="T63"/>
                    </a:cxn>
                    <a:cxn ang="T158">
                      <a:pos x="T64" y="T65"/>
                    </a:cxn>
                    <a:cxn ang="T159">
                      <a:pos x="T66" y="T67"/>
                    </a:cxn>
                    <a:cxn ang="T160">
                      <a:pos x="T68" y="T69"/>
                    </a:cxn>
                    <a:cxn ang="T161">
                      <a:pos x="T70" y="T71"/>
                    </a:cxn>
                    <a:cxn ang="T162">
                      <a:pos x="T72" y="T73"/>
                    </a:cxn>
                    <a:cxn ang="T163">
                      <a:pos x="T74" y="T75"/>
                    </a:cxn>
                    <a:cxn ang="T164">
                      <a:pos x="T76" y="T77"/>
                    </a:cxn>
                    <a:cxn ang="T165">
                      <a:pos x="T78" y="T79"/>
                    </a:cxn>
                    <a:cxn ang="T166">
                      <a:pos x="T80" y="T81"/>
                    </a:cxn>
                    <a:cxn ang="T167">
                      <a:pos x="T82" y="T83"/>
                    </a:cxn>
                    <a:cxn ang="T168">
                      <a:pos x="T84" y="T85"/>
                    </a:cxn>
                    <a:cxn ang="T169">
                      <a:pos x="T86" y="T87"/>
                    </a:cxn>
                    <a:cxn ang="T170">
                      <a:pos x="T88" y="T89"/>
                    </a:cxn>
                    <a:cxn ang="T171">
                      <a:pos x="T90" y="T91"/>
                    </a:cxn>
                    <a:cxn ang="T172">
                      <a:pos x="T92" y="T93"/>
                    </a:cxn>
                    <a:cxn ang="T173">
                      <a:pos x="T94" y="T95"/>
                    </a:cxn>
                    <a:cxn ang="T174">
                      <a:pos x="T96" y="T97"/>
                    </a:cxn>
                    <a:cxn ang="T175">
                      <a:pos x="T98" y="T99"/>
                    </a:cxn>
                    <a:cxn ang="T176">
                      <a:pos x="T100" y="T101"/>
                    </a:cxn>
                    <a:cxn ang="T177">
                      <a:pos x="T102" y="T103"/>
                    </a:cxn>
                    <a:cxn ang="T178">
                      <a:pos x="T104" y="T105"/>
                    </a:cxn>
                    <a:cxn ang="T179">
                      <a:pos x="T106" y="T107"/>
                    </a:cxn>
                    <a:cxn ang="T180">
                      <a:pos x="T108" y="T109"/>
                    </a:cxn>
                    <a:cxn ang="T181">
                      <a:pos x="T110" y="T111"/>
                    </a:cxn>
                    <a:cxn ang="T182">
                      <a:pos x="T112" y="T113"/>
                    </a:cxn>
                    <a:cxn ang="T183">
                      <a:pos x="T114" y="T115"/>
                    </a:cxn>
                    <a:cxn ang="T184">
                      <a:pos x="T116" y="T117"/>
                    </a:cxn>
                    <a:cxn ang="T185">
                      <a:pos x="T118" y="T119"/>
                    </a:cxn>
                    <a:cxn ang="T186">
                      <a:pos x="T120" y="T121"/>
                    </a:cxn>
                    <a:cxn ang="T187">
                      <a:pos x="T122" y="T123"/>
                    </a:cxn>
                    <a:cxn ang="T188">
                      <a:pos x="T124" y="T125"/>
                    </a:cxn>
                  </a:cxnLst>
                  <a:rect l="T189" t="T190" r="T191" b="T192"/>
                  <a:pathLst>
                    <a:path w="16384" h="16384">
                      <a:moveTo>
                        <a:pt x="9003" y="15466"/>
                      </a:moveTo>
                      <a:lnTo>
                        <a:pt x="10069" y="15401"/>
                      </a:lnTo>
                      <a:lnTo>
                        <a:pt x="10240" y="15401"/>
                      </a:lnTo>
                      <a:lnTo>
                        <a:pt x="10965" y="15335"/>
                      </a:lnTo>
                      <a:lnTo>
                        <a:pt x="11435" y="15270"/>
                      </a:lnTo>
                      <a:lnTo>
                        <a:pt x="12032" y="15204"/>
                      </a:lnTo>
                      <a:lnTo>
                        <a:pt x="12629" y="15204"/>
                      </a:lnTo>
                      <a:lnTo>
                        <a:pt x="12715" y="15401"/>
                      </a:lnTo>
                      <a:lnTo>
                        <a:pt x="12843" y="15401"/>
                      </a:lnTo>
                      <a:lnTo>
                        <a:pt x="12928" y="15729"/>
                      </a:lnTo>
                      <a:lnTo>
                        <a:pt x="13099" y="15925"/>
                      </a:lnTo>
                      <a:lnTo>
                        <a:pt x="13227" y="16187"/>
                      </a:lnTo>
                      <a:lnTo>
                        <a:pt x="13397" y="16384"/>
                      </a:lnTo>
                      <a:lnTo>
                        <a:pt x="13440" y="16318"/>
                      </a:lnTo>
                      <a:lnTo>
                        <a:pt x="13483" y="16253"/>
                      </a:lnTo>
                      <a:lnTo>
                        <a:pt x="13483" y="16122"/>
                      </a:lnTo>
                      <a:lnTo>
                        <a:pt x="13440" y="15991"/>
                      </a:lnTo>
                      <a:lnTo>
                        <a:pt x="13483" y="15729"/>
                      </a:lnTo>
                      <a:lnTo>
                        <a:pt x="13355" y="15466"/>
                      </a:lnTo>
                      <a:lnTo>
                        <a:pt x="13355" y="15401"/>
                      </a:lnTo>
                      <a:lnTo>
                        <a:pt x="13483" y="15270"/>
                      </a:lnTo>
                      <a:lnTo>
                        <a:pt x="13525" y="15139"/>
                      </a:lnTo>
                      <a:lnTo>
                        <a:pt x="13653" y="15008"/>
                      </a:lnTo>
                      <a:lnTo>
                        <a:pt x="13781" y="15008"/>
                      </a:lnTo>
                      <a:lnTo>
                        <a:pt x="13952" y="14942"/>
                      </a:lnTo>
                      <a:lnTo>
                        <a:pt x="14037" y="14877"/>
                      </a:lnTo>
                      <a:lnTo>
                        <a:pt x="14165" y="14680"/>
                      </a:lnTo>
                      <a:lnTo>
                        <a:pt x="14165" y="14549"/>
                      </a:lnTo>
                      <a:lnTo>
                        <a:pt x="14165" y="14352"/>
                      </a:lnTo>
                      <a:lnTo>
                        <a:pt x="14165" y="13959"/>
                      </a:lnTo>
                      <a:lnTo>
                        <a:pt x="14293" y="13697"/>
                      </a:lnTo>
                      <a:lnTo>
                        <a:pt x="14464" y="13369"/>
                      </a:lnTo>
                      <a:lnTo>
                        <a:pt x="14507" y="13173"/>
                      </a:lnTo>
                      <a:lnTo>
                        <a:pt x="14507" y="12648"/>
                      </a:lnTo>
                      <a:lnTo>
                        <a:pt x="14507" y="12583"/>
                      </a:lnTo>
                      <a:lnTo>
                        <a:pt x="14464" y="12386"/>
                      </a:lnTo>
                      <a:lnTo>
                        <a:pt x="14379" y="12190"/>
                      </a:lnTo>
                      <a:lnTo>
                        <a:pt x="14293" y="12124"/>
                      </a:lnTo>
                      <a:lnTo>
                        <a:pt x="14208" y="11993"/>
                      </a:lnTo>
                      <a:lnTo>
                        <a:pt x="14123" y="11862"/>
                      </a:lnTo>
                      <a:lnTo>
                        <a:pt x="14080" y="11665"/>
                      </a:lnTo>
                      <a:lnTo>
                        <a:pt x="14165" y="11403"/>
                      </a:lnTo>
                      <a:lnTo>
                        <a:pt x="14165" y="11338"/>
                      </a:lnTo>
                      <a:lnTo>
                        <a:pt x="14165" y="11272"/>
                      </a:lnTo>
                      <a:lnTo>
                        <a:pt x="14208" y="10879"/>
                      </a:lnTo>
                      <a:lnTo>
                        <a:pt x="14293" y="10748"/>
                      </a:lnTo>
                      <a:lnTo>
                        <a:pt x="14336" y="10748"/>
                      </a:lnTo>
                      <a:lnTo>
                        <a:pt x="14507" y="10748"/>
                      </a:lnTo>
                      <a:lnTo>
                        <a:pt x="14635" y="10682"/>
                      </a:lnTo>
                      <a:lnTo>
                        <a:pt x="14720" y="10617"/>
                      </a:lnTo>
                      <a:lnTo>
                        <a:pt x="14891" y="10551"/>
                      </a:lnTo>
                      <a:lnTo>
                        <a:pt x="15019" y="10551"/>
                      </a:lnTo>
                      <a:lnTo>
                        <a:pt x="15189" y="10486"/>
                      </a:lnTo>
                      <a:lnTo>
                        <a:pt x="15275" y="10355"/>
                      </a:lnTo>
                      <a:lnTo>
                        <a:pt x="15445" y="10224"/>
                      </a:lnTo>
                      <a:lnTo>
                        <a:pt x="15659" y="10093"/>
                      </a:lnTo>
                      <a:lnTo>
                        <a:pt x="15787" y="9961"/>
                      </a:lnTo>
                      <a:lnTo>
                        <a:pt x="15915" y="9765"/>
                      </a:lnTo>
                      <a:lnTo>
                        <a:pt x="15957" y="9634"/>
                      </a:lnTo>
                      <a:lnTo>
                        <a:pt x="15957" y="9241"/>
                      </a:lnTo>
                      <a:lnTo>
                        <a:pt x="16000" y="9044"/>
                      </a:lnTo>
                      <a:lnTo>
                        <a:pt x="16043" y="8913"/>
                      </a:lnTo>
                      <a:lnTo>
                        <a:pt x="16085" y="8782"/>
                      </a:lnTo>
                      <a:lnTo>
                        <a:pt x="16171" y="8716"/>
                      </a:lnTo>
                      <a:lnTo>
                        <a:pt x="16299" y="8520"/>
                      </a:lnTo>
                      <a:lnTo>
                        <a:pt x="16341" y="8454"/>
                      </a:lnTo>
                      <a:lnTo>
                        <a:pt x="16341" y="8126"/>
                      </a:lnTo>
                      <a:lnTo>
                        <a:pt x="16341" y="7930"/>
                      </a:lnTo>
                      <a:lnTo>
                        <a:pt x="16341" y="7799"/>
                      </a:lnTo>
                      <a:lnTo>
                        <a:pt x="16384" y="7537"/>
                      </a:lnTo>
                      <a:lnTo>
                        <a:pt x="16341" y="7406"/>
                      </a:lnTo>
                      <a:lnTo>
                        <a:pt x="16299" y="7078"/>
                      </a:lnTo>
                      <a:lnTo>
                        <a:pt x="16256" y="6881"/>
                      </a:lnTo>
                      <a:lnTo>
                        <a:pt x="16085" y="6685"/>
                      </a:lnTo>
                      <a:lnTo>
                        <a:pt x="15872" y="6554"/>
                      </a:lnTo>
                      <a:lnTo>
                        <a:pt x="15744" y="6488"/>
                      </a:lnTo>
                      <a:lnTo>
                        <a:pt x="15659" y="6357"/>
                      </a:lnTo>
                      <a:lnTo>
                        <a:pt x="15616" y="6095"/>
                      </a:lnTo>
                      <a:lnTo>
                        <a:pt x="15616" y="5898"/>
                      </a:lnTo>
                      <a:lnTo>
                        <a:pt x="15531" y="5702"/>
                      </a:lnTo>
                      <a:lnTo>
                        <a:pt x="15445" y="5636"/>
                      </a:lnTo>
                      <a:lnTo>
                        <a:pt x="15019" y="5177"/>
                      </a:lnTo>
                      <a:lnTo>
                        <a:pt x="15019" y="5046"/>
                      </a:lnTo>
                      <a:lnTo>
                        <a:pt x="14976" y="4850"/>
                      </a:lnTo>
                      <a:lnTo>
                        <a:pt x="14933" y="4719"/>
                      </a:lnTo>
                      <a:lnTo>
                        <a:pt x="14848" y="4522"/>
                      </a:lnTo>
                      <a:lnTo>
                        <a:pt x="14720" y="4325"/>
                      </a:lnTo>
                      <a:lnTo>
                        <a:pt x="14549" y="4260"/>
                      </a:lnTo>
                      <a:lnTo>
                        <a:pt x="14421" y="4194"/>
                      </a:lnTo>
                      <a:lnTo>
                        <a:pt x="14336" y="4129"/>
                      </a:lnTo>
                      <a:lnTo>
                        <a:pt x="14208" y="4063"/>
                      </a:lnTo>
                      <a:lnTo>
                        <a:pt x="14037" y="3932"/>
                      </a:lnTo>
                      <a:lnTo>
                        <a:pt x="13909" y="3867"/>
                      </a:lnTo>
                      <a:lnTo>
                        <a:pt x="13867" y="3670"/>
                      </a:lnTo>
                      <a:lnTo>
                        <a:pt x="13824" y="3211"/>
                      </a:lnTo>
                      <a:lnTo>
                        <a:pt x="13739" y="3015"/>
                      </a:lnTo>
                      <a:lnTo>
                        <a:pt x="13653" y="2621"/>
                      </a:lnTo>
                      <a:lnTo>
                        <a:pt x="13568" y="2163"/>
                      </a:lnTo>
                      <a:lnTo>
                        <a:pt x="13568" y="1901"/>
                      </a:lnTo>
                      <a:lnTo>
                        <a:pt x="13653" y="1704"/>
                      </a:lnTo>
                      <a:lnTo>
                        <a:pt x="13781" y="1311"/>
                      </a:lnTo>
                      <a:lnTo>
                        <a:pt x="13867" y="1180"/>
                      </a:lnTo>
                      <a:lnTo>
                        <a:pt x="13781" y="983"/>
                      </a:lnTo>
                      <a:lnTo>
                        <a:pt x="13611" y="655"/>
                      </a:lnTo>
                      <a:lnTo>
                        <a:pt x="13525" y="393"/>
                      </a:lnTo>
                      <a:lnTo>
                        <a:pt x="13440" y="328"/>
                      </a:lnTo>
                      <a:lnTo>
                        <a:pt x="13397" y="262"/>
                      </a:lnTo>
                      <a:lnTo>
                        <a:pt x="13397" y="0"/>
                      </a:lnTo>
                      <a:lnTo>
                        <a:pt x="12459" y="0"/>
                      </a:lnTo>
                      <a:lnTo>
                        <a:pt x="12160" y="0"/>
                      </a:lnTo>
                      <a:lnTo>
                        <a:pt x="11264" y="66"/>
                      </a:lnTo>
                      <a:lnTo>
                        <a:pt x="10325" y="131"/>
                      </a:lnTo>
                      <a:lnTo>
                        <a:pt x="10112" y="131"/>
                      </a:lnTo>
                      <a:lnTo>
                        <a:pt x="8917" y="197"/>
                      </a:lnTo>
                      <a:lnTo>
                        <a:pt x="8832" y="197"/>
                      </a:lnTo>
                      <a:lnTo>
                        <a:pt x="7723" y="262"/>
                      </a:lnTo>
                      <a:lnTo>
                        <a:pt x="7381" y="262"/>
                      </a:lnTo>
                      <a:lnTo>
                        <a:pt x="6571" y="262"/>
                      </a:lnTo>
                      <a:lnTo>
                        <a:pt x="5845" y="328"/>
                      </a:lnTo>
                      <a:lnTo>
                        <a:pt x="5376" y="328"/>
                      </a:lnTo>
                      <a:lnTo>
                        <a:pt x="4352" y="328"/>
                      </a:lnTo>
                      <a:lnTo>
                        <a:pt x="4224" y="328"/>
                      </a:lnTo>
                      <a:lnTo>
                        <a:pt x="3029" y="393"/>
                      </a:lnTo>
                      <a:lnTo>
                        <a:pt x="2859" y="393"/>
                      </a:lnTo>
                      <a:lnTo>
                        <a:pt x="1877" y="393"/>
                      </a:lnTo>
                      <a:lnTo>
                        <a:pt x="1408" y="393"/>
                      </a:lnTo>
                      <a:lnTo>
                        <a:pt x="469" y="393"/>
                      </a:lnTo>
                      <a:lnTo>
                        <a:pt x="85" y="393"/>
                      </a:lnTo>
                      <a:lnTo>
                        <a:pt x="43" y="590"/>
                      </a:lnTo>
                      <a:lnTo>
                        <a:pt x="85" y="786"/>
                      </a:lnTo>
                      <a:lnTo>
                        <a:pt x="213" y="918"/>
                      </a:lnTo>
                      <a:lnTo>
                        <a:pt x="256" y="1049"/>
                      </a:lnTo>
                      <a:lnTo>
                        <a:pt x="256" y="1245"/>
                      </a:lnTo>
                      <a:lnTo>
                        <a:pt x="213" y="1376"/>
                      </a:lnTo>
                      <a:lnTo>
                        <a:pt x="128" y="1442"/>
                      </a:lnTo>
                      <a:lnTo>
                        <a:pt x="85" y="1507"/>
                      </a:lnTo>
                      <a:lnTo>
                        <a:pt x="128" y="1638"/>
                      </a:lnTo>
                      <a:lnTo>
                        <a:pt x="128" y="1769"/>
                      </a:lnTo>
                      <a:lnTo>
                        <a:pt x="213" y="1835"/>
                      </a:lnTo>
                      <a:lnTo>
                        <a:pt x="299" y="1835"/>
                      </a:lnTo>
                      <a:lnTo>
                        <a:pt x="341" y="1901"/>
                      </a:lnTo>
                      <a:lnTo>
                        <a:pt x="384" y="1966"/>
                      </a:lnTo>
                      <a:lnTo>
                        <a:pt x="384" y="2097"/>
                      </a:lnTo>
                      <a:lnTo>
                        <a:pt x="427" y="2228"/>
                      </a:lnTo>
                      <a:lnTo>
                        <a:pt x="427" y="2359"/>
                      </a:lnTo>
                      <a:lnTo>
                        <a:pt x="427" y="2425"/>
                      </a:lnTo>
                      <a:lnTo>
                        <a:pt x="427" y="2556"/>
                      </a:lnTo>
                      <a:lnTo>
                        <a:pt x="427" y="2687"/>
                      </a:lnTo>
                      <a:lnTo>
                        <a:pt x="213" y="2818"/>
                      </a:lnTo>
                      <a:lnTo>
                        <a:pt x="299" y="2949"/>
                      </a:lnTo>
                      <a:lnTo>
                        <a:pt x="256" y="3080"/>
                      </a:lnTo>
                      <a:lnTo>
                        <a:pt x="256" y="3342"/>
                      </a:lnTo>
                      <a:lnTo>
                        <a:pt x="213" y="3408"/>
                      </a:lnTo>
                      <a:lnTo>
                        <a:pt x="213" y="3539"/>
                      </a:lnTo>
                      <a:lnTo>
                        <a:pt x="213" y="3670"/>
                      </a:lnTo>
                      <a:lnTo>
                        <a:pt x="128" y="3998"/>
                      </a:lnTo>
                      <a:lnTo>
                        <a:pt x="43" y="4194"/>
                      </a:lnTo>
                      <a:lnTo>
                        <a:pt x="0" y="4391"/>
                      </a:lnTo>
                      <a:lnTo>
                        <a:pt x="0" y="4522"/>
                      </a:lnTo>
                      <a:lnTo>
                        <a:pt x="43" y="4653"/>
                      </a:lnTo>
                      <a:lnTo>
                        <a:pt x="128" y="4719"/>
                      </a:lnTo>
                      <a:lnTo>
                        <a:pt x="341" y="5243"/>
                      </a:lnTo>
                      <a:lnTo>
                        <a:pt x="341" y="5374"/>
                      </a:lnTo>
                      <a:lnTo>
                        <a:pt x="341" y="5505"/>
                      </a:lnTo>
                      <a:lnTo>
                        <a:pt x="341" y="5571"/>
                      </a:lnTo>
                      <a:lnTo>
                        <a:pt x="384" y="5702"/>
                      </a:lnTo>
                      <a:lnTo>
                        <a:pt x="427" y="5767"/>
                      </a:lnTo>
                      <a:lnTo>
                        <a:pt x="512" y="5833"/>
                      </a:lnTo>
                      <a:lnTo>
                        <a:pt x="555" y="5964"/>
                      </a:lnTo>
                      <a:lnTo>
                        <a:pt x="555" y="6029"/>
                      </a:lnTo>
                      <a:lnTo>
                        <a:pt x="512" y="6160"/>
                      </a:lnTo>
                      <a:lnTo>
                        <a:pt x="469" y="6226"/>
                      </a:lnTo>
                      <a:lnTo>
                        <a:pt x="469" y="6357"/>
                      </a:lnTo>
                      <a:lnTo>
                        <a:pt x="469" y="6554"/>
                      </a:lnTo>
                      <a:lnTo>
                        <a:pt x="640" y="6881"/>
                      </a:lnTo>
                      <a:lnTo>
                        <a:pt x="640" y="6947"/>
                      </a:lnTo>
                      <a:lnTo>
                        <a:pt x="725" y="7143"/>
                      </a:lnTo>
                      <a:lnTo>
                        <a:pt x="725" y="7209"/>
                      </a:lnTo>
                      <a:lnTo>
                        <a:pt x="640" y="7340"/>
                      </a:lnTo>
                      <a:lnTo>
                        <a:pt x="640" y="7406"/>
                      </a:lnTo>
                      <a:lnTo>
                        <a:pt x="683" y="7471"/>
                      </a:lnTo>
                      <a:lnTo>
                        <a:pt x="768" y="7602"/>
                      </a:lnTo>
                      <a:lnTo>
                        <a:pt x="811" y="7864"/>
                      </a:lnTo>
                      <a:lnTo>
                        <a:pt x="853" y="7930"/>
                      </a:lnTo>
                      <a:lnTo>
                        <a:pt x="939" y="8061"/>
                      </a:lnTo>
                      <a:lnTo>
                        <a:pt x="939" y="8258"/>
                      </a:lnTo>
                      <a:lnTo>
                        <a:pt x="1067" y="8258"/>
                      </a:lnTo>
                      <a:lnTo>
                        <a:pt x="1109" y="8323"/>
                      </a:lnTo>
                      <a:lnTo>
                        <a:pt x="1109" y="8389"/>
                      </a:lnTo>
                      <a:lnTo>
                        <a:pt x="1109" y="8520"/>
                      </a:lnTo>
                      <a:lnTo>
                        <a:pt x="1109" y="8716"/>
                      </a:lnTo>
                      <a:lnTo>
                        <a:pt x="1195" y="8978"/>
                      </a:lnTo>
                      <a:lnTo>
                        <a:pt x="1280" y="9175"/>
                      </a:lnTo>
                      <a:lnTo>
                        <a:pt x="1280" y="9437"/>
                      </a:lnTo>
                      <a:lnTo>
                        <a:pt x="1280" y="9568"/>
                      </a:lnTo>
                      <a:lnTo>
                        <a:pt x="1195" y="9765"/>
                      </a:lnTo>
                      <a:lnTo>
                        <a:pt x="1195" y="10027"/>
                      </a:lnTo>
                      <a:lnTo>
                        <a:pt x="1195" y="10158"/>
                      </a:lnTo>
                      <a:lnTo>
                        <a:pt x="1280" y="10224"/>
                      </a:lnTo>
                      <a:lnTo>
                        <a:pt x="1323" y="10224"/>
                      </a:lnTo>
                      <a:lnTo>
                        <a:pt x="1365" y="10224"/>
                      </a:lnTo>
                      <a:lnTo>
                        <a:pt x="1365" y="10355"/>
                      </a:lnTo>
                      <a:lnTo>
                        <a:pt x="1323" y="10551"/>
                      </a:lnTo>
                      <a:lnTo>
                        <a:pt x="1280" y="10617"/>
                      </a:lnTo>
                      <a:lnTo>
                        <a:pt x="1408" y="10682"/>
                      </a:lnTo>
                      <a:lnTo>
                        <a:pt x="1451" y="10682"/>
                      </a:lnTo>
                      <a:lnTo>
                        <a:pt x="1493" y="10879"/>
                      </a:lnTo>
                      <a:lnTo>
                        <a:pt x="1493" y="10945"/>
                      </a:lnTo>
                      <a:lnTo>
                        <a:pt x="1664" y="11076"/>
                      </a:lnTo>
                      <a:lnTo>
                        <a:pt x="1664" y="11207"/>
                      </a:lnTo>
                      <a:lnTo>
                        <a:pt x="1707" y="11272"/>
                      </a:lnTo>
                      <a:lnTo>
                        <a:pt x="1707" y="11469"/>
                      </a:lnTo>
                      <a:lnTo>
                        <a:pt x="1707" y="11600"/>
                      </a:lnTo>
                      <a:lnTo>
                        <a:pt x="1707" y="11665"/>
                      </a:lnTo>
                      <a:lnTo>
                        <a:pt x="1707" y="11731"/>
                      </a:lnTo>
                      <a:lnTo>
                        <a:pt x="1749" y="11796"/>
                      </a:lnTo>
                      <a:lnTo>
                        <a:pt x="1835" y="11796"/>
                      </a:lnTo>
                      <a:lnTo>
                        <a:pt x="1835" y="11862"/>
                      </a:lnTo>
                      <a:lnTo>
                        <a:pt x="1835" y="11993"/>
                      </a:lnTo>
                      <a:lnTo>
                        <a:pt x="1749" y="12124"/>
                      </a:lnTo>
                      <a:lnTo>
                        <a:pt x="1749" y="12321"/>
                      </a:lnTo>
                      <a:lnTo>
                        <a:pt x="1792" y="12583"/>
                      </a:lnTo>
                      <a:lnTo>
                        <a:pt x="1792" y="12648"/>
                      </a:lnTo>
                      <a:lnTo>
                        <a:pt x="1835" y="12780"/>
                      </a:lnTo>
                      <a:lnTo>
                        <a:pt x="1877" y="12976"/>
                      </a:lnTo>
                      <a:lnTo>
                        <a:pt x="1835" y="13107"/>
                      </a:lnTo>
                      <a:lnTo>
                        <a:pt x="1835" y="13238"/>
                      </a:lnTo>
                      <a:lnTo>
                        <a:pt x="1835" y="13369"/>
                      </a:lnTo>
                      <a:lnTo>
                        <a:pt x="1920" y="13631"/>
                      </a:lnTo>
                      <a:lnTo>
                        <a:pt x="1963" y="13763"/>
                      </a:lnTo>
                      <a:lnTo>
                        <a:pt x="1963" y="13828"/>
                      </a:lnTo>
                      <a:lnTo>
                        <a:pt x="1963" y="13959"/>
                      </a:lnTo>
                      <a:lnTo>
                        <a:pt x="1877" y="14287"/>
                      </a:lnTo>
                      <a:lnTo>
                        <a:pt x="1920" y="14483"/>
                      </a:lnTo>
                      <a:lnTo>
                        <a:pt x="1835" y="14746"/>
                      </a:lnTo>
                      <a:lnTo>
                        <a:pt x="1835" y="14811"/>
                      </a:lnTo>
                      <a:lnTo>
                        <a:pt x="1877" y="15008"/>
                      </a:lnTo>
                      <a:lnTo>
                        <a:pt x="1920" y="15139"/>
                      </a:lnTo>
                      <a:lnTo>
                        <a:pt x="2048" y="15270"/>
                      </a:lnTo>
                      <a:lnTo>
                        <a:pt x="2091" y="15401"/>
                      </a:lnTo>
                      <a:lnTo>
                        <a:pt x="2133" y="15598"/>
                      </a:lnTo>
                      <a:lnTo>
                        <a:pt x="2133" y="15532"/>
                      </a:lnTo>
                      <a:lnTo>
                        <a:pt x="3115" y="15598"/>
                      </a:lnTo>
                      <a:lnTo>
                        <a:pt x="3584" y="15598"/>
                      </a:lnTo>
                      <a:lnTo>
                        <a:pt x="4309" y="15598"/>
                      </a:lnTo>
                      <a:lnTo>
                        <a:pt x="5035" y="15598"/>
                      </a:lnTo>
                      <a:lnTo>
                        <a:pt x="5419" y="15598"/>
                      </a:lnTo>
                      <a:lnTo>
                        <a:pt x="6059" y="15598"/>
                      </a:lnTo>
                      <a:lnTo>
                        <a:pt x="6656" y="15532"/>
                      </a:lnTo>
                      <a:lnTo>
                        <a:pt x="7253" y="15532"/>
                      </a:lnTo>
                      <a:lnTo>
                        <a:pt x="7808" y="15466"/>
                      </a:lnTo>
                      <a:lnTo>
                        <a:pt x="8320" y="15466"/>
                      </a:lnTo>
                      <a:lnTo>
                        <a:pt x="9003" y="15466"/>
                      </a:lnTo>
                      <a:close/>
                    </a:path>
                  </a:pathLst>
                </a:custGeom>
                <a:solidFill>
                  <a:srgbClr val="00B050"/>
                </a:solidFill>
                <a:ln w="9525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defTabSz="121917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35" name="Kansas">
                  <a:extLst>
                    <a:ext uri="{FF2B5EF4-FFF2-40B4-BE49-F238E27FC236}">
                      <a16:creationId xmlns:a16="http://schemas.microsoft.com/office/drawing/2014/main" id="{A1DE506E-C634-B951-D7EB-6CE43936BB2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2277725" y="8115300"/>
                  <a:ext cx="4429125" cy="2276475"/>
                </a:xfrm>
                <a:custGeom>
                  <a:avLst/>
                  <a:gdLst>
                    <a:gd name="T0" fmla="*/ 2147483647 w 16384"/>
                    <a:gd name="T1" fmla="*/ 2147483647 h 16384"/>
                    <a:gd name="T2" fmla="*/ 2147483647 w 16384"/>
                    <a:gd name="T3" fmla="*/ 2147483647 h 16384"/>
                    <a:gd name="T4" fmla="*/ 2147483647 w 16384"/>
                    <a:gd name="T5" fmla="*/ 2147483647 h 16384"/>
                    <a:gd name="T6" fmla="*/ 2147483647 w 16384"/>
                    <a:gd name="T7" fmla="*/ 2147483647 h 16384"/>
                    <a:gd name="T8" fmla="*/ 2147483647 w 16384"/>
                    <a:gd name="T9" fmla="*/ 2147483647 h 16384"/>
                    <a:gd name="T10" fmla="*/ 2147483647 w 16384"/>
                    <a:gd name="T11" fmla="*/ 2147483647 h 16384"/>
                    <a:gd name="T12" fmla="*/ 2147483647 w 16384"/>
                    <a:gd name="T13" fmla="*/ 2147483647 h 16384"/>
                    <a:gd name="T14" fmla="*/ 2147483647 w 16384"/>
                    <a:gd name="T15" fmla="*/ 2147483647 h 16384"/>
                    <a:gd name="T16" fmla="*/ 2147483647 w 16384"/>
                    <a:gd name="T17" fmla="*/ 2147483647 h 16384"/>
                    <a:gd name="T18" fmla="*/ 2147483647 w 16384"/>
                    <a:gd name="T19" fmla="*/ 2147483647 h 16384"/>
                    <a:gd name="T20" fmla="*/ 2147483647 w 16384"/>
                    <a:gd name="T21" fmla="*/ 2147483647 h 16384"/>
                    <a:gd name="T22" fmla="*/ 2147483647 w 16384"/>
                    <a:gd name="T23" fmla="*/ 2147483647 h 16384"/>
                    <a:gd name="T24" fmla="*/ 2147483647 w 16384"/>
                    <a:gd name="T25" fmla="*/ 2147483647 h 16384"/>
                    <a:gd name="T26" fmla="*/ 2147483647 w 16384"/>
                    <a:gd name="T27" fmla="*/ 2147483647 h 16384"/>
                    <a:gd name="T28" fmla="*/ 2147483647 w 16384"/>
                    <a:gd name="T29" fmla="*/ 2147483647 h 16384"/>
                    <a:gd name="T30" fmla="*/ 2147483647 w 16384"/>
                    <a:gd name="T31" fmla="*/ 2147483647 h 16384"/>
                    <a:gd name="T32" fmla="*/ 2147483647 w 16384"/>
                    <a:gd name="T33" fmla="*/ 2147483647 h 16384"/>
                    <a:gd name="T34" fmla="*/ 2147483647 w 16384"/>
                    <a:gd name="T35" fmla="*/ 2147483647 h 16384"/>
                    <a:gd name="T36" fmla="*/ 2147483647 w 16384"/>
                    <a:gd name="T37" fmla="*/ 2147483647 h 16384"/>
                    <a:gd name="T38" fmla="*/ 2147483647 w 16384"/>
                    <a:gd name="T39" fmla="*/ 2147483647 h 16384"/>
                    <a:gd name="T40" fmla="*/ 2147483647 w 16384"/>
                    <a:gd name="T41" fmla="*/ 2147483647 h 16384"/>
                    <a:gd name="T42" fmla="*/ 2147483647 w 16384"/>
                    <a:gd name="T43" fmla="*/ 2147483647 h 16384"/>
                    <a:gd name="T44" fmla="*/ 2147483647 w 16384"/>
                    <a:gd name="T45" fmla="*/ 2147483647 h 16384"/>
                    <a:gd name="T46" fmla="*/ 2147483647 w 16384"/>
                    <a:gd name="T47" fmla="*/ 2147483647 h 16384"/>
                    <a:gd name="T48" fmla="*/ 2147483647 w 16384"/>
                    <a:gd name="T49" fmla="*/ 2147483647 h 16384"/>
                    <a:gd name="T50" fmla="*/ 2147483647 w 16384"/>
                    <a:gd name="T51" fmla="*/ 2147483647 h 16384"/>
                    <a:gd name="T52" fmla="*/ 2147483647 w 16384"/>
                    <a:gd name="T53" fmla="*/ 2147483647 h 16384"/>
                    <a:gd name="T54" fmla="*/ 2147483647 w 16384"/>
                    <a:gd name="T55" fmla="*/ 2147483647 h 16384"/>
                    <a:gd name="T56" fmla="*/ 2147483647 w 16384"/>
                    <a:gd name="T57" fmla="*/ 2147483647 h 16384"/>
                    <a:gd name="T58" fmla="*/ 2147483647 w 16384"/>
                    <a:gd name="T59" fmla="*/ 2147483647 h 16384"/>
                    <a:gd name="T60" fmla="*/ 2147483647 w 16384"/>
                    <a:gd name="T61" fmla="*/ 2147483647 h 16384"/>
                    <a:gd name="T62" fmla="*/ 2147483647 w 16384"/>
                    <a:gd name="T63" fmla="*/ 2147483647 h 16384"/>
                    <a:gd name="T64" fmla="*/ 2147483647 w 16384"/>
                    <a:gd name="T65" fmla="*/ 2147483647 h 16384"/>
                    <a:gd name="T66" fmla="*/ 2147483647 w 16384"/>
                    <a:gd name="T67" fmla="*/ 2147483647 h 16384"/>
                    <a:gd name="T68" fmla="*/ 2147483647 w 16384"/>
                    <a:gd name="T69" fmla="*/ 2147483647 h 16384"/>
                    <a:gd name="T70" fmla="*/ 2147483647 w 16384"/>
                    <a:gd name="T71" fmla="*/ 2147483647 h 16384"/>
                    <a:gd name="T72" fmla="*/ 2147483647 w 16384"/>
                    <a:gd name="T73" fmla="*/ 2147483647 h 16384"/>
                    <a:gd name="T74" fmla="*/ 2147483647 w 16384"/>
                    <a:gd name="T75" fmla="*/ 2147483647 h 16384"/>
                    <a:gd name="T76" fmla="*/ 2147483647 w 16384"/>
                    <a:gd name="T77" fmla="*/ 2147483647 h 16384"/>
                    <a:gd name="T78" fmla="*/ 2147483647 w 16384"/>
                    <a:gd name="T79" fmla="*/ 2147483647 h 16384"/>
                    <a:gd name="T80" fmla="*/ 2147483647 w 16384"/>
                    <a:gd name="T81" fmla="*/ 2147483647 h 16384"/>
                    <a:gd name="T82" fmla="*/ 2147483647 w 16384"/>
                    <a:gd name="T83" fmla="*/ 2147483647 h 16384"/>
                    <a:gd name="T84" fmla="*/ 2147483647 w 16384"/>
                    <a:gd name="T85" fmla="*/ 0 h 16384"/>
                    <a:gd name="T86" fmla="*/ 2147483647 w 16384"/>
                    <a:gd name="T87" fmla="*/ 2147483647 h 16384"/>
                    <a:gd name="T88" fmla="*/ 2147483647 w 16384"/>
                    <a:gd name="T89" fmla="*/ 2147483647 h 16384"/>
                    <a:gd name="T90" fmla="*/ 2147483647 w 16384"/>
                    <a:gd name="T91" fmla="*/ 2147483647 h 16384"/>
                    <a:gd name="T92" fmla="*/ 2147483647 w 16384"/>
                    <a:gd name="T93" fmla="*/ 2147483647 h 16384"/>
                    <a:gd name="T94" fmla="*/ 2147483647 w 16384"/>
                    <a:gd name="T95" fmla="*/ 2147483647 h 16384"/>
                    <a:gd name="T96" fmla="*/ 2147483647 w 16384"/>
                    <a:gd name="T97" fmla="*/ 2147483647 h 16384"/>
                    <a:gd name="T98" fmla="*/ 2147483647 w 16384"/>
                    <a:gd name="T99" fmla="*/ 2147483647 h 16384"/>
                    <a:gd name="T100" fmla="*/ 2147483647 w 16384"/>
                    <a:gd name="T101" fmla="*/ 2147483647 h 16384"/>
                    <a:gd name="T102" fmla="*/ 2147483647 w 16384"/>
                    <a:gd name="T103" fmla="*/ 2147483647 h 16384"/>
                    <a:gd name="T104" fmla="*/ 2147483647 w 16384"/>
                    <a:gd name="T105" fmla="*/ 2147483647 h 16384"/>
                    <a:gd name="T106" fmla="*/ 2147483647 w 16384"/>
                    <a:gd name="T107" fmla="*/ 2147483647 h 16384"/>
                    <a:gd name="T108" fmla="*/ 2147483647 w 16384"/>
                    <a:gd name="T109" fmla="*/ 2147483647 h 16384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w 16384"/>
                    <a:gd name="T166" fmla="*/ 0 h 16384"/>
                    <a:gd name="T167" fmla="*/ 16384 w 16384"/>
                    <a:gd name="T168" fmla="*/ 16384 h 16384"/>
                  </a:gdLst>
                  <a:ahLst/>
                  <a:cxnLst>
                    <a:cxn ang="T110">
                      <a:pos x="T0" y="T1"/>
                    </a:cxn>
                    <a:cxn ang="T111">
                      <a:pos x="T2" y="T3"/>
                    </a:cxn>
                    <a:cxn ang="T112">
                      <a:pos x="T4" y="T5"/>
                    </a:cxn>
                    <a:cxn ang="T113">
                      <a:pos x="T6" y="T7"/>
                    </a:cxn>
                    <a:cxn ang="T114">
                      <a:pos x="T8" y="T9"/>
                    </a:cxn>
                    <a:cxn ang="T115">
                      <a:pos x="T10" y="T11"/>
                    </a:cxn>
                    <a:cxn ang="T116">
                      <a:pos x="T12" y="T13"/>
                    </a:cxn>
                    <a:cxn ang="T117">
                      <a:pos x="T14" y="T15"/>
                    </a:cxn>
                    <a:cxn ang="T118">
                      <a:pos x="T16" y="T17"/>
                    </a:cxn>
                    <a:cxn ang="T119">
                      <a:pos x="T18" y="T19"/>
                    </a:cxn>
                    <a:cxn ang="T120">
                      <a:pos x="T20" y="T21"/>
                    </a:cxn>
                    <a:cxn ang="T121">
                      <a:pos x="T22" y="T23"/>
                    </a:cxn>
                    <a:cxn ang="T122">
                      <a:pos x="T24" y="T25"/>
                    </a:cxn>
                    <a:cxn ang="T123">
                      <a:pos x="T26" y="T27"/>
                    </a:cxn>
                    <a:cxn ang="T124">
                      <a:pos x="T28" y="T29"/>
                    </a:cxn>
                    <a:cxn ang="T125">
                      <a:pos x="T30" y="T31"/>
                    </a:cxn>
                    <a:cxn ang="T126">
                      <a:pos x="T32" y="T33"/>
                    </a:cxn>
                    <a:cxn ang="T127">
                      <a:pos x="T34" y="T35"/>
                    </a:cxn>
                    <a:cxn ang="T128">
                      <a:pos x="T36" y="T37"/>
                    </a:cxn>
                    <a:cxn ang="T129">
                      <a:pos x="T38" y="T39"/>
                    </a:cxn>
                    <a:cxn ang="T130">
                      <a:pos x="T40" y="T41"/>
                    </a:cxn>
                    <a:cxn ang="T131">
                      <a:pos x="T42" y="T43"/>
                    </a:cxn>
                    <a:cxn ang="T132">
                      <a:pos x="T44" y="T45"/>
                    </a:cxn>
                    <a:cxn ang="T133">
                      <a:pos x="T46" y="T47"/>
                    </a:cxn>
                    <a:cxn ang="T134">
                      <a:pos x="T48" y="T49"/>
                    </a:cxn>
                    <a:cxn ang="T135">
                      <a:pos x="T50" y="T51"/>
                    </a:cxn>
                    <a:cxn ang="T136">
                      <a:pos x="T52" y="T53"/>
                    </a:cxn>
                    <a:cxn ang="T137">
                      <a:pos x="T54" y="T55"/>
                    </a:cxn>
                    <a:cxn ang="T138">
                      <a:pos x="T56" y="T57"/>
                    </a:cxn>
                    <a:cxn ang="T139">
                      <a:pos x="T58" y="T59"/>
                    </a:cxn>
                    <a:cxn ang="T140">
                      <a:pos x="T60" y="T61"/>
                    </a:cxn>
                    <a:cxn ang="T141">
                      <a:pos x="T62" y="T63"/>
                    </a:cxn>
                    <a:cxn ang="T142">
                      <a:pos x="T64" y="T65"/>
                    </a:cxn>
                    <a:cxn ang="T143">
                      <a:pos x="T66" y="T67"/>
                    </a:cxn>
                    <a:cxn ang="T144">
                      <a:pos x="T68" y="T69"/>
                    </a:cxn>
                    <a:cxn ang="T145">
                      <a:pos x="T70" y="T71"/>
                    </a:cxn>
                    <a:cxn ang="T146">
                      <a:pos x="T72" y="T73"/>
                    </a:cxn>
                    <a:cxn ang="T147">
                      <a:pos x="T74" y="T75"/>
                    </a:cxn>
                    <a:cxn ang="T148">
                      <a:pos x="T76" y="T77"/>
                    </a:cxn>
                    <a:cxn ang="T149">
                      <a:pos x="T78" y="T79"/>
                    </a:cxn>
                    <a:cxn ang="T150">
                      <a:pos x="T80" y="T81"/>
                    </a:cxn>
                    <a:cxn ang="T151">
                      <a:pos x="T82" y="T83"/>
                    </a:cxn>
                    <a:cxn ang="T152">
                      <a:pos x="T84" y="T85"/>
                    </a:cxn>
                    <a:cxn ang="T153">
                      <a:pos x="T86" y="T87"/>
                    </a:cxn>
                    <a:cxn ang="T154">
                      <a:pos x="T88" y="T89"/>
                    </a:cxn>
                    <a:cxn ang="T155">
                      <a:pos x="T90" y="T91"/>
                    </a:cxn>
                    <a:cxn ang="T156">
                      <a:pos x="T92" y="T93"/>
                    </a:cxn>
                    <a:cxn ang="T157">
                      <a:pos x="T94" y="T95"/>
                    </a:cxn>
                    <a:cxn ang="T158">
                      <a:pos x="T96" y="T97"/>
                    </a:cxn>
                    <a:cxn ang="T159">
                      <a:pos x="T98" y="T99"/>
                    </a:cxn>
                    <a:cxn ang="T160">
                      <a:pos x="T100" y="T101"/>
                    </a:cxn>
                    <a:cxn ang="T161">
                      <a:pos x="T102" y="T103"/>
                    </a:cxn>
                    <a:cxn ang="T162">
                      <a:pos x="T104" y="T105"/>
                    </a:cxn>
                    <a:cxn ang="T163">
                      <a:pos x="T106" y="T107"/>
                    </a:cxn>
                    <a:cxn ang="T164">
                      <a:pos x="T108" y="T109"/>
                    </a:cxn>
                  </a:cxnLst>
                  <a:rect l="T165" t="T166" r="T167" b="T168"/>
                  <a:pathLst>
                    <a:path w="16384" h="16384">
                      <a:moveTo>
                        <a:pt x="9333" y="16319"/>
                      </a:moveTo>
                      <a:lnTo>
                        <a:pt x="10093" y="16319"/>
                      </a:lnTo>
                      <a:lnTo>
                        <a:pt x="10750" y="16384"/>
                      </a:lnTo>
                      <a:lnTo>
                        <a:pt x="11683" y="16384"/>
                      </a:lnTo>
                      <a:lnTo>
                        <a:pt x="12167" y="16384"/>
                      </a:lnTo>
                      <a:lnTo>
                        <a:pt x="13308" y="16319"/>
                      </a:lnTo>
                      <a:lnTo>
                        <a:pt x="13377" y="16319"/>
                      </a:lnTo>
                      <a:lnTo>
                        <a:pt x="13757" y="16319"/>
                      </a:lnTo>
                      <a:lnTo>
                        <a:pt x="14379" y="16319"/>
                      </a:lnTo>
                      <a:lnTo>
                        <a:pt x="14587" y="16319"/>
                      </a:lnTo>
                      <a:lnTo>
                        <a:pt x="15347" y="16319"/>
                      </a:lnTo>
                      <a:lnTo>
                        <a:pt x="15520" y="16319"/>
                      </a:lnTo>
                      <a:lnTo>
                        <a:pt x="16349" y="16255"/>
                      </a:lnTo>
                      <a:lnTo>
                        <a:pt x="16315" y="15997"/>
                      </a:lnTo>
                      <a:lnTo>
                        <a:pt x="16315" y="14578"/>
                      </a:lnTo>
                      <a:lnTo>
                        <a:pt x="16315" y="14449"/>
                      </a:lnTo>
                      <a:lnTo>
                        <a:pt x="16315" y="12965"/>
                      </a:lnTo>
                      <a:lnTo>
                        <a:pt x="16315" y="12836"/>
                      </a:lnTo>
                      <a:lnTo>
                        <a:pt x="16315" y="10966"/>
                      </a:lnTo>
                      <a:lnTo>
                        <a:pt x="16315" y="10837"/>
                      </a:lnTo>
                      <a:lnTo>
                        <a:pt x="16349" y="9160"/>
                      </a:lnTo>
                      <a:lnTo>
                        <a:pt x="16315" y="8708"/>
                      </a:lnTo>
                      <a:lnTo>
                        <a:pt x="16315" y="7353"/>
                      </a:lnTo>
                      <a:lnTo>
                        <a:pt x="16315" y="6773"/>
                      </a:lnTo>
                      <a:lnTo>
                        <a:pt x="16315" y="5741"/>
                      </a:lnTo>
                      <a:lnTo>
                        <a:pt x="16349" y="5289"/>
                      </a:lnTo>
                      <a:lnTo>
                        <a:pt x="16384" y="5225"/>
                      </a:lnTo>
                      <a:lnTo>
                        <a:pt x="16315" y="5160"/>
                      </a:lnTo>
                      <a:lnTo>
                        <a:pt x="16246" y="5160"/>
                      </a:lnTo>
                      <a:lnTo>
                        <a:pt x="16177" y="5031"/>
                      </a:lnTo>
                      <a:lnTo>
                        <a:pt x="16038" y="5031"/>
                      </a:lnTo>
                      <a:lnTo>
                        <a:pt x="15969" y="4967"/>
                      </a:lnTo>
                      <a:lnTo>
                        <a:pt x="15900" y="4902"/>
                      </a:lnTo>
                      <a:lnTo>
                        <a:pt x="15762" y="4580"/>
                      </a:lnTo>
                      <a:lnTo>
                        <a:pt x="15693" y="4257"/>
                      </a:lnTo>
                      <a:lnTo>
                        <a:pt x="15693" y="3999"/>
                      </a:lnTo>
                      <a:lnTo>
                        <a:pt x="15589" y="3935"/>
                      </a:lnTo>
                      <a:lnTo>
                        <a:pt x="15554" y="3806"/>
                      </a:lnTo>
                      <a:lnTo>
                        <a:pt x="15520" y="3612"/>
                      </a:lnTo>
                      <a:lnTo>
                        <a:pt x="15347" y="3419"/>
                      </a:lnTo>
                      <a:lnTo>
                        <a:pt x="15243" y="3225"/>
                      </a:lnTo>
                      <a:lnTo>
                        <a:pt x="15243" y="3161"/>
                      </a:lnTo>
                      <a:lnTo>
                        <a:pt x="15312" y="2903"/>
                      </a:lnTo>
                      <a:lnTo>
                        <a:pt x="15347" y="2709"/>
                      </a:lnTo>
                      <a:lnTo>
                        <a:pt x="15382" y="2516"/>
                      </a:lnTo>
                      <a:lnTo>
                        <a:pt x="15520" y="2322"/>
                      </a:lnTo>
                      <a:lnTo>
                        <a:pt x="15520" y="2129"/>
                      </a:lnTo>
                      <a:lnTo>
                        <a:pt x="15658" y="2129"/>
                      </a:lnTo>
                      <a:lnTo>
                        <a:pt x="15762" y="2129"/>
                      </a:lnTo>
                      <a:lnTo>
                        <a:pt x="15624" y="1935"/>
                      </a:lnTo>
                      <a:lnTo>
                        <a:pt x="15693" y="1871"/>
                      </a:lnTo>
                      <a:lnTo>
                        <a:pt x="15693" y="1677"/>
                      </a:lnTo>
                      <a:lnTo>
                        <a:pt x="15693" y="1548"/>
                      </a:lnTo>
                      <a:lnTo>
                        <a:pt x="15589" y="1484"/>
                      </a:lnTo>
                      <a:lnTo>
                        <a:pt x="15520" y="1226"/>
                      </a:lnTo>
                      <a:lnTo>
                        <a:pt x="15451" y="1290"/>
                      </a:lnTo>
                      <a:lnTo>
                        <a:pt x="15416" y="1355"/>
                      </a:lnTo>
                      <a:lnTo>
                        <a:pt x="15382" y="1419"/>
                      </a:lnTo>
                      <a:lnTo>
                        <a:pt x="15174" y="1484"/>
                      </a:lnTo>
                      <a:lnTo>
                        <a:pt x="15105" y="1290"/>
                      </a:lnTo>
                      <a:lnTo>
                        <a:pt x="15001" y="1161"/>
                      </a:lnTo>
                      <a:lnTo>
                        <a:pt x="14932" y="1032"/>
                      </a:lnTo>
                      <a:lnTo>
                        <a:pt x="14829" y="774"/>
                      </a:lnTo>
                      <a:lnTo>
                        <a:pt x="14759" y="774"/>
                      </a:lnTo>
                      <a:lnTo>
                        <a:pt x="14725" y="774"/>
                      </a:lnTo>
                      <a:lnTo>
                        <a:pt x="13792" y="839"/>
                      </a:lnTo>
                      <a:lnTo>
                        <a:pt x="13308" y="839"/>
                      </a:lnTo>
                      <a:lnTo>
                        <a:pt x="12858" y="839"/>
                      </a:lnTo>
                      <a:lnTo>
                        <a:pt x="12374" y="839"/>
                      </a:lnTo>
                      <a:lnTo>
                        <a:pt x="11614" y="774"/>
                      </a:lnTo>
                      <a:lnTo>
                        <a:pt x="11441" y="774"/>
                      </a:lnTo>
                      <a:lnTo>
                        <a:pt x="10439" y="774"/>
                      </a:lnTo>
                      <a:lnTo>
                        <a:pt x="9505" y="774"/>
                      </a:lnTo>
                      <a:lnTo>
                        <a:pt x="9229" y="710"/>
                      </a:lnTo>
                      <a:lnTo>
                        <a:pt x="8538" y="710"/>
                      </a:lnTo>
                      <a:lnTo>
                        <a:pt x="8019" y="710"/>
                      </a:lnTo>
                      <a:lnTo>
                        <a:pt x="7604" y="645"/>
                      </a:lnTo>
                      <a:lnTo>
                        <a:pt x="6844" y="645"/>
                      </a:lnTo>
                      <a:lnTo>
                        <a:pt x="6637" y="645"/>
                      </a:lnTo>
                      <a:lnTo>
                        <a:pt x="5669" y="516"/>
                      </a:lnTo>
                      <a:lnTo>
                        <a:pt x="4494" y="452"/>
                      </a:lnTo>
                      <a:lnTo>
                        <a:pt x="3353" y="323"/>
                      </a:lnTo>
                      <a:lnTo>
                        <a:pt x="3284" y="323"/>
                      </a:lnTo>
                      <a:lnTo>
                        <a:pt x="2108" y="194"/>
                      </a:lnTo>
                      <a:lnTo>
                        <a:pt x="1901" y="194"/>
                      </a:lnTo>
                      <a:lnTo>
                        <a:pt x="553" y="0"/>
                      </a:lnTo>
                      <a:lnTo>
                        <a:pt x="449" y="2193"/>
                      </a:lnTo>
                      <a:lnTo>
                        <a:pt x="484" y="2258"/>
                      </a:lnTo>
                      <a:lnTo>
                        <a:pt x="380" y="4515"/>
                      </a:lnTo>
                      <a:lnTo>
                        <a:pt x="380" y="4902"/>
                      </a:lnTo>
                      <a:lnTo>
                        <a:pt x="311" y="6773"/>
                      </a:lnTo>
                      <a:lnTo>
                        <a:pt x="311" y="7224"/>
                      </a:lnTo>
                      <a:lnTo>
                        <a:pt x="242" y="9031"/>
                      </a:lnTo>
                      <a:lnTo>
                        <a:pt x="138" y="11740"/>
                      </a:lnTo>
                      <a:lnTo>
                        <a:pt x="138" y="12191"/>
                      </a:lnTo>
                      <a:lnTo>
                        <a:pt x="69" y="13546"/>
                      </a:lnTo>
                      <a:lnTo>
                        <a:pt x="0" y="15545"/>
                      </a:lnTo>
                      <a:lnTo>
                        <a:pt x="69" y="15545"/>
                      </a:lnTo>
                      <a:lnTo>
                        <a:pt x="1106" y="15674"/>
                      </a:lnTo>
                      <a:lnTo>
                        <a:pt x="2178" y="15803"/>
                      </a:lnTo>
                      <a:lnTo>
                        <a:pt x="2454" y="15803"/>
                      </a:lnTo>
                      <a:lnTo>
                        <a:pt x="3145" y="15868"/>
                      </a:lnTo>
                      <a:lnTo>
                        <a:pt x="4321" y="15997"/>
                      </a:lnTo>
                      <a:lnTo>
                        <a:pt x="4494" y="15997"/>
                      </a:lnTo>
                      <a:lnTo>
                        <a:pt x="5496" y="16126"/>
                      </a:lnTo>
                      <a:lnTo>
                        <a:pt x="5669" y="16126"/>
                      </a:lnTo>
                      <a:lnTo>
                        <a:pt x="6706" y="16126"/>
                      </a:lnTo>
                      <a:lnTo>
                        <a:pt x="7708" y="16255"/>
                      </a:lnTo>
                      <a:lnTo>
                        <a:pt x="8157" y="16255"/>
                      </a:lnTo>
                      <a:lnTo>
                        <a:pt x="8676" y="16255"/>
                      </a:lnTo>
                      <a:lnTo>
                        <a:pt x="9333" y="16319"/>
                      </a:lnTo>
                      <a:close/>
                    </a:path>
                  </a:pathLst>
                </a:custGeom>
                <a:solidFill>
                  <a:srgbClr val="00B050"/>
                </a:solidFill>
                <a:ln w="9525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defTabSz="121917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36" name="Louisiana">
                  <a:extLst>
                    <a:ext uri="{FF2B5EF4-FFF2-40B4-BE49-F238E27FC236}">
                      <a16:creationId xmlns:a16="http://schemas.microsoft.com/office/drawing/2014/main" id="{050F03B5-3B0B-0432-557C-AB69F9A065E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6679081" y="13211176"/>
                  <a:ext cx="4179867" cy="2800350"/>
                </a:xfrm>
                <a:custGeom>
                  <a:avLst/>
                  <a:gdLst>
                    <a:gd name="T0" fmla="*/ 2147483647 w 16384"/>
                    <a:gd name="T1" fmla="*/ 2147483647 h 16384"/>
                    <a:gd name="T2" fmla="*/ 2147483647 w 16384"/>
                    <a:gd name="T3" fmla="*/ 2147483647 h 16384"/>
                    <a:gd name="T4" fmla="*/ 2147483647 w 16384"/>
                    <a:gd name="T5" fmla="*/ 2147483647 h 16384"/>
                    <a:gd name="T6" fmla="*/ 2147483647 w 16384"/>
                    <a:gd name="T7" fmla="*/ 2147483647 h 16384"/>
                    <a:gd name="T8" fmla="*/ 2147483647 w 16384"/>
                    <a:gd name="T9" fmla="*/ 2147483647 h 16384"/>
                    <a:gd name="T10" fmla="*/ 2147483647 w 16384"/>
                    <a:gd name="T11" fmla="*/ 2147483647 h 16384"/>
                    <a:gd name="T12" fmla="*/ 2147483647 w 16384"/>
                    <a:gd name="T13" fmla="*/ 2147483647 h 16384"/>
                    <a:gd name="T14" fmla="*/ 2147483647 w 16384"/>
                    <a:gd name="T15" fmla="*/ 2147483647 h 16384"/>
                    <a:gd name="T16" fmla="*/ 2147483647 w 16384"/>
                    <a:gd name="T17" fmla="*/ 2147483647 h 16384"/>
                    <a:gd name="T18" fmla="*/ 2147483647 w 16384"/>
                    <a:gd name="T19" fmla="*/ 2147483647 h 16384"/>
                    <a:gd name="T20" fmla="*/ 2147483647 w 16384"/>
                    <a:gd name="T21" fmla="*/ 2147483647 h 16384"/>
                    <a:gd name="T22" fmla="*/ 2147483647 w 16384"/>
                    <a:gd name="T23" fmla="*/ 2147483647 h 16384"/>
                    <a:gd name="T24" fmla="*/ 2147483647 w 16384"/>
                    <a:gd name="T25" fmla="*/ 2147483647 h 16384"/>
                    <a:gd name="T26" fmla="*/ 2147483647 w 16384"/>
                    <a:gd name="T27" fmla="*/ 2147483647 h 16384"/>
                    <a:gd name="T28" fmla="*/ 2147483647 w 16384"/>
                    <a:gd name="T29" fmla="*/ 2147483647 h 16384"/>
                    <a:gd name="T30" fmla="*/ 2147483647 w 16384"/>
                    <a:gd name="T31" fmla="*/ 2147483647 h 16384"/>
                    <a:gd name="T32" fmla="*/ 2147483647 w 16384"/>
                    <a:gd name="T33" fmla="*/ 2147483647 h 16384"/>
                    <a:gd name="T34" fmla="*/ 2147483647 w 16384"/>
                    <a:gd name="T35" fmla="*/ 2147483647 h 16384"/>
                    <a:gd name="T36" fmla="*/ 2147483647 w 16384"/>
                    <a:gd name="T37" fmla="*/ 2147483647 h 16384"/>
                    <a:gd name="T38" fmla="*/ 2147483647 w 16384"/>
                    <a:gd name="T39" fmla="*/ 2147483647 h 16384"/>
                    <a:gd name="T40" fmla="*/ 2147483647 w 16384"/>
                    <a:gd name="T41" fmla="*/ 2147483647 h 16384"/>
                    <a:gd name="T42" fmla="*/ 2147483647 w 16384"/>
                    <a:gd name="T43" fmla="*/ 2147483647 h 16384"/>
                    <a:gd name="T44" fmla="*/ 2147483647 w 16384"/>
                    <a:gd name="T45" fmla="*/ 2147483647 h 16384"/>
                    <a:gd name="T46" fmla="*/ 2147483647 w 16384"/>
                    <a:gd name="T47" fmla="*/ 2147483647 h 16384"/>
                    <a:gd name="T48" fmla="*/ 2147483647 w 16384"/>
                    <a:gd name="T49" fmla="*/ 2147483647 h 16384"/>
                    <a:gd name="T50" fmla="*/ 2147483647 w 16384"/>
                    <a:gd name="T51" fmla="*/ 2147483647 h 16384"/>
                    <a:gd name="T52" fmla="*/ 2147483647 w 16384"/>
                    <a:gd name="T53" fmla="*/ 2147483647 h 16384"/>
                    <a:gd name="T54" fmla="*/ 2147483647 w 16384"/>
                    <a:gd name="T55" fmla="*/ 2147483647 h 16384"/>
                    <a:gd name="T56" fmla="*/ 2147483647 w 16384"/>
                    <a:gd name="T57" fmla="*/ 2147483647 h 16384"/>
                    <a:gd name="T58" fmla="*/ 2147483647 w 16384"/>
                    <a:gd name="T59" fmla="*/ 2147483647 h 16384"/>
                    <a:gd name="T60" fmla="*/ 2147483647 w 16384"/>
                    <a:gd name="T61" fmla="*/ 2147483647 h 16384"/>
                    <a:gd name="T62" fmla="*/ 2147483647 w 16384"/>
                    <a:gd name="T63" fmla="*/ 2147483647 h 16384"/>
                    <a:gd name="T64" fmla="*/ 2147483647 w 16384"/>
                    <a:gd name="T65" fmla="*/ 2147483647 h 16384"/>
                    <a:gd name="T66" fmla="*/ 2147483647 w 16384"/>
                    <a:gd name="T67" fmla="*/ 2147483647 h 16384"/>
                    <a:gd name="T68" fmla="*/ 2147483647 w 16384"/>
                    <a:gd name="T69" fmla="*/ 2147483647 h 16384"/>
                    <a:gd name="T70" fmla="*/ 2147483647 w 16384"/>
                    <a:gd name="T71" fmla="*/ 2147483647 h 16384"/>
                    <a:gd name="T72" fmla="*/ 2147483647 w 16384"/>
                    <a:gd name="T73" fmla="*/ 2147483647 h 16384"/>
                    <a:gd name="T74" fmla="*/ 2147483647 w 16384"/>
                    <a:gd name="T75" fmla="*/ 2147483647 h 16384"/>
                    <a:gd name="T76" fmla="*/ 2147483647 w 16384"/>
                    <a:gd name="T77" fmla="*/ 2147483647 h 16384"/>
                    <a:gd name="T78" fmla="*/ 2147483647 w 16384"/>
                    <a:gd name="T79" fmla="*/ 2147483647 h 16384"/>
                    <a:gd name="T80" fmla="*/ 2147483647 w 16384"/>
                    <a:gd name="T81" fmla="*/ 2147483647 h 16384"/>
                    <a:gd name="T82" fmla="*/ 2147483647 w 16384"/>
                    <a:gd name="T83" fmla="*/ 2147483647 h 16384"/>
                    <a:gd name="T84" fmla="*/ 2147483647 w 16384"/>
                    <a:gd name="T85" fmla="*/ 2147483647 h 16384"/>
                    <a:gd name="T86" fmla="*/ 2147483647 w 16384"/>
                    <a:gd name="T87" fmla="*/ 2147483647 h 16384"/>
                    <a:gd name="T88" fmla="*/ 2147483647 w 16384"/>
                    <a:gd name="T89" fmla="*/ 2147483647 h 16384"/>
                    <a:gd name="T90" fmla="*/ 2147483647 w 16384"/>
                    <a:gd name="T91" fmla="*/ 2147483647 h 16384"/>
                    <a:gd name="T92" fmla="*/ 2147483647 w 16384"/>
                    <a:gd name="T93" fmla="*/ 2147483647 h 16384"/>
                    <a:gd name="T94" fmla="*/ 2147483647 w 16384"/>
                    <a:gd name="T95" fmla="*/ 2147483647 h 16384"/>
                    <a:gd name="T96" fmla="*/ 2147483647 w 16384"/>
                    <a:gd name="T97" fmla="*/ 2147483647 h 16384"/>
                    <a:gd name="T98" fmla="*/ 2147483647 w 16384"/>
                    <a:gd name="T99" fmla="*/ 2147483647 h 16384"/>
                    <a:gd name="T100" fmla="*/ 2147483647 w 16384"/>
                    <a:gd name="T101" fmla="*/ 2147483647 h 16384"/>
                    <a:gd name="T102" fmla="*/ 2147483647 w 16384"/>
                    <a:gd name="T103" fmla="*/ 2147483647 h 16384"/>
                    <a:gd name="T104" fmla="*/ 2147483647 w 16384"/>
                    <a:gd name="T105" fmla="*/ 2147483647 h 16384"/>
                    <a:gd name="T106" fmla="*/ 2147483647 w 16384"/>
                    <a:gd name="T107" fmla="*/ 2147483647 h 16384"/>
                    <a:gd name="T108" fmla="*/ 2147483647 w 16384"/>
                    <a:gd name="T109" fmla="*/ 2147483647 h 16384"/>
                    <a:gd name="T110" fmla="*/ 2147483647 w 16384"/>
                    <a:gd name="T111" fmla="*/ 2147483647 h 16384"/>
                    <a:gd name="T112" fmla="*/ 2147483647 w 16384"/>
                    <a:gd name="T113" fmla="*/ 2147483647 h 16384"/>
                    <a:gd name="T114" fmla="*/ 2147483647 w 16384"/>
                    <a:gd name="T115" fmla="*/ 2147483647 h 16384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w 16384"/>
                    <a:gd name="T175" fmla="*/ 0 h 16384"/>
                    <a:gd name="T176" fmla="*/ 16384 w 16384"/>
                    <a:gd name="T177" fmla="*/ 16384 h 16384"/>
                  </a:gdLst>
                  <a:ahLst/>
                  <a:cxnLst>
                    <a:cxn ang="T116">
                      <a:pos x="T0" y="T1"/>
                    </a:cxn>
                    <a:cxn ang="T117">
                      <a:pos x="T2" y="T3"/>
                    </a:cxn>
                    <a:cxn ang="T118">
                      <a:pos x="T4" y="T5"/>
                    </a:cxn>
                    <a:cxn ang="T119">
                      <a:pos x="T6" y="T7"/>
                    </a:cxn>
                    <a:cxn ang="T120">
                      <a:pos x="T8" y="T9"/>
                    </a:cxn>
                    <a:cxn ang="T121">
                      <a:pos x="T10" y="T11"/>
                    </a:cxn>
                    <a:cxn ang="T122">
                      <a:pos x="T12" y="T13"/>
                    </a:cxn>
                    <a:cxn ang="T123">
                      <a:pos x="T14" y="T15"/>
                    </a:cxn>
                    <a:cxn ang="T124">
                      <a:pos x="T16" y="T17"/>
                    </a:cxn>
                    <a:cxn ang="T125">
                      <a:pos x="T18" y="T19"/>
                    </a:cxn>
                    <a:cxn ang="T126">
                      <a:pos x="T20" y="T21"/>
                    </a:cxn>
                    <a:cxn ang="T127">
                      <a:pos x="T22" y="T23"/>
                    </a:cxn>
                    <a:cxn ang="T128">
                      <a:pos x="T24" y="T25"/>
                    </a:cxn>
                    <a:cxn ang="T129">
                      <a:pos x="T26" y="T27"/>
                    </a:cxn>
                    <a:cxn ang="T130">
                      <a:pos x="T28" y="T29"/>
                    </a:cxn>
                    <a:cxn ang="T131">
                      <a:pos x="T30" y="T31"/>
                    </a:cxn>
                    <a:cxn ang="T132">
                      <a:pos x="T32" y="T33"/>
                    </a:cxn>
                    <a:cxn ang="T133">
                      <a:pos x="T34" y="T35"/>
                    </a:cxn>
                    <a:cxn ang="T134">
                      <a:pos x="T36" y="T37"/>
                    </a:cxn>
                    <a:cxn ang="T135">
                      <a:pos x="T38" y="T39"/>
                    </a:cxn>
                    <a:cxn ang="T136">
                      <a:pos x="T40" y="T41"/>
                    </a:cxn>
                    <a:cxn ang="T137">
                      <a:pos x="T42" y="T43"/>
                    </a:cxn>
                    <a:cxn ang="T138">
                      <a:pos x="T44" y="T45"/>
                    </a:cxn>
                    <a:cxn ang="T139">
                      <a:pos x="T46" y="T47"/>
                    </a:cxn>
                    <a:cxn ang="T140">
                      <a:pos x="T48" y="T49"/>
                    </a:cxn>
                    <a:cxn ang="T141">
                      <a:pos x="T50" y="T51"/>
                    </a:cxn>
                    <a:cxn ang="T142">
                      <a:pos x="T52" y="T53"/>
                    </a:cxn>
                    <a:cxn ang="T143">
                      <a:pos x="T54" y="T55"/>
                    </a:cxn>
                    <a:cxn ang="T144">
                      <a:pos x="T56" y="T57"/>
                    </a:cxn>
                    <a:cxn ang="T145">
                      <a:pos x="T58" y="T59"/>
                    </a:cxn>
                    <a:cxn ang="T146">
                      <a:pos x="T60" y="T61"/>
                    </a:cxn>
                    <a:cxn ang="T147">
                      <a:pos x="T62" y="T63"/>
                    </a:cxn>
                    <a:cxn ang="T148">
                      <a:pos x="T64" y="T65"/>
                    </a:cxn>
                    <a:cxn ang="T149">
                      <a:pos x="T66" y="T67"/>
                    </a:cxn>
                    <a:cxn ang="T150">
                      <a:pos x="T68" y="T69"/>
                    </a:cxn>
                    <a:cxn ang="T151">
                      <a:pos x="T70" y="T71"/>
                    </a:cxn>
                    <a:cxn ang="T152">
                      <a:pos x="T72" y="T73"/>
                    </a:cxn>
                    <a:cxn ang="T153">
                      <a:pos x="T74" y="T75"/>
                    </a:cxn>
                    <a:cxn ang="T154">
                      <a:pos x="T76" y="T77"/>
                    </a:cxn>
                    <a:cxn ang="T155">
                      <a:pos x="T78" y="T79"/>
                    </a:cxn>
                    <a:cxn ang="T156">
                      <a:pos x="T80" y="T81"/>
                    </a:cxn>
                    <a:cxn ang="T157">
                      <a:pos x="T82" y="T83"/>
                    </a:cxn>
                    <a:cxn ang="T158">
                      <a:pos x="T84" y="T85"/>
                    </a:cxn>
                    <a:cxn ang="T159">
                      <a:pos x="T86" y="T87"/>
                    </a:cxn>
                    <a:cxn ang="T160">
                      <a:pos x="T88" y="T89"/>
                    </a:cxn>
                    <a:cxn ang="T161">
                      <a:pos x="T90" y="T91"/>
                    </a:cxn>
                    <a:cxn ang="T162">
                      <a:pos x="T92" y="T93"/>
                    </a:cxn>
                    <a:cxn ang="T163">
                      <a:pos x="T94" y="T95"/>
                    </a:cxn>
                    <a:cxn ang="T164">
                      <a:pos x="T96" y="T97"/>
                    </a:cxn>
                    <a:cxn ang="T165">
                      <a:pos x="T98" y="T99"/>
                    </a:cxn>
                    <a:cxn ang="T166">
                      <a:pos x="T100" y="T101"/>
                    </a:cxn>
                    <a:cxn ang="T167">
                      <a:pos x="T102" y="T103"/>
                    </a:cxn>
                    <a:cxn ang="T168">
                      <a:pos x="T104" y="T105"/>
                    </a:cxn>
                    <a:cxn ang="T169">
                      <a:pos x="T106" y="T107"/>
                    </a:cxn>
                    <a:cxn ang="T170">
                      <a:pos x="T108" y="T109"/>
                    </a:cxn>
                    <a:cxn ang="T171">
                      <a:pos x="T110" y="T111"/>
                    </a:cxn>
                    <a:cxn ang="T172">
                      <a:pos x="T112" y="T113"/>
                    </a:cxn>
                    <a:cxn ang="T173">
                      <a:pos x="T114" y="T115"/>
                    </a:cxn>
                  </a:cxnLst>
                  <a:rect l="T174" t="T175" r="T176" b="T177"/>
                  <a:pathLst>
                    <a:path w="16384" h="16384">
                      <a:moveTo>
                        <a:pt x="7917" y="8113"/>
                      </a:moveTo>
                      <a:lnTo>
                        <a:pt x="7872" y="8009"/>
                      </a:lnTo>
                      <a:lnTo>
                        <a:pt x="7780" y="7852"/>
                      </a:lnTo>
                      <a:lnTo>
                        <a:pt x="7780" y="7799"/>
                      </a:lnTo>
                      <a:lnTo>
                        <a:pt x="7780" y="7642"/>
                      </a:lnTo>
                      <a:lnTo>
                        <a:pt x="7780" y="7538"/>
                      </a:lnTo>
                      <a:lnTo>
                        <a:pt x="7734" y="7381"/>
                      </a:lnTo>
                      <a:lnTo>
                        <a:pt x="7689" y="7328"/>
                      </a:lnTo>
                      <a:lnTo>
                        <a:pt x="7780" y="7276"/>
                      </a:lnTo>
                      <a:lnTo>
                        <a:pt x="7917" y="7276"/>
                      </a:lnTo>
                      <a:lnTo>
                        <a:pt x="8009" y="7224"/>
                      </a:lnTo>
                      <a:lnTo>
                        <a:pt x="8009" y="7014"/>
                      </a:lnTo>
                      <a:lnTo>
                        <a:pt x="7917" y="6857"/>
                      </a:lnTo>
                      <a:lnTo>
                        <a:pt x="7917" y="6753"/>
                      </a:lnTo>
                      <a:lnTo>
                        <a:pt x="7917" y="6648"/>
                      </a:lnTo>
                      <a:lnTo>
                        <a:pt x="8055" y="6700"/>
                      </a:lnTo>
                      <a:lnTo>
                        <a:pt x="8192" y="6700"/>
                      </a:lnTo>
                      <a:lnTo>
                        <a:pt x="8192" y="6595"/>
                      </a:lnTo>
                      <a:lnTo>
                        <a:pt x="8100" y="6491"/>
                      </a:lnTo>
                      <a:lnTo>
                        <a:pt x="8055" y="6386"/>
                      </a:lnTo>
                      <a:lnTo>
                        <a:pt x="8055" y="6124"/>
                      </a:lnTo>
                      <a:lnTo>
                        <a:pt x="8284" y="6072"/>
                      </a:lnTo>
                      <a:lnTo>
                        <a:pt x="8329" y="5967"/>
                      </a:lnTo>
                      <a:lnTo>
                        <a:pt x="8329" y="5915"/>
                      </a:lnTo>
                      <a:lnTo>
                        <a:pt x="8284" y="5863"/>
                      </a:lnTo>
                      <a:lnTo>
                        <a:pt x="8100" y="5863"/>
                      </a:lnTo>
                      <a:lnTo>
                        <a:pt x="8055" y="5810"/>
                      </a:lnTo>
                      <a:lnTo>
                        <a:pt x="8100" y="5758"/>
                      </a:lnTo>
                      <a:lnTo>
                        <a:pt x="8146" y="5706"/>
                      </a:lnTo>
                      <a:lnTo>
                        <a:pt x="8329" y="5706"/>
                      </a:lnTo>
                      <a:lnTo>
                        <a:pt x="8375" y="5601"/>
                      </a:lnTo>
                      <a:lnTo>
                        <a:pt x="8329" y="5444"/>
                      </a:lnTo>
                      <a:lnTo>
                        <a:pt x="8375" y="5339"/>
                      </a:lnTo>
                      <a:lnTo>
                        <a:pt x="8467" y="5235"/>
                      </a:lnTo>
                      <a:lnTo>
                        <a:pt x="8604" y="5235"/>
                      </a:lnTo>
                      <a:lnTo>
                        <a:pt x="8741" y="5182"/>
                      </a:lnTo>
                      <a:lnTo>
                        <a:pt x="8695" y="5130"/>
                      </a:lnTo>
                      <a:lnTo>
                        <a:pt x="8558" y="5077"/>
                      </a:lnTo>
                      <a:lnTo>
                        <a:pt x="8467" y="5025"/>
                      </a:lnTo>
                      <a:lnTo>
                        <a:pt x="8467" y="4868"/>
                      </a:lnTo>
                      <a:lnTo>
                        <a:pt x="8512" y="4816"/>
                      </a:lnTo>
                      <a:lnTo>
                        <a:pt x="8604" y="4763"/>
                      </a:lnTo>
                      <a:lnTo>
                        <a:pt x="8695" y="4816"/>
                      </a:lnTo>
                      <a:lnTo>
                        <a:pt x="8878" y="4816"/>
                      </a:lnTo>
                      <a:lnTo>
                        <a:pt x="8833" y="4711"/>
                      </a:lnTo>
                      <a:lnTo>
                        <a:pt x="8833" y="4659"/>
                      </a:lnTo>
                      <a:lnTo>
                        <a:pt x="8833" y="4606"/>
                      </a:lnTo>
                      <a:lnTo>
                        <a:pt x="8924" y="4502"/>
                      </a:lnTo>
                      <a:lnTo>
                        <a:pt x="8970" y="4397"/>
                      </a:lnTo>
                      <a:lnTo>
                        <a:pt x="9062" y="4188"/>
                      </a:lnTo>
                      <a:lnTo>
                        <a:pt x="9199" y="4135"/>
                      </a:lnTo>
                      <a:lnTo>
                        <a:pt x="9245" y="4031"/>
                      </a:lnTo>
                      <a:lnTo>
                        <a:pt x="9199" y="3978"/>
                      </a:lnTo>
                      <a:lnTo>
                        <a:pt x="9107" y="3874"/>
                      </a:lnTo>
                      <a:lnTo>
                        <a:pt x="9107" y="3821"/>
                      </a:lnTo>
                      <a:lnTo>
                        <a:pt x="9199" y="3821"/>
                      </a:lnTo>
                      <a:lnTo>
                        <a:pt x="9336" y="3821"/>
                      </a:lnTo>
                      <a:lnTo>
                        <a:pt x="9382" y="3769"/>
                      </a:lnTo>
                      <a:lnTo>
                        <a:pt x="9473" y="3664"/>
                      </a:lnTo>
                      <a:lnTo>
                        <a:pt x="9519" y="3612"/>
                      </a:lnTo>
                      <a:lnTo>
                        <a:pt x="9611" y="3507"/>
                      </a:lnTo>
                      <a:lnTo>
                        <a:pt x="9611" y="3402"/>
                      </a:lnTo>
                      <a:lnTo>
                        <a:pt x="9565" y="3350"/>
                      </a:lnTo>
                      <a:lnTo>
                        <a:pt x="9473" y="3298"/>
                      </a:lnTo>
                      <a:lnTo>
                        <a:pt x="9428" y="3455"/>
                      </a:lnTo>
                      <a:lnTo>
                        <a:pt x="9199" y="3612"/>
                      </a:lnTo>
                      <a:lnTo>
                        <a:pt x="9153" y="3559"/>
                      </a:lnTo>
                      <a:lnTo>
                        <a:pt x="8970" y="3559"/>
                      </a:lnTo>
                      <a:lnTo>
                        <a:pt x="8970" y="3455"/>
                      </a:lnTo>
                      <a:lnTo>
                        <a:pt x="8970" y="3298"/>
                      </a:lnTo>
                      <a:lnTo>
                        <a:pt x="9062" y="3245"/>
                      </a:lnTo>
                      <a:lnTo>
                        <a:pt x="9153" y="3245"/>
                      </a:lnTo>
                      <a:lnTo>
                        <a:pt x="9199" y="3245"/>
                      </a:lnTo>
                      <a:lnTo>
                        <a:pt x="9519" y="3193"/>
                      </a:lnTo>
                      <a:lnTo>
                        <a:pt x="9611" y="3141"/>
                      </a:lnTo>
                      <a:lnTo>
                        <a:pt x="9656" y="2984"/>
                      </a:lnTo>
                      <a:lnTo>
                        <a:pt x="9702" y="2827"/>
                      </a:lnTo>
                      <a:lnTo>
                        <a:pt x="9748" y="2722"/>
                      </a:lnTo>
                      <a:lnTo>
                        <a:pt x="9748" y="2670"/>
                      </a:lnTo>
                      <a:lnTo>
                        <a:pt x="9565" y="2617"/>
                      </a:lnTo>
                      <a:lnTo>
                        <a:pt x="9428" y="2513"/>
                      </a:lnTo>
                      <a:lnTo>
                        <a:pt x="9382" y="2251"/>
                      </a:lnTo>
                      <a:lnTo>
                        <a:pt x="9336" y="2198"/>
                      </a:lnTo>
                      <a:lnTo>
                        <a:pt x="9245" y="2198"/>
                      </a:lnTo>
                      <a:lnTo>
                        <a:pt x="9153" y="2146"/>
                      </a:lnTo>
                      <a:lnTo>
                        <a:pt x="9107" y="2041"/>
                      </a:lnTo>
                      <a:lnTo>
                        <a:pt x="9107" y="1937"/>
                      </a:lnTo>
                      <a:lnTo>
                        <a:pt x="9153" y="1937"/>
                      </a:lnTo>
                      <a:lnTo>
                        <a:pt x="9382" y="2094"/>
                      </a:lnTo>
                      <a:lnTo>
                        <a:pt x="9428" y="2041"/>
                      </a:lnTo>
                      <a:lnTo>
                        <a:pt x="9428" y="1989"/>
                      </a:lnTo>
                      <a:lnTo>
                        <a:pt x="9336" y="1832"/>
                      </a:lnTo>
                      <a:lnTo>
                        <a:pt x="9245" y="1780"/>
                      </a:lnTo>
                      <a:lnTo>
                        <a:pt x="9245" y="1727"/>
                      </a:lnTo>
                      <a:lnTo>
                        <a:pt x="9336" y="1623"/>
                      </a:lnTo>
                      <a:lnTo>
                        <a:pt x="9382" y="1518"/>
                      </a:lnTo>
                      <a:lnTo>
                        <a:pt x="9336" y="1466"/>
                      </a:lnTo>
                      <a:lnTo>
                        <a:pt x="9245" y="1466"/>
                      </a:lnTo>
                      <a:lnTo>
                        <a:pt x="9107" y="1518"/>
                      </a:lnTo>
                      <a:lnTo>
                        <a:pt x="9016" y="1570"/>
                      </a:lnTo>
                      <a:lnTo>
                        <a:pt x="8970" y="1623"/>
                      </a:lnTo>
                      <a:lnTo>
                        <a:pt x="8970" y="1361"/>
                      </a:lnTo>
                      <a:lnTo>
                        <a:pt x="9016" y="1256"/>
                      </a:lnTo>
                      <a:lnTo>
                        <a:pt x="9107" y="1204"/>
                      </a:lnTo>
                      <a:lnTo>
                        <a:pt x="9153" y="1152"/>
                      </a:lnTo>
                      <a:lnTo>
                        <a:pt x="9199" y="1047"/>
                      </a:lnTo>
                      <a:lnTo>
                        <a:pt x="9153" y="995"/>
                      </a:lnTo>
                      <a:lnTo>
                        <a:pt x="9062" y="995"/>
                      </a:lnTo>
                      <a:lnTo>
                        <a:pt x="8970" y="942"/>
                      </a:lnTo>
                      <a:lnTo>
                        <a:pt x="8924" y="838"/>
                      </a:lnTo>
                      <a:lnTo>
                        <a:pt x="8924" y="680"/>
                      </a:lnTo>
                      <a:lnTo>
                        <a:pt x="9062" y="419"/>
                      </a:lnTo>
                      <a:lnTo>
                        <a:pt x="9107" y="314"/>
                      </a:lnTo>
                      <a:lnTo>
                        <a:pt x="9107" y="209"/>
                      </a:lnTo>
                      <a:lnTo>
                        <a:pt x="9016" y="157"/>
                      </a:lnTo>
                      <a:lnTo>
                        <a:pt x="8970" y="157"/>
                      </a:lnTo>
                      <a:lnTo>
                        <a:pt x="8924" y="314"/>
                      </a:lnTo>
                      <a:lnTo>
                        <a:pt x="8833" y="366"/>
                      </a:lnTo>
                      <a:lnTo>
                        <a:pt x="8741" y="366"/>
                      </a:lnTo>
                      <a:lnTo>
                        <a:pt x="8695" y="262"/>
                      </a:lnTo>
                      <a:lnTo>
                        <a:pt x="8741" y="52"/>
                      </a:lnTo>
                      <a:lnTo>
                        <a:pt x="8741" y="0"/>
                      </a:lnTo>
                      <a:lnTo>
                        <a:pt x="8467" y="0"/>
                      </a:lnTo>
                      <a:lnTo>
                        <a:pt x="8009" y="0"/>
                      </a:lnTo>
                      <a:lnTo>
                        <a:pt x="7917" y="0"/>
                      </a:lnTo>
                      <a:lnTo>
                        <a:pt x="6087" y="52"/>
                      </a:lnTo>
                      <a:lnTo>
                        <a:pt x="5995" y="105"/>
                      </a:lnTo>
                      <a:lnTo>
                        <a:pt x="4027" y="105"/>
                      </a:lnTo>
                      <a:lnTo>
                        <a:pt x="3249" y="157"/>
                      </a:lnTo>
                      <a:lnTo>
                        <a:pt x="2471" y="157"/>
                      </a:lnTo>
                      <a:lnTo>
                        <a:pt x="1693" y="157"/>
                      </a:lnTo>
                      <a:lnTo>
                        <a:pt x="1602" y="209"/>
                      </a:lnTo>
                      <a:lnTo>
                        <a:pt x="641" y="209"/>
                      </a:lnTo>
                      <a:lnTo>
                        <a:pt x="0" y="157"/>
                      </a:lnTo>
                      <a:lnTo>
                        <a:pt x="0" y="733"/>
                      </a:lnTo>
                      <a:lnTo>
                        <a:pt x="0" y="1518"/>
                      </a:lnTo>
                      <a:lnTo>
                        <a:pt x="46" y="2774"/>
                      </a:lnTo>
                      <a:lnTo>
                        <a:pt x="46" y="3612"/>
                      </a:lnTo>
                      <a:lnTo>
                        <a:pt x="46" y="4449"/>
                      </a:lnTo>
                      <a:lnTo>
                        <a:pt x="183" y="4554"/>
                      </a:lnTo>
                      <a:lnTo>
                        <a:pt x="320" y="4763"/>
                      </a:lnTo>
                      <a:lnTo>
                        <a:pt x="503" y="4920"/>
                      </a:lnTo>
                      <a:lnTo>
                        <a:pt x="641" y="5077"/>
                      </a:lnTo>
                      <a:lnTo>
                        <a:pt x="595" y="5182"/>
                      </a:lnTo>
                      <a:lnTo>
                        <a:pt x="732" y="5287"/>
                      </a:lnTo>
                      <a:lnTo>
                        <a:pt x="732" y="5339"/>
                      </a:lnTo>
                      <a:lnTo>
                        <a:pt x="732" y="5496"/>
                      </a:lnTo>
                      <a:lnTo>
                        <a:pt x="824" y="5601"/>
                      </a:lnTo>
                      <a:lnTo>
                        <a:pt x="870" y="5653"/>
                      </a:lnTo>
                      <a:lnTo>
                        <a:pt x="824" y="5758"/>
                      </a:lnTo>
                      <a:lnTo>
                        <a:pt x="778" y="5810"/>
                      </a:lnTo>
                      <a:lnTo>
                        <a:pt x="732" y="5863"/>
                      </a:lnTo>
                      <a:lnTo>
                        <a:pt x="732" y="5967"/>
                      </a:lnTo>
                      <a:lnTo>
                        <a:pt x="778" y="6020"/>
                      </a:lnTo>
                      <a:lnTo>
                        <a:pt x="778" y="6072"/>
                      </a:lnTo>
                      <a:lnTo>
                        <a:pt x="732" y="6072"/>
                      </a:lnTo>
                      <a:lnTo>
                        <a:pt x="732" y="6177"/>
                      </a:lnTo>
                      <a:lnTo>
                        <a:pt x="824" y="6229"/>
                      </a:lnTo>
                      <a:lnTo>
                        <a:pt x="870" y="6386"/>
                      </a:lnTo>
                      <a:lnTo>
                        <a:pt x="961" y="6438"/>
                      </a:lnTo>
                      <a:lnTo>
                        <a:pt x="1053" y="6438"/>
                      </a:lnTo>
                      <a:lnTo>
                        <a:pt x="1098" y="6491"/>
                      </a:lnTo>
                      <a:lnTo>
                        <a:pt x="1053" y="6543"/>
                      </a:lnTo>
                      <a:lnTo>
                        <a:pt x="1007" y="6648"/>
                      </a:lnTo>
                      <a:lnTo>
                        <a:pt x="1144" y="6700"/>
                      </a:lnTo>
                      <a:lnTo>
                        <a:pt x="1190" y="6910"/>
                      </a:lnTo>
                      <a:lnTo>
                        <a:pt x="1327" y="7067"/>
                      </a:lnTo>
                      <a:lnTo>
                        <a:pt x="1281" y="7119"/>
                      </a:lnTo>
                      <a:lnTo>
                        <a:pt x="1236" y="7224"/>
                      </a:lnTo>
                      <a:lnTo>
                        <a:pt x="1190" y="7276"/>
                      </a:lnTo>
                      <a:lnTo>
                        <a:pt x="1236" y="7381"/>
                      </a:lnTo>
                      <a:lnTo>
                        <a:pt x="1281" y="7381"/>
                      </a:lnTo>
                      <a:lnTo>
                        <a:pt x="1373" y="7433"/>
                      </a:lnTo>
                      <a:lnTo>
                        <a:pt x="1464" y="7538"/>
                      </a:lnTo>
                      <a:lnTo>
                        <a:pt x="1464" y="7642"/>
                      </a:lnTo>
                      <a:lnTo>
                        <a:pt x="1510" y="7747"/>
                      </a:lnTo>
                      <a:lnTo>
                        <a:pt x="1602" y="7799"/>
                      </a:lnTo>
                      <a:lnTo>
                        <a:pt x="1693" y="7799"/>
                      </a:lnTo>
                      <a:lnTo>
                        <a:pt x="1693" y="8009"/>
                      </a:lnTo>
                      <a:lnTo>
                        <a:pt x="1648" y="8218"/>
                      </a:lnTo>
                      <a:lnTo>
                        <a:pt x="1693" y="8375"/>
                      </a:lnTo>
                      <a:lnTo>
                        <a:pt x="1739" y="8428"/>
                      </a:lnTo>
                      <a:lnTo>
                        <a:pt x="1693" y="8532"/>
                      </a:lnTo>
                      <a:lnTo>
                        <a:pt x="1648" y="8585"/>
                      </a:lnTo>
                      <a:lnTo>
                        <a:pt x="1602" y="8637"/>
                      </a:lnTo>
                      <a:lnTo>
                        <a:pt x="1648" y="8742"/>
                      </a:lnTo>
                      <a:lnTo>
                        <a:pt x="1693" y="8794"/>
                      </a:lnTo>
                      <a:lnTo>
                        <a:pt x="1693" y="8846"/>
                      </a:lnTo>
                      <a:lnTo>
                        <a:pt x="1739" y="8899"/>
                      </a:lnTo>
                      <a:lnTo>
                        <a:pt x="1693" y="9003"/>
                      </a:lnTo>
                      <a:lnTo>
                        <a:pt x="1648" y="9056"/>
                      </a:lnTo>
                      <a:lnTo>
                        <a:pt x="1693" y="9160"/>
                      </a:lnTo>
                      <a:lnTo>
                        <a:pt x="1648" y="9265"/>
                      </a:lnTo>
                      <a:lnTo>
                        <a:pt x="1602" y="9317"/>
                      </a:lnTo>
                      <a:lnTo>
                        <a:pt x="1556" y="9422"/>
                      </a:lnTo>
                      <a:lnTo>
                        <a:pt x="1419" y="9789"/>
                      </a:lnTo>
                      <a:lnTo>
                        <a:pt x="1373" y="9946"/>
                      </a:lnTo>
                      <a:lnTo>
                        <a:pt x="1236" y="10103"/>
                      </a:lnTo>
                      <a:lnTo>
                        <a:pt x="1236" y="10155"/>
                      </a:lnTo>
                      <a:lnTo>
                        <a:pt x="1236" y="10260"/>
                      </a:lnTo>
                      <a:lnTo>
                        <a:pt x="1190" y="10312"/>
                      </a:lnTo>
                      <a:lnTo>
                        <a:pt x="1144" y="10417"/>
                      </a:lnTo>
                      <a:lnTo>
                        <a:pt x="1144" y="10574"/>
                      </a:lnTo>
                      <a:lnTo>
                        <a:pt x="1144" y="10731"/>
                      </a:lnTo>
                      <a:lnTo>
                        <a:pt x="1236" y="10940"/>
                      </a:lnTo>
                      <a:lnTo>
                        <a:pt x="1144" y="10992"/>
                      </a:lnTo>
                      <a:lnTo>
                        <a:pt x="1190" y="11097"/>
                      </a:lnTo>
                      <a:lnTo>
                        <a:pt x="1098" y="11149"/>
                      </a:lnTo>
                      <a:lnTo>
                        <a:pt x="1098" y="11464"/>
                      </a:lnTo>
                      <a:lnTo>
                        <a:pt x="1144" y="11516"/>
                      </a:lnTo>
                      <a:lnTo>
                        <a:pt x="1236" y="11673"/>
                      </a:lnTo>
                      <a:lnTo>
                        <a:pt x="1373" y="11778"/>
                      </a:lnTo>
                      <a:lnTo>
                        <a:pt x="1327" y="11882"/>
                      </a:lnTo>
                      <a:lnTo>
                        <a:pt x="1327" y="11987"/>
                      </a:lnTo>
                      <a:lnTo>
                        <a:pt x="1281" y="12249"/>
                      </a:lnTo>
                      <a:lnTo>
                        <a:pt x="1236" y="12458"/>
                      </a:lnTo>
                      <a:lnTo>
                        <a:pt x="1281" y="12563"/>
                      </a:lnTo>
                      <a:lnTo>
                        <a:pt x="1190" y="12668"/>
                      </a:lnTo>
                      <a:lnTo>
                        <a:pt x="1098" y="12772"/>
                      </a:lnTo>
                      <a:lnTo>
                        <a:pt x="1007" y="12929"/>
                      </a:lnTo>
                      <a:lnTo>
                        <a:pt x="961" y="12982"/>
                      </a:lnTo>
                      <a:lnTo>
                        <a:pt x="870" y="13139"/>
                      </a:lnTo>
                      <a:lnTo>
                        <a:pt x="778" y="13348"/>
                      </a:lnTo>
                      <a:lnTo>
                        <a:pt x="641" y="13453"/>
                      </a:lnTo>
                      <a:lnTo>
                        <a:pt x="595" y="13557"/>
                      </a:lnTo>
                      <a:lnTo>
                        <a:pt x="595" y="13662"/>
                      </a:lnTo>
                      <a:lnTo>
                        <a:pt x="641" y="13767"/>
                      </a:lnTo>
                      <a:lnTo>
                        <a:pt x="732" y="13767"/>
                      </a:lnTo>
                      <a:lnTo>
                        <a:pt x="870" y="13924"/>
                      </a:lnTo>
                      <a:lnTo>
                        <a:pt x="1007" y="13871"/>
                      </a:lnTo>
                      <a:lnTo>
                        <a:pt x="1144" y="13819"/>
                      </a:lnTo>
                      <a:lnTo>
                        <a:pt x="1327" y="13767"/>
                      </a:lnTo>
                      <a:lnTo>
                        <a:pt x="1464" y="13714"/>
                      </a:lnTo>
                      <a:lnTo>
                        <a:pt x="1602" y="13714"/>
                      </a:lnTo>
                      <a:lnTo>
                        <a:pt x="1739" y="13662"/>
                      </a:lnTo>
                      <a:lnTo>
                        <a:pt x="1968" y="13662"/>
                      </a:lnTo>
                      <a:lnTo>
                        <a:pt x="2380" y="13662"/>
                      </a:lnTo>
                      <a:lnTo>
                        <a:pt x="2471" y="13610"/>
                      </a:lnTo>
                      <a:lnTo>
                        <a:pt x="2609" y="13610"/>
                      </a:lnTo>
                      <a:lnTo>
                        <a:pt x="2792" y="13610"/>
                      </a:lnTo>
                      <a:lnTo>
                        <a:pt x="2929" y="13557"/>
                      </a:lnTo>
                      <a:lnTo>
                        <a:pt x="3066" y="13610"/>
                      </a:lnTo>
                      <a:lnTo>
                        <a:pt x="3204" y="13662"/>
                      </a:lnTo>
                      <a:lnTo>
                        <a:pt x="3249" y="13662"/>
                      </a:lnTo>
                      <a:lnTo>
                        <a:pt x="3341" y="13714"/>
                      </a:lnTo>
                      <a:lnTo>
                        <a:pt x="3478" y="13767"/>
                      </a:lnTo>
                      <a:lnTo>
                        <a:pt x="3615" y="13819"/>
                      </a:lnTo>
                      <a:lnTo>
                        <a:pt x="3890" y="13976"/>
                      </a:lnTo>
                      <a:lnTo>
                        <a:pt x="4210" y="14133"/>
                      </a:lnTo>
                      <a:lnTo>
                        <a:pt x="4668" y="14343"/>
                      </a:lnTo>
                      <a:lnTo>
                        <a:pt x="4805" y="14395"/>
                      </a:lnTo>
                      <a:lnTo>
                        <a:pt x="5263" y="14447"/>
                      </a:lnTo>
                      <a:lnTo>
                        <a:pt x="5538" y="14500"/>
                      </a:lnTo>
                      <a:lnTo>
                        <a:pt x="5721" y="14500"/>
                      </a:lnTo>
                      <a:lnTo>
                        <a:pt x="5858" y="14500"/>
                      </a:lnTo>
                      <a:lnTo>
                        <a:pt x="5995" y="14395"/>
                      </a:lnTo>
                      <a:lnTo>
                        <a:pt x="6087" y="14343"/>
                      </a:lnTo>
                      <a:lnTo>
                        <a:pt x="6544" y="14290"/>
                      </a:lnTo>
                      <a:lnTo>
                        <a:pt x="6544" y="14238"/>
                      </a:lnTo>
                      <a:lnTo>
                        <a:pt x="6636" y="14186"/>
                      </a:lnTo>
                      <a:lnTo>
                        <a:pt x="6636" y="14133"/>
                      </a:lnTo>
                      <a:lnTo>
                        <a:pt x="6544" y="14133"/>
                      </a:lnTo>
                      <a:lnTo>
                        <a:pt x="6453" y="14133"/>
                      </a:lnTo>
                      <a:lnTo>
                        <a:pt x="6361" y="14133"/>
                      </a:lnTo>
                      <a:lnTo>
                        <a:pt x="6361" y="14028"/>
                      </a:lnTo>
                      <a:lnTo>
                        <a:pt x="6361" y="13924"/>
                      </a:lnTo>
                      <a:lnTo>
                        <a:pt x="6361" y="13871"/>
                      </a:lnTo>
                      <a:lnTo>
                        <a:pt x="6316" y="13819"/>
                      </a:lnTo>
                      <a:lnTo>
                        <a:pt x="6224" y="13871"/>
                      </a:lnTo>
                      <a:lnTo>
                        <a:pt x="6133" y="13819"/>
                      </a:lnTo>
                      <a:lnTo>
                        <a:pt x="6087" y="13714"/>
                      </a:lnTo>
                      <a:lnTo>
                        <a:pt x="6133" y="13662"/>
                      </a:lnTo>
                      <a:lnTo>
                        <a:pt x="6270" y="13557"/>
                      </a:lnTo>
                      <a:lnTo>
                        <a:pt x="6316" y="13662"/>
                      </a:lnTo>
                      <a:lnTo>
                        <a:pt x="6316" y="13714"/>
                      </a:lnTo>
                      <a:lnTo>
                        <a:pt x="6453" y="13610"/>
                      </a:lnTo>
                      <a:lnTo>
                        <a:pt x="6682" y="13453"/>
                      </a:lnTo>
                      <a:lnTo>
                        <a:pt x="6773" y="13400"/>
                      </a:lnTo>
                      <a:lnTo>
                        <a:pt x="6773" y="13296"/>
                      </a:lnTo>
                      <a:lnTo>
                        <a:pt x="6819" y="13243"/>
                      </a:lnTo>
                      <a:lnTo>
                        <a:pt x="6865" y="13243"/>
                      </a:lnTo>
                      <a:lnTo>
                        <a:pt x="6956" y="13296"/>
                      </a:lnTo>
                      <a:lnTo>
                        <a:pt x="7048" y="13243"/>
                      </a:lnTo>
                      <a:lnTo>
                        <a:pt x="7139" y="13243"/>
                      </a:lnTo>
                      <a:lnTo>
                        <a:pt x="7185" y="13243"/>
                      </a:lnTo>
                      <a:lnTo>
                        <a:pt x="7231" y="13296"/>
                      </a:lnTo>
                      <a:lnTo>
                        <a:pt x="7231" y="13400"/>
                      </a:lnTo>
                      <a:lnTo>
                        <a:pt x="7139" y="13453"/>
                      </a:lnTo>
                      <a:lnTo>
                        <a:pt x="7139" y="13557"/>
                      </a:lnTo>
                      <a:lnTo>
                        <a:pt x="7139" y="13662"/>
                      </a:lnTo>
                      <a:lnTo>
                        <a:pt x="7139" y="13714"/>
                      </a:lnTo>
                      <a:lnTo>
                        <a:pt x="7231" y="13662"/>
                      </a:lnTo>
                      <a:lnTo>
                        <a:pt x="7322" y="13662"/>
                      </a:lnTo>
                      <a:lnTo>
                        <a:pt x="7506" y="13557"/>
                      </a:lnTo>
                      <a:lnTo>
                        <a:pt x="7689" y="13557"/>
                      </a:lnTo>
                      <a:lnTo>
                        <a:pt x="7872" y="13505"/>
                      </a:lnTo>
                      <a:lnTo>
                        <a:pt x="7963" y="13505"/>
                      </a:lnTo>
                      <a:lnTo>
                        <a:pt x="8055" y="13505"/>
                      </a:lnTo>
                      <a:lnTo>
                        <a:pt x="8055" y="13557"/>
                      </a:lnTo>
                      <a:lnTo>
                        <a:pt x="8009" y="13610"/>
                      </a:lnTo>
                      <a:lnTo>
                        <a:pt x="7917" y="13662"/>
                      </a:lnTo>
                      <a:lnTo>
                        <a:pt x="7917" y="13767"/>
                      </a:lnTo>
                      <a:lnTo>
                        <a:pt x="7917" y="13819"/>
                      </a:lnTo>
                      <a:lnTo>
                        <a:pt x="7872" y="13924"/>
                      </a:lnTo>
                      <a:lnTo>
                        <a:pt x="7872" y="14028"/>
                      </a:lnTo>
                      <a:lnTo>
                        <a:pt x="7917" y="14081"/>
                      </a:lnTo>
                      <a:lnTo>
                        <a:pt x="7963" y="14028"/>
                      </a:lnTo>
                      <a:lnTo>
                        <a:pt x="8055" y="14028"/>
                      </a:lnTo>
                      <a:lnTo>
                        <a:pt x="8146" y="14028"/>
                      </a:lnTo>
                      <a:lnTo>
                        <a:pt x="8192" y="14081"/>
                      </a:lnTo>
                      <a:lnTo>
                        <a:pt x="8238" y="14186"/>
                      </a:lnTo>
                      <a:lnTo>
                        <a:pt x="8238" y="14290"/>
                      </a:lnTo>
                      <a:lnTo>
                        <a:pt x="8238" y="14395"/>
                      </a:lnTo>
                      <a:lnTo>
                        <a:pt x="8238" y="14447"/>
                      </a:lnTo>
                      <a:lnTo>
                        <a:pt x="8238" y="14500"/>
                      </a:lnTo>
                      <a:lnTo>
                        <a:pt x="8512" y="14395"/>
                      </a:lnTo>
                      <a:lnTo>
                        <a:pt x="8558" y="14395"/>
                      </a:lnTo>
                      <a:lnTo>
                        <a:pt x="8604" y="14447"/>
                      </a:lnTo>
                      <a:lnTo>
                        <a:pt x="8604" y="14500"/>
                      </a:lnTo>
                      <a:lnTo>
                        <a:pt x="8695" y="14500"/>
                      </a:lnTo>
                      <a:lnTo>
                        <a:pt x="8787" y="14500"/>
                      </a:lnTo>
                      <a:lnTo>
                        <a:pt x="8878" y="14604"/>
                      </a:lnTo>
                      <a:lnTo>
                        <a:pt x="8970" y="14604"/>
                      </a:lnTo>
                      <a:lnTo>
                        <a:pt x="9062" y="14604"/>
                      </a:lnTo>
                      <a:lnTo>
                        <a:pt x="9107" y="14709"/>
                      </a:lnTo>
                      <a:lnTo>
                        <a:pt x="9107" y="14761"/>
                      </a:lnTo>
                      <a:lnTo>
                        <a:pt x="9245" y="14814"/>
                      </a:lnTo>
                      <a:lnTo>
                        <a:pt x="9290" y="14866"/>
                      </a:lnTo>
                      <a:lnTo>
                        <a:pt x="9336" y="14971"/>
                      </a:lnTo>
                      <a:lnTo>
                        <a:pt x="9382" y="15023"/>
                      </a:lnTo>
                      <a:lnTo>
                        <a:pt x="9473" y="15023"/>
                      </a:lnTo>
                      <a:lnTo>
                        <a:pt x="9519" y="15128"/>
                      </a:lnTo>
                      <a:lnTo>
                        <a:pt x="9565" y="15180"/>
                      </a:lnTo>
                      <a:lnTo>
                        <a:pt x="9611" y="15442"/>
                      </a:lnTo>
                      <a:lnTo>
                        <a:pt x="9656" y="15599"/>
                      </a:lnTo>
                      <a:lnTo>
                        <a:pt x="9702" y="15704"/>
                      </a:lnTo>
                      <a:lnTo>
                        <a:pt x="9794" y="15756"/>
                      </a:lnTo>
                      <a:lnTo>
                        <a:pt x="9885" y="15756"/>
                      </a:lnTo>
                      <a:lnTo>
                        <a:pt x="9931" y="15756"/>
                      </a:lnTo>
                      <a:lnTo>
                        <a:pt x="10114" y="15756"/>
                      </a:lnTo>
                      <a:lnTo>
                        <a:pt x="10206" y="15808"/>
                      </a:lnTo>
                      <a:lnTo>
                        <a:pt x="10297" y="15861"/>
                      </a:lnTo>
                      <a:lnTo>
                        <a:pt x="10526" y="16122"/>
                      </a:lnTo>
                      <a:lnTo>
                        <a:pt x="10663" y="16122"/>
                      </a:lnTo>
                      <a:lnTo>
                        <a:pt x="10846" y="16018"/>
                      </a:lnTo>
                      <a:lnTo>
                        <a:pt x="10938" y="16018"/>
                      </a:lnTo>
                      <a:lnTo>
                        <a:pt x="11075" y="15965"/>
                      </a:lnTo>
                      <a:lnTo>
                        <a:pt x="11121" y="15808"/>
                      </a:lnTo>
                      <a:lnTo>
                        <a:pt x="11121" y="15756"/>
                      </a:lnTo>
                      <a:lnTo>
                        <a:pt x="11258" y="15599"/>
                      </a:lnTo>
                      <a:lnTo>
                        <a:pt x="11396" y="15546"/>
                      </a:lnTo>
                      <a:lnTo>
                        <a:pt x="11441" y="15494"/>
                      </a:lnTo>
                      <a:lnTo>
                        <a:pt x="11441" y="15442"/>
                      </a:lnTo>
                      <a:lnTo>
                        <a:pt x="11396" y="15389"/>
                      </a:lnTo>
                      <a:lnTo>
                        <a:pt x="11396" y="15285"/>
                      </a:lnTo>
                      <a:lnTo>
                        <a:pt x="11350" y="15232"/>
                      </a:lnTo>
                      <a:lnTo>
                        <a:pt x="11396" y="15180"/>
                      </a:lnTo>
                      <a:lnTo>
                        <a:pt x="11441" y="15232"/>
                      </a:lnTo>
                      <a:lnTo>
                        <a:pt x="11487" y="15232"/>
                      </a:lnTo>
                      <a:lnTo>
                        <a:pt x="11624" y="15285"/>
                      </a:lnTo>
                      <a:lnTo>
                        <a:pt x="11716" y="15389"/>
                      </a:lnTo>
                      <a:lnTo>
                        <a:pt x="11762" y="15599"/>
                      </a:lnTo>
                      <a:lnTo>
                        <a:pt x="11899" y="15651"/>
                      </a:lnTo>
                      <a:lnTo>
                        <a:pt x="11945" y="15651"/>
                      </a:lnTo>
                      <a:lnTo>
                        <a:pt x="11991" y="15494"/>
                      </a:lnTo>
                      <a:lnTo>
                        <a:pt x="12082" y="15285"/>
                      </a:lnTo>
                      <a:lnTo>
                        <a:pt x="12128" y="15232"/>
                      </a:lnTo>
                      <a:lnTo>
                        <a:pt x="12219" y="15285"/>
                      </a:lnTo>
                      <a:lnTo>
                        <a:pt x="12265" y="15546"/>
                      </a:lnTo>
                      <a:lnTo>
                        <a:pt x="12357" y="15599"/>
                      </a:lnTo>
                      <a:lnTo>
                        <a:pt x="12402" y="15704"/>
                      </a:lnTo>
                      <a:lnTo>
                        <a:pt x="12494" y="16070"/>
                      </a:lnTo>
                      <a:lnTo>
                        <a:pt x="12540" y="16070"/>
                      </a:lnTo>
                      <a:lnTo>
                        <a:pt x="12723" y="15965"/>
                      </a:lnTo>
                      <a:lnTo>
                        <a:pt x="12952" y="15756"/>
                      </a:lnTo>
                      <a:lnTo>
                        <a:pt x="12997" y="15651"/>
                      </a:lnTo>
                      <a:lnTo>
                        <a:pt x="13180" y="15442"/>
                      </a:lnTo>
                      <a:lnTo>
                        <a:pt x="13180" y="15389"/>
                      </a:lnTo>
                      <a:lnTo>
                        <a:pt x="13043" y="15232"/>
                      </a:lnTo>
                      <a:lnTo>
                        <a:pt x="12997" y="15180"/>
                      </a:lnTo>
                      <a:lnTo>
                        <a:pt x="12997" y="15075"/>
                      </a:lnTo>
                      <a:lnTo>
                        <a:pt x="13043" y="15023"/>
                      </a:lnTo>
                      <a:lnTo>
                        <a:pt x="13135" y="14918"/>
                      </a:lnTo>
                      <a:lnTo>
                        <a:pt x="13089" y="14866"/>
                      </a:lnTo>
                      <a:lnTo>
                        <a:pt x="13043" y="14761"/>
                      </a:lnTo>
                      <a:lnTo>
                        <a:pt x="13043" y="14657"/>
                      </a:lnTo>
                      <a:lnTo>
                        <a:pt x="13135" y="14604"/>
                      </a:lnTo>
                      <a:lnTo>
                        <a:pt x="13089" y="14500"/>
                      </a:lnTo>
                      <a:lnTo>
                        <a:pt x="13043" y="14447"/>
                      </a:lnTo>
                      <a:lnTo>
                        <a:pt x="13089" y="14343"/>
                      </a:lnTo>
                      <a:lnTo>
                        <a:pt x="13226" y="14395"/>
                      </a:lnTo>
                      <a:lnTo>
                        <a:pt x="13318" y="14447"/>
                      </a:lnTo>
                      <a:lnTo>
                        <a:pt x="13409" y="14395"/>
                      </a:lnTo>
                      <a:lnTo>
                        <a:pt x="13547" y="14500"/>
                      </a:lnTo>
                      <a:lnTo>
                        <a:pt x="13638" y="14447"/>
                      </a:lnTo>
                      <a:lnTo>
                        <a:pt x="13684" y="14500"/>
                      </a:lnTo>
                      <a:lnTo>
                        <a:pt x="13730" y="14552"/>
                      </a:lnTo>
                      <a:lnTo>
                        <a:pt x="13730" y="14866"/>
                      </a:lnTo>
                      <a:lnTo>
                        <a:pt x="13821" y="14971"/>
                      </a:lnTo>
                      <a:lnTo>
                        <a:pt x="14004" y="15023"/>
                      </a:lnTo>
                      <a:lnTo>
                        <a:pt x="14233" y="15023"/>
                      </a:lnTo>
                      <a:lnTo>
                        <a:pt x="14279" y="14971"/>
                      </a:lnTo>
                      <a:lnTo>
                        <a:pt x="14325" y="14918"/>
                      </a:lnTo>
                      <a:lnTo>
                        <a:pt x="14370" y="15128"/>
                      </a:lnTo>
                      <a:lnTo>
                        <a:pt x="14462" y="15180"/>
                      </a:lnTo>
                      <a:lnTo>
                        <a:pt x="14599" y="15180"/>
                      </a:lnTo>
                      <a:lnTo>
                        <a:pt x="14691" y="15285"/>
                      </a:lnTo>
                      <a:lnTo>
                        <a:pt x="14736" y="15285"/>
                      </a:lnTo>
                      <a:lnTo>
                        <a:pt x="14828" y="15232"/>
                      </a:lnTo>
                      <a:lnTo>
                        <a:pt x="14874" y="15232"/>
                      </a:lnTo>
                      <a:lnTo>
                        <a:pt x="14920" y="15285"/>
                      </a:lnTo>
                      <a:lnTo>
                        <a:pt x="15057" y="15442"/>
                      </a:lnTo>
                      <a:lnTo>
                        <a:pt x="15057" y="15546"/>
                      </a:lnTo>
                      <a:lnTo>
                        <a:pt x="15194" y="15599"/>
                      </a:lnTo>
                      <a:lnTo>
                        <a:pt x="15240" y="15704"/>
                      </a:lnTo>
                      <a:lnTo>
                        <a:pt x="15331" y="15704"/>
                      </a:lnTo>
                      <a:lnTo>
                        <a:pt x="15423" y="15808"/>
                      </a:lnTo>
                      <a:lnTo>
                        <a:pt x="15423" y="15913"/>
                      </a:lnTo>
                      <a:lnTo>
                        <a:pt x="15377" y="16070"/>
                      </a:lnTo>
                      <a:lnTo>
                        <a:pt x="15331" y="16122"/>
                      </a:lnTo>
                      <a:lnTo>
                        <a:pt x="15240" y="16227"/>
                      </a:lnTo>
                      <a:lnTo>
                        <a:pt x="15240" y="16332"/>
                      </a:lnTo>
                      <a:lnTo>
                        <a:pt x="15240" y="16384"/>
                      </a:lnTo>
                      <a:lnTo>
                        <a:pt x="15331" y="16384"/>
                      </a:lnTo>
                      <a:lnTo>
                        <a:pt x="15423" y="16279"/>
                      </a:lnTo>
                      <a:lnTo>
                        <a:pt x="15469" y="16175"/>
                      </a:lnTo>
                      <a:lnTo>
                        <a:pt x="15606" y="15861"/>
                      </a:lnTo>
                      <a:lnTo>
                        <a:pt x="15698" y="15808"/>
                      </a:lnTo>
                      <a:lnTo>
                        <a:pt x="15743" y="15861"/>
                      </a:lnTo>
                      <a:lnTo>
                        <a:pt x="15881" y="16070"/>
                      </a:lnTo>
                      <a:lnTo>
                        <a:pt x="15926" y="16175"/>
                      </a:lnTo>
                      <a:lnTo>
                        <a:pt x="16018" y="16175"/>
                      </a:lnTo>
                      <a:lnTo>
                        <a:pt x="16018" y="16122"/>
                      </a:lnTo>
                      <a:lnTo>
                        <a:pt x="15972" y="16018"/>
                      </a:lnTo>
                      <a:lnTo>
                        <a:pt x="15972" y="15913"/>
                      </a:lnTo>
                      <a:lnTo>
                        <a:pt x="16018" y="15756"/>
                      </a:lnTo>
                      <a:lnTo>
                        <a:pt x="16064" y="15704"/>
                      </a:lnTo>
                      <a:lnTo>
                        <a:pt x="16109" y="15704"/>
                      </a:lnTo>
                      <a:lnTo>
                        <a:pt x="16247" y="15756"/>
                      </a:lnTo>
                      <a:lnTo>
                        <a:pt x="16292" y="15756"/>
                      </a:lnTo>
                      <a:lnTo>
                        <a:pt x="16384" y="15651"/>
                      </a:lnTo>
                      <a:lnTo>
                        <a:pt x="16384" y="15599"/>
                      </a:lnTo>
                      <a:lnTo>
                        <a:pt x="16247" y="15494"/>
                      </a:lnTo>
                      <a:lnTo>
                        <a:pt x="16384" y="15389"/>
                      </a:lnTo>
                      <a:lnTo>
                        <a:pt x="16384" y="15337"/>
                      </a:lnTo>
                      <a:lnTo>
                        <a:pt x="16338" y="15285"/>
                      </a:lnTo>
                      <a:lnTo>
                        <a:pt x="16247" y="15285"/>
                      </a:lnTo>
                      <a:lnTo>
                        <a:pt x="16109" y="15285"/>
                      </a:lnTo>
                      <a:lnTo>
                        <a:pt x="15972" y="15285"/>
                      </a:lnTo>
                      <a:lnTo>
                        <a:pt x="15926" y="15128"/>
                      </a:lnTo>
                      <a:lnTo>
                        <a:pt x="15835" y="15128"/>
                      </a:lnTo>
                      <a:lnTo>
                        <a:pt x="15789" y="15023"/>
                      </a:lnTo>
                      <a:lnTo>
                        <a:pt x="15743" y="14971"/>
                      </a:lnTo>
                      <a:lnTo>
                        <a:pt x="15698" y="14971"/>
                      </a:lnTo>
                      <a:lnTo>
                        <a:pt x="15652" y="15023"/>
                      </a:lnTo>
                      <a:lnTo>
                        <a:pt x="15606" y="14971"/>
                      </a:lnTo>
                      <a:lnTo>
                        <a:pt x="15423" y="15023"/>
                      </a:lnTo>
                      <a:lnTo>
                        <a:pt x="15377" y="15023"/>
                      </a:lnTo>
                      <a:lnTo>
                        <a:pt x="15331" y="14971"/>
                      </a:lnTo>
                      <a:lnTo>
                        <a:pt x="15331" y="14866"/>
                      </a:lnTo>
                      <a:lnTo>
                        <a:pt x="15331" y="14761"/>
                      </a:lnTo>
                      <a:lnTo>
                        <a:pt x="15194" y="14657"/>
                      </a:lnTo>
                      <a:lnTo>
                        <a:pt x="15103" y="14657"/>
                      </a:lnTo>
                      <a:lnTo>
                        <a:pt x="15057" y="14604"/>
                      </a:lnTo>
                      <a:lnTo>
                        <a:pt x="14965" y="14604"/>
                      </a:lnTo>
                      <a:lnTo>
                        <a:pt x="14920" y="14604"/>
                      </a:lnTo>
                      <a:lnTo>
                        <a:pt x="14736" y="14604"/>
                      </a:lnTo>
                      <a:lnTo>
                        <a:pt x="14736" y="14552"/>
                      </a:lnTo>
                      <a:lnTo>
                        <a:pt x="14736" y="14447"/>
                      </a:lnTo>
                      <a:lnTo>
                        <a:pt x="14645" y="14343"/>
                      </a:lnTo>
                      <a:lnTo>
                        <a:pt x="14553" y="14238"/>
                      </a:lnTo>
                      <a:lnTo>
                        <a:pt x="14508" y="14133"/>
                      </a:lnTo>
                      <a:lnTo>
                        <a:pt x="14462" y="14081"/>
                      </a:lnTo>
                      <a:lnTo>
                        <a:pt x="14462" y="13924"/>
                      </a:lnTo>
                      <a:lnTo>
                        <a:pt x="14416" y="13819"/>
                      </a:lnTo>
                      <a:lnTo>
                        <a:pt x="14416" y="13714"/>
                      </a:lnTo>
                      <a:lnTo>
                        <a:pt x="14462" y="13662"/>
                      </a:lnTo>
                      <a:lnTo>
                        <a:pt x="14553" y="13662"/>
                      </a:lnTo>
                      <a:lnTo>
                        <a:pt x="14599" y="13610"/>
                      </a:lnTo>
                      <a:lnTo>
                        <a:pt x="14599" y="13505"/>
                      </a:lnTo>
                      <a:lnTo>
                        <a:pt x="14691" y="13453"/>
                      </a:lnTo>
                      <a:lnTo>
                        <a:pt x="14828" y="13453"/>
                      </a:lnTo>
                      <a:lnTo>
                        <a:pt x="14920" y="13453"/>
                      </a:lnTo>
                      <a:lnTo>
                        <a:pt x="14965" y="13348"/>
                      </a:lnTo>
                      <a:lnTo>
                        <a:pt x="14920" y="13243"/>
                      </a:lnTo>
                      <a:lnTo>
                        <a:pt x="14920" y="13139"/>
                      </a:lnTo>
                      <a:lnTo>
                        <a:pt x="15011" y="12929"/>
                      </a:lnTo>
                      <a:lnTo>
                        <a:pt x="15103" y="12929"/>
                      </a:lnTo>
                      <a:lnTo>
                        <a:pt x="15331" y="12877"/>
                      </a:lnTo>
                      <a:lnTo>
                        <a:pt x="15377" y="12825"/>
                      </a:lnTo>
                      <a:lnTo>
                        <a:pt x="15377" y="12668"/>
                      </a:lnTo>
                      <a:lnTo>
                        <a:pt x="15377" y="12615"/>
                      </a:lnTo>
                      <a:lnTo>
                        <a:pt x="15514" y="12563"/>
                      </a:lnTo>
                      <a:lnTo>
                        <a:pt x="15652" y="12510"/>
                      </a:lnTo>
                      <a:lnTo>
                        <a:pt x="15743" y="12406"/>
                      </a:lnTo>
                      <a:lnTo>
                        <a:pt x="15743" y="12301"/>
                      </a:lnTo>
                      <a:lnTo>
                        <a:pt x="15606" y="12249"/>
                      </a:lnTo>
                      <a:lnTo>
                        <a:pt x="15606" y="12144"/>
                      </a:lnTo>
                      <a:lnTo>
                        <a:pt x="15560" y="12039"/>
                      </a:lnTo>
                      <a:lnTo>
                        <a:pt x="15560" y="11987"/>
                      </a:lnTo>
                      <a:lnTo>
                        <a:pt x="15652" y="11830"/>
                      </a:lnTo>
                      <a:lnTo>
                        <a:pt x="15698" y="11725"/>
                      </a:lnTo>
                      <a:lnTo>
                        <a:pt x="15652" y="11673"/>
                      </a:lnTo>
                      <a:lnTo>
                        <a:pt x="15560" y="11673"/>
                      </a:lnTo>
                      <a:lnTo>
                        <a:pt x="15514" y="11621"/>
                      </a:lnTo>
                      <a:lnTo>
                        <a:pt x="15514" y="11568"/>
                      </a:lnTo>
                      <a:lnTo>
                        <a:pt x="15606" y="11411"/>
                      </a:lnTo>
                      <a:lnTo>
                        <a:pt x="15606" y="11359"/>
                      </a:lnTo>
                      <a:lnTo>
                        <a:pt x="15560" y="11359"/>
                      </a:lnTo>
                      <a:lnTo>
                        <a:pt x="15469" y="11411"/>
                      </a:lnTo>
                      <a:lnTo>
                        <a:pt x="15194" y="11778"/>
                      </a:lnTo>
                      <a:lnTo>
                        <a:pt x="15103" y="11830"/>
                      </a:lnTo>
                      <a:lnTo>
                        <a:pt x="14965" y="11830"/>
                      </a:lnTo>
                      <a:lnTo>
                        <a:pt x="14782" y="11830"/>
                      </a:lnTo>
                      <a:lnTo>
                        <a:pt x="14691" y="11778"/>
                      </a:lnTo>
                      <a:lnTo>
                        <a:pt x="14645" y="11830"/>
                      </a:lnTo>
                      <a:lnTo>
                        <a:pt x="14645" y="11935"/>
                      </a:lnTo>
                      <a:lnTo>
                        <a:pt x="14553" y="11987"/>
                      </a:lnTo>
                      <a:lnTo>
                        <a:pt x="14462" y="12092"/>
                      </a:lnTo>
                      <a:lnTo>
                        <a:pt x="14416" y="12249"/>
                      </a:lnTo>
                      <a:lnTo>
                        <a:pt x="14416" y="12353"/>
                      </a:lnTo>
                      <a:lnTo>
                        <a:pt x="14370" y="12563"/>
                      </a:lnTo>
                      <a:lnTo>
                        <a:pt x="14279" y="12668"/>
                      </a:lnTo>
                      <a:lnTo>
                        <a:pt x="14233" y="12668"/>
                      </a:lnTo>
                      <a:lnTo>
                        <a:pt x="14096" y="12668"/>
                      </a:lnTo>
                      <a:lnTo>
                        <a:pt x="14004" y="12563"/>
                      </a:lnTo>
                      <a:lnTo>
                        <a:pt x="13913" y="12458"/>
                      </a:lnTo>
                      <a:lnTo>
                        <a:pt x="13821" y="12406"/>
                      </a:lnTo>
                      <a:lnTo>
                        <a:pt x="13684" y="12406"/>
                      </a:lnTo>
                      <a:lnTo>
                        <a:pt x="13638" y="12353"/>
                      </a:lnTo>
                      <a:lnTo>
                        <a:pt x="13592" y="12249"/>
                      </a:lnTo>
                      <a:lnTo>
                        <a:pt x="13592" y="12196"/>
                      </a:lnTo>
                      <a:lnTo>
                        <a:pt x="13638" y="12039"/>
                      </a:lnTo>
                      <a:lnTo>
                        <a:pt x="13684" y="11987"/>
                      </a:lnTo>
                      <a:lnTo>
                        <a:pt x="13775" y="11935"/>
                      </a:lnTo>
                      <a:lnTo>
                        <a:pt x="13913" y="11987"/>
                      </a:lnTo>
                      <a:lnTo>
                        <a:pt x="14004" y="11987"/>
                      </a:lnTo>
                      <a:lnTo>
                        <a:pt x="13958" y="11935"/>
                      </a:lnTo>
                      <a:lnTo>
                        <a:pt x="13958" y="11830"/>
                      </a:lnTo>
                      <a:lnTo>
                        <a:pt x="14004" y="11778"/>
                      </a:lnTo>
                      <a:lnTo>
                        <a:pt x="14050" y="11778"/>
                      </a:lnTo>
                      <a:lnTo>
                        <a:pt x="14096" y="11725"/>
                      </a:lnTo>
                      <a:lnTo>
                        <a:pt x="14096" y="11621"/>
                      </a:lnTo>
                      <a:lnTo>
                        <a:pt x="14187" y="11516"/>
                      </a:lnTo>
                      <a:lnTo>
                        <a:pt x="14096" y="11464"/>
                      </a:lnTo>
                      <a:lnTo>
                        <a:pt x="14050" y="11516"/>
                      </a:lnTo>
                      <a:lnTo>
                        <a:pt x="13958" y="11568"/>
                      </a:lnTo>
                      <a:lnTo>
                        <a:pt x="13913" y="11673"/>
                      </a:lnTo>
                      <a:lnTo>
                        <a:pt x="13867" y="11673"/>
                      </a:lnTo>
                      <a:lnTo>
                        <a:pt x="13867" y="11621"/>
                      </a:lnTo>
                      <a:lnTo>
                        <a:pt x="13913" y="11516"/>
                      </a:lnTo>
                      <a:lnTo>
                        <a:pt x="13867" y="11464"/>
                      </a:lnTo>
                      <a:lnTo>
                        <a:pt x="13821" y="11516"/>
                      </a:lnTo>
                      <a:lnTo>
                        <a:pt x="13775" y="11568"/>
                      </a:lnTo>
                      <a:lnTo>
                        <a:pt x="13730" y="11673"/>
                      </a:lnTo>
                      <a:lnTo>
                        <a:pt x="13684" y="11725"/>
                      </a:lnTo>
                      <a:lnTo>
                        <a:pt x="13638" y="11725"/>
                      </a:lnTo>
                      <a:lnTo>
                        <a:pt x="13547" y="11673"/>
                      </a:lnTo>
                      <a:lnTo>
                        <a:pt x="13547" y="11568"/>
                      </a:lnTo>
                      <a:lnTo>
                        <a:pt x="13501" y="11516"/>
                      </a:lnTo>
                      <a:lnTo>
                        <a:pt x="13409" y="11516"/>
                      </a:lnTo>
                      <a:lnTo>
                        <a:pt x="13363" y="11568"/>
                      </a:lnTo>
                      <a:lnTo>
                        <a:pt x="13318" y="11673"/>
                      </a:lnTo>
                      <a:lnTo>
                        <a:pt x="13318" y="11778"/>
                      </a:lnTo>
                      <a:lnTo>
                        <a:pt x="13226" y="11882"/>
                      </a:lnTo>
                      <a:lnTo>
                        <a:pt x="13135" y="11987"/>
                      </a:lnTo>
                      <a:lnTo>
                        <a:pt x="12997" y="12039"/>
                      </a:lnTo>
                      <a:lnTo>
                        <a:pt x="12906" y="12092"/>
                      </a:lnTo>
                      <a:lnTo>
                        <a:pt x="12814" y="12092"/>
                      </a:lnTo>
                      <a:lnTo>
                        <a:pt x="12677" y="12092"/>
                      </a:lnTo>
                      <a:lnTo>
                        <a:pt x="12631" y="12092"/>
                      </a:lnTo>
                      <a:lnTo>
                        <a:pt x="12219" y="12039"/>
                      </a:lnTo>
                      <a:lnTo>
                        <a:pt x="12128" y="11987"/>
                      </a:lnTo>
                      <a:lnTo>
                        <a:pt x="11945" y="11987"/>
                      </a:lnTo>
                      <a:lnTo>
                        <a:pt x="11807" y="11935"/>
                      </a:lnTo>
                      <a:lnTo>
                        <a:pt x="11716" y="11830"/>
                      </a:lnTo>
                      <a:lnTo>
                        <a:pt x="11716" y="11778"/>
                      </a:lnTo>
                      <a:lnTo>
                        <a:pt x="11670" y="11673"/>
                      </a:lnTo>
                      <a:lnTo>
                        <a:pt x="11670" y="11568"/>
                      </a:lnTo>
                      <a:lnTo>
                        <a:pt x="11716" y="11464"/>
                      </a:lnTo>
                      <a:lnTo>
                        <a:pt x="11762" y="11359"/>
                      </a:lnTo>
                      <a:lnTo>
                        <a:pt x="11853" y="11254"/>
                      </a:lnTo>
                      <a:lnTo>
                        <a:pt x="11899" y="11202"/>
                      </a:lnTo>
                      <a:lnTo>
                        <a:pt x="11899" y="11097"/>
                      </a:lnTo>
                      <a:lnTo>
                        <a:pt x="11945" y="11045"/>
                      </a:lnTo>
                      <a:lnTo>
                        <a:pt x="11945" y="10992"/>
                      </a:lnTo>
                      <a:lnTo>
                        <a:pt x="12036" y="10992"/>
                      </a:lnTo>
                      <a:lnTo>
                        <a:pt x="12082" y="10940"/>
                      </a:lnTo>
                      <a:lnTo>
                        <a:pt x="12128" y="10783"/>
                      </a:lnTo>
                      <a:lnTo>
                        <a:pt x="12219" y="10678"/>
                      </a:lnTo>
                      <a:lnTo>
                        <a:pt x="12357" y="10626"/>
                      </a:lnTo>
                      <a:lnTo>
                        <a:pt x="12448" y="10626"/>
                      </a:lnTo>
                      <a:lnTo>
                        <a:pt x="12631" y="10678"/>
                      </a:lnTo>
                      <a:lnTo>
                        <a:pt x="12723" y="10731"/>
                      </a:lnTo>
                      <a:lnTo>
                        <a:pt x="12769" y="10731"/>
                      </a:lnTo>
                      <a:lnTo>
                        <a:pt x="12860" y="10835"/>
                      </a:lnTo>
                      <a:lnTo>
                        <a:pt x="12952" y="10888"/>
                      </a:lnTo>
                      <a:lnTo>
                        <a:pt x="12997" y="10888"/>
                      </a:lnTo>
                      <a:lnTo>
                        <a:pt x="13043" y="10992"/>
                      </a:lnTo>
                      <a:lnTo>
                        <a:pt x="13043" y="11097"/>
                      </a:lnTo>
                      <a:lnTo>
                        <a:pt x="13089" y="11097"/>
                      </a:lnTo>
                      <a:lnTo>
                        <a:pt x="13226" y="11097"/>
                      </a:lnTo>
                      <a:lnTo>
                        <a:pt x="13318" y="11097"/>
                      </a:lnTo>
                      <a:lnTo>
                        <a:pt x="13363" y="11097"/>
                      </a:lnTo>
                      <a:lnTo>
                        <a:pt x="13501" y="11202"/>
                      </a:lnTo>
                      <a:lnTo>
                        <a:pt x="13592" y="11202"/>
                      </a:lnTo>
                      <a:lnTo>
                        <a:pt x="13775" y="11307"/>
                      </a:lnTo>
                      <a:lnTo>
                        <a:pt x="13958" y="11359"/>
                      </a:lnTo>
                      <a:lnTo>
                        <a:pt x="14141" y="11359"/>
                      </a:lnTo>
                      <a:lnTo>
                        <a:pt x="14325" y="11411"/>
                      </a:lnTo>
                      <a:lnTo>
                        <a:pt x="14462" y="11411"/>
                      </a:lnTo>
                      <a:lnTo>
                        <a:pt x="14370" y="11307"/>
                      </a:lnTo>
                      <a:lnTo>
                        <a:pt x="14279" y="11254"/>
                      </a:lnTo>
                      <a:lnTo>
                        <a:pt x="14279" y="11149"/>
                      </a:lnTo>
                      <a:lnTo>
                        <a:pt x="14187" y="10992"/>
                      </a:lnTo>
                      <a:lnTo>
                        <a:pt x="14187" y="10940"/>
                      </a:lnTo>
                      <a:lnTo>
                        <a:pt x="14187" y="10731"/>
                      </a:lnTo>
                      <a:lnTo>
                        <a:pt x="14096" y="10626"/>
                      </a:lnTo>
                      <a:lnTo>
                        <a:pt x="14050" y="10469"/>
                      </a:lnTo>
                      <a:lnTo>
                        <a:pt x="14004" y="10417"/>
                      </a:lnTo>
                      <a:lnTo>
                        <a:pt x="13958" y="10312"/>
                      </a:lnTo>
                      <a:lnTo>
                        <a:pt x="13913" y="10207"/>
                      </a:lnTo>
                      <a:lnTo>
                        <a:pt x="13684" y="9946"/>
                      </a:lnTo>
                      <a:lnTo>
                        <a:pt x="13638" y="9893"/>
                      </a:lnTo>
                      <a:lnTo>
                        <a:pt x="13547" y="9527"/>
                      </a:lnTo>
                      <a:lnTo>
                        <a:pt x="13455" y="9422"/>
                      </a:lnTo>
                      <a:lnTo>
                        <a:pt x="13455" y="9317"/>
                      </a:lnTo>
                      <a:lnTo>
                        <a:pt x="13501" y="9160"/>
                      </a:lnTo>
                      <a:lnTo>
                        <a:pt x="13501" y="9003"/>
                      </a:lnTo>
                      <a:lnTo>
                        <a:pt x="13592" y="8794"/>
                      </a:lnTo>
                      <a:lnTo>
                        <a:pt x="13638" y="8532"/>
                      </a:lnTo>
                      <a:lnTo>
                        <a:pt x="13730" y="8218"/>
                      </a:lnTo>
                      <a:lnTo>
                        <a:pt x="13730" y="8113"/>
                      </a:lnTo>
                      <a:lnTo>
                        <a:pt x="13638" y="8009"/>
                      </a:lnTo>
                      <a:lnTo>
                        <a:pt x="13363" y="8061"/>
                      </a:lnTo>
                      <a:lnTo>
                        <a:pt x="11991" y="8166"/>
                      </a:lnTo>
                      <a:lnTo>
                        <a:pt x="11762" y="8166"/>
                      </a:lnTo>
                      <a:lnTo>
                        <a:pt x="11121" y="8218"/>
                      </a:lnTo>
                      <a:lnTo>
                        <a:pt x="11075" y="8218"/>
                      </a:lnTo>
                      <a:lnTo>
                        <a:pt x="10206" y="8271"/>
                      </a:lnTo>
                      <a:lnTo>
                        <a:pt x="9519" y="8323"/>
                      </a:lnTo>
                      <a:lnTo>
                        <a:pt x="9107" y="8323"/>
                      </a:lnTo>
                      <a:lnTo>
                        <a:pt x="7826" y="8428"/>
                      </a:lnTo>
                      <a:lnTo>
                        <a:pt x="7734" y="8375"/>
                      </a:lnTo>
                      <a:lnTo>
                        <a:pt x="7780" y="8323"/>
                      </a:lnTo>
                      <a:lnTo>
                        <a:pt x="7917" y="8113"/>
                      </a:lnTo>
                      <a:close/>
                    </a:path>
                  </a:pathLst>
                </a:custGeom>
                <a:solidFill>
                  <a:srgbClr val="0070C0"/>
                </a:solidFill>
                <a:ln w="9525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defTabSz="121917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37" name="Maine">
                  <a:extLst>
                    <a:ext uri="{FF2B5EF4-FFF2-40B4-BE49-F238E27FC236}">
                      <a16:creationId xmlns:a16="http://schemas.microsoft.com/office/drawing/2014/main" id="{7312428C-242F-A7E2-CBA8-842875B9B9C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8936950" y="1028700"/>
                  <a:ext cx="2181225" cy="3305175"/>
                </a:xfrm>
                <a:custGeom>
                  <a:avLst/>
                  <a:gdLst>
                    <a:gd name="T0" fmla="*/ 2147483647 w 16384"/>
                    <a:gd name="T1" fmla="*/ 2147483647 h 16384"/>
                    <a:gd name="T2" fmla="*/ 2147483647 w 16384"/>
                    <a:gd name="T3" fmla="*/ 2147483647 h 16384"/>
                    <a:gd name="T4" fmla="*/ 2147483647 w 16384"/>
                    <a:gd name="T5" fmla="*/ 2147483647 h 16384"/>
                    <a:gd name="T6" fmla="*/ 2147483647 w 16384"/>
                    <a:gd name="T7" fmla="*/ 2147483647 h 16384"/>
                    <a:gd name="T8" fmla="*/ 2147483647 w 16384"/>
                    <a:gd name="T9" fmla="*/ 2147483647 h 16384"/>
                    <a:gd name="T10" fmla="*/ 2147483647 w 16384"/>
                    <a:gd name="T11" fmla="*/ 2147483647 h 16384"/>
                    <a:gd name="T12" fmla="*/ 2147483647 w 16384"/>
                    <a:gd name="T13" fmla="*/ 2147483647 h 16384"/>
                    <a:gd name="T14" fmla="*/ 2147483647 w 16384"/>
                    <a:gd name="T15" fmla="*/ 2147483647 h 16384"/>
                    <a:gd name="T16" fmla="*/ 2147483647 w 16384"/>
                    <a:gd name="T17" fmla="*/ 2147483647 h 16384"/>
                    <a:gd name="T18" fmla="*/ 2147483647 w 16384"/>
                    <a:gd name="T19" fmla="*/ 2147483647 h 16384"/>
                    <a:gd name="T20" fmla="*/ 2147483647 w 16384"/>
                    <a:gd name="T21" fmla="*/ 2147483647 h 16384"/>
                    <a:gd name="T22" fmla="*/ 2147483647 w 16384"/>
                    <a:gd name="T23" fmla="*/ 2147483647 h 16384"/>
                    <a:gd name="T24" fmla="*/ 2147483647 w 16384"/>
                    <a:gd name="T25" fmla="*/ 2147483647 h 16384"/>
                    <a:gd name="T26" fmla="*/ 2147483647 w 16384"/>
                    <a:gd name="T27" fmla="*/ 2147483647 h 16384"/>
                    <a:gd name="T28" fmla="*/ 2147483647 w 16384"/>
                    <a:gd name="T29" fmla="*/ 2147483647 h 16384"/>
                    <a:gd name="T30" fmla="*/ 2147483647 w 16384"/>
                    <a:gd name="T31" fmla="*/ 2147483647 h 16384"/>
                    <a:gd name="T32" fmla="*/ 2147483647 w 16384"/>
                    <a:gd name="T33" fmla="*/ 2147483647 h 16384"/>
                    <a:gd name="T34" fmla="*/ 2147483647 w 16384"/>
                    <a:gd name="T35" fmla="*/ 2147483647 h 16384"/>
                    <a:gd name="T36" fmla="*/ 2147483647 w 16384"/>
                    <a:gd name="T37" fmla="*/ 2147483647 h 16384"/>
                    <a:gd name="T38" fmla="*/ 2147483647 w 16384"/>
                    <a:gd name="T39" fmla="*/ 2147483647 h 16384"/>
                    <a:gd name="T40" fmla="*/ 2147483647 w 16384"/>
                    <a:gd name="T41" fmla="*/ 2147483647 h 16384"/>
                    <a:gd name="T42" fmla="*/ 2147483647 w 16384"/>
                    <a:gd name="T43" fmla="*/ 2147483647 h 16384"/>
                    <a:gd name="T44" fmla="*/ 2147483647 w 16384"/>
                    <a:gd name="T45" fmla="*/ 2147483647 h 16384"/>
                    <a:gd name="T46" fmla="*/ 2147483647 w 16384"/>
                    <a:gd name="T47" fmla="*/ 2147483647 h 16384"/>
                    <a:gd name="T48" fmla="*/ 2147483647 w 16384"/>
                    <a:gd name="T49" fmla="*/ 2147483647 h 16384"/>
                    <a:gd name="T50" fmla="*/ 2147483647 w 16384"/>
                    <a:gd name="T51" fmla="*/ 2147483647 h 16384"/>
                    <a:gd name="T52" fmla="*/ 2147483647 w 16384"/>
                    <a:gd name="T53" fmla="*/ 2147483647 h 16384"/>
                    <a:gd name="T54" fmla="*/ 2147483647 w 16384"/>
                    <a:gd name="T55" fmla="*/ 2147483647 h 16384"/>
                    <a:gd name="T56" fmla="*/ 2147483647 w 16384"/>
                    <a:gd name="T57" fmla="*/ 2147483647 h 16384"/>
                    <a:gd name="T58" fmla="*/ 2147483647 w 16384"/>
                    <a:gd name="T59" fmla="*/ 2147483647 h 16384"/>
                    <a:gd name="T60" fmla="*/ 2147483647 w 16384"/>
                    <a:gd name="T61" fmla="*/ 2147483647 h 16384"/>
                    <a:gd name="T62" fmla="*/ 2147483647 w 16384"/>
                    <a:gd name="T63" fmla="*/ 2147483647 h 16384"/>
                    <a:gd name="T64" fmla="*/ 2147483647 w 16384"/>
                    <a:gd name="T65" fmla="*/ 2147483647 h 16384"/>
                    <a:gd name="T66" fmla="*/ 2147483647 w 16384"/>
                    <a:gd name="T67" fmla="*/ 2147483647 h 16384"/>
                    <a:gd name="T68" fmla="*/ 2147483647 w 16384"/>
                    <a:gd name="T69" fmla="*/ 2147483647 h 16384"/>
                    <a:gd name="T70" fmla="*/ 2147483647 w 16384"/>
                    <a:gd name="T71" fmla="*/ 2147483647 h 16384"/>
                    <a:gd name="T72" fmla="*/ 2147483647 w 16384"/>
                    <a:gd name="T73" fmla="*/ 2147483647 h 16384"/>
                    <a:gd name="T74" fmla="*/ 2147483647 w 16384"/>
                    <a:gd name="T75" fmla="*/ 2147483647 h 16384"/>
                    <a:gd name="T76" fmla="*/ 2147483647 w 16384"/>
                    <a:gd name="T77" fmla="*/ 2147483647 h 16384"/>
                    <a:gd name="T78" fmla="*/ 2147483647 w 16384"/>
                    <a:gd name="T79" fmla="*/ 2147483647 h 16384"/>
                    <a:gd name="T80" fmla="*/ 2147483647 w 16384"/>
                    <a:gd name="T81" fmla="*/ 2147483647 h 16384"/>
                    <a:gd name="T82" fmla="*/ 2147483647 w 16384"/>
                    <a:gd name="T83" fmla="*/ 2147483647 h 16384"/>
                    <a:gd name="T84" fmla="*/ 2147483647 w 16384"/>
                    <a:gd name="T85" fmla="*/ 2147483647 h 16384"/>
                    <a:gd name="T86" fmla="*/ 2147483647 w 16384"/>
                    <a:gd name="T87" fmla="*/ 2147483647 h 16384"/>
                    <a:gd name="T88" fmla="*/ 2147483647 w 16384"/>
                    <a:gd name="T89" fmla="*/ 2147483647 h 16384"/>
                    <a:gd name="T90" fmla="*/ 2147483647 w 16384"/>
                    <a:gd name="T91" fmla="*/ 2147483647 h 16384"/>
                    <a:gd name="T92" fmla="*/ 2147483647 w 16384"/>
                    <a:gd name="T93" fmla="*/ 2147483647 h 16384"/>
                    <a:gd name="T94" fmla="*/ 2147483647 w 16384"/>
                    <a:gd name="T95" fmla="*/ 2147483647 h 16384"/>
                    <a:gd name="T96" fmla="*/ 2147483647 w 16384"/>
                    <a:gd name="T97" fmla="*/ 2147483647 h 16384"/>
                    <a:gd name="T98" fmla="*/ 2147483647 w 16384"/>
                    <a:gd name="T99" fmla="*/ 2147483647 h 16384"/>
                    <a:gd name="T100" fmla="*/ 2147483647 w 16384"/>
                    <a:gd name="T101" fmla="*/ 2147483647 h 16384"/>
                    <a:gd name="T102" fmla="*/ 2147483647 w 16384"/>
                    <a:gd name="T103" fmla="*/ 2147483647 h 16384"/>
                    <a:gd name="T104" fmla="*/ 2147483647 w 16384"/>
                    <a:gd name="T105" fmla="*/ 2147483647 h 16384"/>
                    <a:gd name="T106" fmla="*/ 2147483647 w 16384"/>
                    <a:gd name="T107" fmla="*/ 2147483647 h 16384"/>
                    <a:gd name="T108" fmla="*/ 2147483647 w 16384"/>
                    <a:gd name="T109" fmla="*/ 2147483647 h 16384"/>
                    <a:gd name="T110" fmla="*/ 2147483647 w 16384"/>
                    <a:gd name="T111" fmla="*/ 2147483647 h 16384"/>
                    <a:gd name="T112" fmla="*/ 2147483647 w 16384"/>
                    <a:gd name="T113" fmla="*/ 2147483647 h 16384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w 16384"/>
                    <a:gd name="T172" fmla="*/ 0 h 16384"/>
                    <a:gd name="T173" fmla="*/ 16384 w 16384"/>
                    <a:gd name="T174" fmla="*/ 16384 h 16384"/>
                  </a:gdLst>
                  <a:ahLst/>
                  <a:cxnLst>
                    <a:cxn ang="T114">
                      <a:pos x="T0" y="T1"/>
                    </a:cxn>
                    <a:cxn ang="T115">
                      <a:pos x="T2" y="T3"/>
                    </a:cxn>
                    <a:cxn ang="T116">
                      <a:pos x="T4" y="T5"/>
                    </a:cxn>
                    <a:cxn ang="T117">
                      <a:pos x="T6" y="T7"/>
                    </a:cxn>
                    <a:cxn ang="T118">
                      <a:pos x="T8" y="T9"/>
                    </a:cxn>
                    <a:cxn ang="T119">
                      <a:pos x="T10" y="T11"/>
                    </a:cxn>
                    <a:cxn ang="T120">
                      <a:pos x="T12" y="T13"/>
                    </a:cxn>
                    <a:cxn ang="T121">
                      <a:pos x="T14" y="T15"/>
                    </a:cxn>
                    <a:cxn ang="T122">
                      <a:pos x="T16" y="T17"/>
                    </a:cxn>
                    <a:cxn ang="T123">
                      <a:pos x="T18" y="T19"/>
                    </a:cxn>
                    <a:cxn ang="T124">
                      <a:pos x="T20" y="T21"/>
                    </a:cxn>
                    <a:cxn ang="T125">
                      <a:pos x="T22" y="T23"/>
                    </a:cxn>
                    <a:cxn ang="T126">
                      <a:pos x="T24" y="T25"/>
                    </a:cxn>
                    <a:cxn ang="T127">
                      <a:pos x="T26" y="T27"/>
                    </a:cxn>
                    <a:cxn ang="T128">
                      <a:pos x="T28" y="T29"/>
                    </a:cxn>
                    <a:cxn ang="T129">
                      <a:pos x="T30" y="T31"/>
                    </a:cxn>
                    <a:cxn ang="T130">
                      <a:pos x="T32" y="T33"/>
                    </a:cxn>
                    <a:cxn ang="T131">
                      <a:pos x="T34" y="T35"/>
                    </a:cxn>
                    <a:cxn ang="T132">
                      <a:pos x="T36" y="T37"/>
                    </a:cxn>
                    <a:cxn ang="T133">
                      <a:pos x="T38" y="T39"/>
                    </a:cxn>
                    <a:cxn ang="T134">
                      <a:pos x="T40" y="T41"/>
                    </a:cxn>
                    <a:cxn ang="T135">
                      <a:pos x="T42" y="T43"/>
                    </a:cxn>
                    <a:cxn ang="T136">
                      <a:pos x="T44" y="T45"/>
                    </a:cxn>
                    <a:cxn ang="T137">
                      <a:pos x="T46" y="T47"/>
                    </a:cxn>
                    <a:cxn ang="T138">
                      <a:pos x="T48" y="T49"/>
                    </a:cxn>
                    <a:cxn ang="T139">
                      <a:pos x="T50" y="T51"/>
                    </a:cxn>
                    <a:cxn ang="T140">
                      <a:pos x="T52" y="T53"/>
                    </a:cxn>
                    <a:cxn ang="T141">
                      <a:pos x="T54" y="T55"/>
                    </a:cxn>
                    <a:cxn ang="T142">
                      <a:pos x="T56" y="T57"/>
                    </a:cxn>
                    <a:cxn ang="T143">
                      <a:pos x="T58" y="T59"/>
                    </a:cxn>
                    <a:cxn ang="T144">
                      <a:pos x="T60" y="T61"/>
                    </a:cxn>
                    <a:cxn ang="T145">
                      <a:pos x="T62" y="T63"/>
                    </a:cxn>
                    <a:cxn ang="T146">
                      <a:pos x="T64" y="T65"/>
                    </a:cxn>
                    <a:cxn ang="T147">
                      <a:pos x="T66" y="T67"/>
                    </a:cxn>
                    <a:cxn ang="T148">
                      <a:pos x="T68" y="T69"/>
                    </a:cxn>
                    <a:cxn ang="T149">
                      <a:pos x="T70" y="T71"/>
                    </a:cxn>
                    <a:cxn ang="T150">
                      <a:pos x="T72" y="T73"/>
                    </a:cxn>
                    <a:cxn ang="T151">
                      <a:pos x="T74" y="T75"/>
                    </a:cxn>
                    <a:cxn ang="T152">
                      <a:pos x="T76" y="T77"/>
                    </a:cxn>
                    <a:cxn ang="T153">
                      <a:pos x="T78" y="T79"/>
                    </a:cxn>
                    <a:cxn ang="T154">
                      <a:pos x="T80" y="T81"/>
                    </a:cxn>
                    <a:cxn ang="T155">
                      <a:pos x="T82" y="T83"/>
                    </a:cxn>
                    <a:cxn ang="T156">
                      <a:pos x="T84" y="T85"/>
                    </a:cxn>
                    <a:cxn ang="T157">
                      <a:pos x="T86" y="T87"/>
                    </a:cxn>
                    <a:cxn ang="T158">
                      <a:pos x="T88" y="T89"/>
                    </a:cxn>
                    <a:cxn ang="T159">
                      <a:pos x="T90" y="T91"/>
                    </a:cxn>
                    <a:cxn ang="T160">
                      <a:pos x="T92" y="T93"/>
                    </a:cxn>
                    <a:cxn ang="T161">
                      <a:pos x="T94" y="T95"/>
                    </a:cxn>
                    <a:cxn ang="T162">
                      <a:pos x="T96" y="T97"/>
                    </a:cxn>
                    <a:cxn ang="T163">
                      <a:pos x="T98" y="T99"/>
                    </a:cxn>
                    <a:cxn ang="T164">
                      <a:pos x="T100" y="T101"/>
                    </a:cxn>
                    <a:cxn ang="T165">
                      <a:pos x="T102" y="T103"/>
                    </a:cxn>
                    <a:cxn ang="T166">
                      <a:pos x="T104" y="T105"/>
                    </a:cxn>
                    <a:cxn ang="T167">
                      <a:pos x="T106" y="T107"/>
                    </a:cxn>
                    <a:cxn ang="T168">
                      <a:pos x="T108" y="T109"/>
                    </a:cxn>
                    <a:cxn ang="T169">
                      <a:pos x="T110" y="T111"/>
                    </a:cxn>
                    <a:cxn ang="T170">
                      <a:pos x="T112" y="T113"/>
                    </a:cxn>
                  </a:cxnLst>
                  <a:rect l="T171" t="T172" r="T173" b="T174"/>
                  <a:pathLst>
                    <a:path w="16384" h="16384">
                      <a:moveTo>
                        <a:pt x="9872" y="9928"/>
                      </a:moveTo>
                      <a:lnTo>
                        <a:pt x="9942" y="9973"/>
                      </a:lnTo>
                      <a:lnTo>
                        <a:pt x="10012" y="10017"/>
                      </a:lnTo>
                      <a:lnTo>
                        <a:pt x="10082" y="10151"/>
                      </a:lnTo>
                      <a:lnTo>
                        <a:pt x="10082" y="10329"/>
                      </a:lnTo>
                      <a:lnTo>
                        <a:pt x="10012" y="10418"/>
                      </a:lnTo>
                      <a:lnTo>
                        <a:pt x="10152" y="10418"/>
                      </a:lnTo>
                      <a:lnTo>
                        <a:pt x="10222" y="10329"/>
                      </a:lnTo>
                      <a:lnTo>
                        <a:pt x="10293" y="10285"/>
                      </a:lnTo>
                      <a:lnTo>
                        <a:pt x="10433" y="10329"/>
                      </a:lnTo>
                      <a:lnTo>
                        <a:pt x="10433" y="10374"/>
                      </a:lnTo>
                      <a:lnTo>
                        <a:pt x="10573" y="10418"/>
                      </a:lnTo>
                      <a:lnTo>
                        <a:pt x="10573" y="10463"/>
                      </a:lnTo>
                      <a:lnTo>
                        <a:pt x="10363" y="10463"/>
                      </a:lnTo>
                      <a:lnTo>
                        <a:pt x="10222" y="10463"/>
                      </a:lnTo>
                      <a:lnTo>
                        <a:pt x="10222" y="10552"/>
                      </a:lnTo>
                      <a:lnTo>
                        <a:pt x="10222" y="10596"/>
                      </a:lnTo>
                      <a:lnTo>
                        <a:pt x="10152" y="10641"/>
                      </a:lnTo>
                      <a:lnTo>
                        <a:pt x="10082" y="10685"/>
                      </a:lnTo>
                      <a:lnTo>
                        <a:pt x="10082" y="10730"/>
                      </a:lnTo>
                      <a:lnTo>
                        <a:pt x="10152" y="10774"/>
                      </a:lnTo>
                      <a:lnTo>
                        <a:pt x="10433" y="10730"/>
                      </a:lnTo>
                      <a:lnTo>
                        <a:pt x="10573" y="10730"/>
                      </a:lnTo>
                      <a:lnTo>
                        <a:pt x="10713" y="10730"/>
                      </a:lnTo>
                      <a:lnTo>
                        <a:pt x="10853" y="10863"/>
                      </a:lnTo>
                      <a:lnTo>
                        <a:pt x="10923" y="10863"/>
                      </a:lnTo>
                      <a:lnTo>
                        <a:pt x="10923" y="10774"/>
                      </a:lnTo>
                      <a:lnTo>
                        <a:pt x="11203" y="10819"/>
                      </a:lnTo>
                      <a:lnTo>
                        <a:pt x="11343" y="10774"/>
                      </a:lnTo>
                      <a:lnTo>
                        <a:pt x="11343" y="10685"/>
                      </a:lnTo>
                      <a:lnTo>
                        <a:pt x="11203" y="10641"/>
                      </a:lnTo>
                      <a:lnTo>
                        <a:pt x="11133" y="10596"/>
                      </a:lnTo>
                      <a:lnTo>
                        <a:pt x="11063" y="10552"/>
                      </a:lnTo>
                      <a:lnTo>
                        <a:pt x="11063" y="10418"/>
                      </a:lnTo>
                      <a:lnTo>
                        <a:pt x="10993" y="10329"/>
                      </a:lnTo>
                      <a:lnTo>
                        <a:pt x="11063" y="10285"/>
                      </a:lnTo>
                      <a:lnTo>
                        <a:pt x="11133" y="10285"/>
                      </a:lnTo>
                      <a:lnTo>
                        <a:pt x="11203" y="10195"/>
                      </a:lnTo>
                      <a:lnTo>
                        <a:pt x="11273" y="10106"/>
                      </a:lnTo>
                      <a:lnTo>
                        <a:pt x="11273" y="9973"/>
                      </a:lnTo>
                      <a:lnTo>
                        <a:pt x="11343" y="9928"/>
                      </a:lnTo>
                      <a:lnTo>
                        <a:pt x="11413" y="9973"/>
                      </a:lnTo>
                      <a:lnTo>
                        <a:pt x="11413" y="10106"/>
                      </a:lnTo>
                      <a:lnTo>
                        <a:pt x="11483" y="10151"/>
                      </a:lnTo>
                      <a:lnTo>
                        <a:pt x="11553" y="10151"/>
                      </a:lnTo>
                      <a:lnTo>
                        <a:pt x="11623" y="10151"/>
                      </a:lnTo>
                      <a:lnTo>
                        <a:pt x="11693" y="10017"/>
                      </a:lnTo>
                      <a:lnTo>
                        <a:pt x="11833" y="9973"/>
                      </a:lnTo>
                      <a:lnTo>
                        <a:pt x="11903" y="9884"/>
                      </a:lnTo>
                      <a:lnTo>
                        <a:pt x="11833" y="9795"/>
                      </a:lnTo>
                      <a:lnTo>
                        <a:pt x="11833" y="9750"/>
                      </a:lnTo>
                      <a:lnTo>
                        <a:pt x="11973" y="9750"/>
                      </a:lnTo>
                      <a:lnTo>
                        <a:pt x="12043" y="9839"/>
                      </a:lnTo>
                      <a:lnTo>
                        <a:pt x="12113" y="9839"/>
                      </a:lnTo>
                      <a:lnTo>
                        <a:pt x="12183" y="9795"/>
                      </a:lnTo>
                      <a:lnTo>
                        <a:pt x="12183" y="9706"/>
                      </a:lnTo>
                      <a:lnTo>
                        <a:pt x="12183" y="9661"/>
                      </a:lnTo>
                      <a:lnTo>
                        <a:pt x="12253" y="9661"/>
                      </a:lnTo>
                      <a:lnTo>
                        <a:pt x="12393" y="9706"/>
                      </a:lnTo>
                      <a:lnTo>
                        <a:pt x="12463" y="9795"/>
                      </a:lnTo>
                      <a:lnTo>
                        <a:pt x="12603" y="9706"/>
                      </a:lnTo>
                      <a:lnTo>
                        <a:pt x="12743" y="9795"/>
                      </a:lnTo>
                      <a:lnTo>
                        <a:pt x="12743" y="9884"/>
                      </a:lnTo>
                      <a:lnTo>
                        <a:pt x="12953" y="9973"/>
                      </a:lnTo>
                      <a:lnTo>
                        <a:pt x="12953" y="10062"/>
                      </a:lnTo>
                      <a:lnTo>
                        <a:pt x="13023" y="10195"/>
                      </a:lnTo>
                      <a:lnTo>
                        <a:pt x="13093" y="10062"/>
                      </a:lnTo>
                      <a:lnTo>
                        <a:pt x="13093" y="9928"/>
                      </a:lnTo>
                      <a:lnTo>
                        <a:pt x="13233" y="9884"/>
                      </a:lnTo>
                      <a:lnTo>
                        <a:pt x="13093" y="9661"/>
                      </a:lnTo>
                      <a:lnTo>
                        <a:pt x="13093" y="9572"/>
                      </a:lnTo>
                      <a:lnTo>
                        <a:pt x="13163" y="9572"/>
                      </a:lnTo>
                      <a:lnTo>
                        <a:pt x="13163" y="9617"/>
                      </a:lnTo>
                      <a:lnTo>
                        <a:pt x="13233" y="9661"/>
                      </a:lnTo>
                      <a:lnTo>
                        <a:pt x="13373" y="9661"/>
                      </a:lnTo>
                      <a:lnTo>
                        <a:pt x="13513" y="9750"/>
                      </a:lnTo>
                      <a:lnTo>
                        <a:pt x="13583" y="9750"/>
                      </a:lnTo>
                      <a:lnTo>
                        <a:pt x="13513" y="9661"/>
                      </a:lnTo>
                      <a:lnTo>
                        <a:pt x="13583" y="9528"/>
                      </a:lnTo>
                      <a:lnTo>
                        <a:pt x="13583" y="9439"/>
                      </a:lnTo>
                      <a:lnTo>
                        <a:pt x="13513" y="9350"/>
                      </a:lnTo>
                      <a:lnTo>
                        <a:pt x="13513" y="9261"/>
                      </a:lnTo>
                      <a:lnTo>
                        <a:pt x="13583" y="9216"/>
                      </a:lnTo>
                      <a:lnTo>
                        <a:pt x="13653" y="9216"/>
                      </a:lnTo>
                      <a:lnTo>
                        <a:pt x="13723" y="9171"/>
                      </a:lnTo>
                      <a:lnTo>
                        <a:pt x="13793" y="9127"/>
                      </a:lnTo>
                      <a:lnTo>
                        <a:pt x="13863" y="9127"/>
                      </a:lnTo>
                      <a:lnTo>
                        <a:pt x="13933" y="9261"/>
                      </a:lnTo>
                      <a:lnTo>
                        <a:pt x="14003" y="9305"/>
                      </a:lnTo>
                      <a:lnTo>
                        <a:pt x="14143" y="9305"/>
                      </a:lnTo>
                      <a:lnTo>
                        <a:pt x="14213" y="9127"/>
                      </a:lnTo>
                      <a:lnTo>
                        <a:pt x="14283" y="9127"/>
                      </a:lnTo>
                      <a:lnTo>
                        <a:pt x="14494" y="9127"/>
                      </a:lnTo>
                      <a:lnTo>
                        <a:pt x="14564" y="9082"/>
                      </a:lnTo>
                      <a:lnTo>
                        <a:pt x="14634" y="8993"/>
                      </a:lnTo>
                      <a:lnTo>
                        <a:pt x="14494" y="8815"/>
                      </a:lnTo>
                      <a:lnTo>
                        <a:pt x="14494" y="8771"/>
                      </a:lnTo>
                      <a:lnTo>
                        <a:pt x="14634" y="8726"/>
                      </a:lnTo>
                      <a:lnTo>
                        <a:pt x="14774" y="8771"/>
                      </a:lnTo>
                      <a:lnTo>
                        <a:pt x="14844" y="8771"/>
                      </a:lnTo>
                      <a:lnTo>
                        <a:pt x="14914" y="8682"/>
                      </a:lnTo>
                      <a:lnTo>
                        <a:pt x="14984" y="8637"/>
                      </a:lnTo>
                      <a:lnTo>
                        <a:pt x="15054" y="8637"/>
                      </a:lnTo>
                      <a:lnTo>
                        <a:pt x="15054" y="8726"/>
                      </a:lnTo>
                      <a:lnTo>
                        <a:pt x="15054" y="8771"/>
                      </a:lnTo>
                      <a:lnTo>
                        <a:pt x="15194" y="8771"/>
                      </a:lnTo>
                      <a:lnTo>
                        <a:pt x="15194" y="8682"/>
                      </a:lnTo>
                      <a:lnTo>
                        <a:pt x="15194" y="8548"/>
                      </a:lnTo>
                      <a:lnTo>
                        <a:pt x="15124" y="8415"/>
                      </a:lnTo>
                      <a:lnTo>
                        <a:pt x="15194" y="8370"/>
                      </a:lnTo>
                      <a:lnTo>
                        <a:pt x="15334" y="8370"/>
                      </a:lnTo>
                      <a:lnTo>
                        <a:pt x="15404" y="8370"/>
                      </a:lnTo>
                      <a:lnTo>
                        <a:pt x="15474" y="8459"/>
                      </a:lnTo>
                      <a:lnTo>
                        <a:pt x="15544" y="8504"/>
                      </a:lnTo>
                      <a:lnTo>
                        <a:pt x="15614" y="8504"/>
                      </a:lnTo>
                      <a:lnTo>
                        <a:pt x="15824" y="8504"/>
                      </a:lnTo>
                      <a:lnTo>
                        <a:pt x="15824" y="8415"/>
                      </a:lnTo>
                      <a:lnTo>
                        <a:pt x="15964" y="8370"/>
                      </a:lnTo>
                      <a:lnTo>
                        <a:pt x="16034" y="8281"/>
                      </a:lnTo>
                      <a:lnTo>
                        <a:pt x="16104" y="8058"/>
                      </a:lnTo>
                      <a:lnTo>
                        <a:pt x="16174" y="7969"/>
                      </a:lnTo>
                      <a:lnTo>
                        <a:pt x="16314" y="7925"/>
                      </a:lnTo>
                      <a:lnTo>
                        <a:pt x="16384" y="7836"/>
                      </a:lnTo>
                      <a:lnTo>
                        <a:pt x="16314" y="7747"/>
                      </a:lnTo>
                      <a:lnTo>
                        <a:pt x="16314" y="7658"/>
                      </a:lnTo>
                      <a:lnTo>
                        <a:pt x="16244" y="7658"/>
                      </a:lnTo>
                      <a:lnTo>
                        <a:pt x="16104" y="7702"/>
                      </a:lnTo>
                      <a:lnTo>
                        <a:pt x="16034" y="7658"/>
                      </a:lnTo>
                      <a:lnTo>
                        <a:pt x="15964" y="7613"/>
                      </a:lnTo>
                      <a:lnTo>
                        <a:pt x="15894" y="7613"/>
                      </a:lnTo>
                      <a:lnTo>
                        <a:pt x="15824" y="7702"/>
                      </a:lnTo>
                      <a:lnTo>
                        <a:pt x="15754" y="7658"/>
                      </a:lnTo>
                      <a:lnTo>
                        <a:pt x="15614" y="7658"/>
                      </a:lnTo>
                      <a:lnTo>
                        <a:pt x="15544" y="7480"/>
                      </a:lnTo>
                      <a:lnTo>
                        <a:pt x="15754" y="7435"/>
                      </a:lnTo>
                      <a:lnTo>
                        <a:pt x="15894" y="7391"/>
                      </a:lnTo>
                      <a:lnTo>
                        <a:pt x="15894" y="7302"/>
                      </a:lnTo>
                      <a:lnTo>
                        <a:pt x="15894" y="7213"/>
                      </a:lnTo>
                      <a:lnTo>
                        <a:pt x="15544" y="7034"/>
                      </a:lnTo>
                      <a:lnTo>
                        <a:pt x="15544" y="6990"/>
                      </a:lnTo>
                      <a:lnTo>
                        <a:pt x="15614" y="6856"/>
                      </a:lnTo>
                      <a:lnTo>
                        <a:pt x="15474" y="6767"/>
                      </a:lnTo>
                      <a:lnTo>
                        <a:pt x="15124" y="6634"/>
                      </a:lnTo>
                      <a:lnTo>
                        <a:pt x="14984" y="6634"/>
                      </a:lnTo>
                      <a:lnTo>
                        <a:pt x="14844" y="6634"/>
                      </a:lnTo>
                      <a:lnTo>
                        <a:pt x="14774" y="6634"/>
                      </a:lnTo>
                      <a:lnTo>
                        <a:pt x="14634" y="6812"/>
                      </a:lnTo>
                      <a:lnTo>
                        <a:pt x="14564" y="6856"/>
                      </a:lnTo>
                      <a:lnTo>
                        <a:pt x="14354" y="6812"/>
                      </a:lnTo>
                      <a:lnTo>
                        <a:pt x="14073" y="6634"/>
                      </a:lnTo>
                      <a:lnTo>
                        <a:pt x="13863" y="6545"/>
                      </a:lnTo>
                      <a:lnTo>
                        <a:pt x="13933" y="6456"/>
                      </a:lnTo>
                      <a:lnTo>
                        <a:pt x="13933" y="6189"/>
                      </a:lnTo>
                      <a:lnTo>
                        <a:pt x="13863" y="6144"/>
                      </a:lnTo>
                      <a:lnTo>
                        <a:pt x="13723" y="6055"/>
                      </a:lnTo>
                      <a:lnTo>
                        <a:pt x="13513" y="5877"/>
                      </a:lnTo>
                      <a:lnTo>
                        <a:pt x="13443" y="5832"/>
                      </a:lnTo>
                      <a:lnTo>
                        <a:pt x="13443" y="5788"/>
                      </a:lnTo>
                      <a:lnTo>
                        <a:pt x="13653" y="5743"/>
                      </a:lnTo>
                      <a:lnTo>
                        <a:pt x="13653" y="5654"/>
                      </a:lnTo>
                      <a:lnTo>
                        <a:pt x="13583" y="5476"/>
                      </a:lnTo>
                      <a:lnTo>
                        <a:pt x="13443" y="5387"/>
                      </a:lnTo>
                      <a:lnTo>
                        <a:pt x="13373" y="5387"/>
                      </a:lnTo>
                      <a:lnTo>
                        <a:pt x="13163" y="5476"/>
                      </a:lnTo>
                      <a:lnTo>
                        <a:pt x="12883" y="5476"/>
                      </a:lnTo>
                      <a:lnTo>
                        <a:pt x="12603" y="5476"/>
                      </a:lnTo>
                      <a:lnTo>
                        <a:pt x="12463" y="5387"/>
                      </a:lnTo>
                      <a:lnTo>
                        <a:pt x="12323" y="5298"/>
                      </a:lnTo>
                      <a:lnTo>
                        <a:pt x="12253" y="5343"/>
                      </a:lnTo>
                      <a:lnTo>
                        <a:pt x="12113" y="5387"/>
                      </a:lnTo>
                      <a:lnTo>
                        <a:pt x="12043" y="5387"/>
                      </a:lnTo>
                      <a:lnTo>
                        <a:pt x="11903" y="5298"/>
                      </a:lnTo>
                      <a:lnTo>
                        <a:pt x="11833" y="5209"/>
                      </a:lnTo>
                      <a:lnTo>
                        <a:pt x="11763" y="4986"/>
                      </a:lnTo>
                      <a:lnTo>
                        <a:pt x="11833" y="4897"/>
                      </a:lnTo>
                      <a:lnTo>
                        <a:pt x="11833" y="4853"/>
                      </a:lnTo>
                      <a:lnTo>
                        <a:pt x="11693" y="4808"/>
                      </a:lnTo>
                      <a:lnTo>
                        <a:pt x="11623" y="4719"/>
                      </a:lnTo>
                      <a:lnTo>
                        <a:pt x="11693" y="4630"/>
                      </a:lnTo>
                      <a:lnTo>
                        <a:pt x="11693" y="4541"/>
                      </a:lnTo>
                      <a:lnTo>
                        <a:pt x="11623" y="4408"/>
                      </a:lnTo>
                      <a:lnTo>
                        <a:pt x="11203" y="3695"/>
                      </a:lnTo>
                      <a:lnTo>
                        <a:pt x="10503" y="2093"/>
                      </a:lnTo>
                      <a:lnTo>
                        <a:pt x="9872" y="890"/>
                      </a:lnTo>
                      <a:lnTo>
                        <a:pt x="9732" y="712"/>
                      </a:lnTo>
                      <a:lnTo>
                        <a:pt x="9592" y="668"/>
                      </a:lnTo>
                      <a:lnTo>
                        <a:pt x="9382" y="579"/>
                      </a:lnTo>
                      <a:lnTo>
                        <a:pt x="9242" y="534"/>
                      </a:lnTo>
                      <a:lnTo>
                        <a:pt x="8962" y="401"/>
                      </a:lnTo>
                      <a:lnTo>
                        <a:pt x="8752" y="312"/>
                      </a:lnTo>
                      <a:lnTo>
                        <a:pt x="7982" y="45"/>
                      </a:lnTo>
                      <a:lnTo>
                        <a:pt x="7772" y="0"/>
                      </a:lnTo>
                      <a:lnTo>
                        <a:pt x="7492" y="45"/>
                      </a:lnTo>
                      <a:lnTo>
                        <a:pt x="7142" y="134"/>
                      </a:lnTo>
                      <a:lnTo>
                        <a:pt x="7072" y="178"/>
                      </a:lnTo>
                      <a:lnTo>
                        <a:pt x="7142" y="356"/>
                      </a:lnTo>
                      <a:lnTo>
                        <a:pt x="7072" y="401"/>
                      </a:lnTo>
                      <a:lnTo>
                        <a:pt x="6652" y="401"/>
                      </a:lnTo>
                      <a:lnTo>
                        <a:pt x="6442" y="490"/>
                      </a:lnTo>
                      <a:lnTo>
                        <a:pt x="6372" y="623"/>
                      </a:lnTo>
                      <a:lnTo>
                        <a:pt x="6162" y="668"/>
                      </a:lnTo>
                      <a:lnTo>
                        <a:pt x="5811" y="801"/>
                      </a:lnTo>
                      <a:lnTo>
                        <a:pt x="5531" y="979"/>
                      </a:lnTo>
                      <a:lnTo>
                        <a:pt x="5321" y="1069"/>
                      </a:lnTo>
                      <a:lnTo>
                        <a:pt x="4971" y="979"/>
                      </a:lnTo>
                      <a:lnTo>
                        <a:pt x="4761" y="935"/>
                      </a:lnTo>
                      <a:lnTo>
                        <a:pt x="4621" y="712"/>
                      </a:lnTo>
                      <a:lnTo>
                        <a:pt x="4551" y="356"/>
                      </a:lnTo>
                      <a:lnTo>
                        <a:pt x="4481" y="312"/>
                      </a:lnTo>
                      <a:lnTo>
                        <a:pt x="4341" y="356"/>
                      </a:lnTo>
                      <a:lnTo>
                        <a:pt x="4131" y="356"/>
                      </a:lnTo>
                      <a:lnTo>
                        <a:pt x="3991" y="312"/>
                      </a:lnTo>
                      <a:lnTo>
                        <a:pt x="3851" y="356"/>
                      </a:lnTo>
                      <a:lnTo>
                        <a:pt x="3711" y="401"/>
                      </a:lnTo>
                      <a:lnTo>
                        <a:pt x="3711" y="490"/>
                      </a:lnTo>
                      <a:lnTo>
                        <a:pt x="3221" y="1291"/>
                      </a:lnTo>
                      <a:lnTo>
                        <a:pt x="2731" y="2226"/>
                      </a:lnTo>
                      <a:lnTo>
                        <a:pt x="2101" y="3428"/>
                      </a:lnTo>
                      <a:lnTo>
                        <a:pt x="2101" y="3784"/>
                      </a:lnTo>
                      <a:lnTo>
                        <a:pt x="2171" y="3962"/>
                      </a:lnTo>
                      <a:lnTo>
                        <a:pt x="2171" y="4051"/>
                      </a:lnTo>
                      <a:lnTo>
                        <a:pt x="2241" y="4274"/>
                      </a:lnTo>
                      <a:lnTo>
                        <a:pt x="2241" y="4452"/>
                      </a:lnTo>
                      <a:lnTo>
                        <a:pt x="2171" y="4586"/>
                      </a:lnTo>
                      <a:lnTo>
                        <a:pt x="2030" y="4675"/>
                      </a:lnTo>
                      <a:lnTo>
                        <a:pt x="1890" y="4764"/>
                      </a:lnTo>
                      <a:lnTo>
                        <a:pt x="1820" y="4853"/>
                      </a:lnTo>
                      <a:lnTo>
                        <a:pt x="1820" y="4942"/>
                      </a:lnTo>
                      <a:lnTo>
                        <a:pt x="1820" y="5031"/>
                      </a:lnTo>
                      <a:lnTo>
                        <a:pt x="1750" y="5165"/>
                      </a:lnTo>
                      <a:lnTo>
                        <a:pt x="1680" y="5387"/>
                      </a:lnTo>
                      <a:lnTo>
                        <a:pt x="1890" y="5476"/>
                      </a:lnTo>
                      <a:lnTo>
                        <a:pt x="1960" y="5521"/>
                      </a:lnTo>
                      <a:lnTo>
                        <a:pt x="1960" y="5788"/>
                      </a:lnTo>
                      <a:lnTo>
                        <a:pt x="1890" y="5921"/>
                      </a:lnTo>
                      <a:lnTo>
                        <a:pt x="2030" y="6144"/>
                      </a:lnTo>
                      <a:lnTo>
                        <a:pt x="2171" y="6144"/>
                      </a:lnTo>
                      <a:lnTo>
                        <a:pt x="2171" y="6189"/>
                      </a:lnTo>
                      <a:lnTo>
                        <a:pt x="2171" y="6411"/>
                      </a:lnTo>
                      <a:lnTo>
                        <a:pt x="2171" y="6500"/>
                      </a:lnTo>
                      <a:lnTo>
                        <a:pt x="1960" y="6589"/>
                      </a:lnTo>
                      <a:lnTo>
                        <a:pt x="1890" y="6634"/>
                      </a:lnTo>
                      <a:lnTo>
                        <a:pt x="1820" y="6767"/>
                      </a:lnTo>
                      <a:lnTo>
                        <a:pt x="1890" y="6856"/>
                      </a:lnTo>
                      <a:lnTo>
                        <a:pt x="1960" y="6945"/>
                      </a:lnTo>
                      <a:lnTo>
                        <a:pt x="1960" y="6990"/>
                      </a:lnTo>
                      <a:lnTo>
                        <a:pt x="1890" y="7079"/>
                      </a:lnTo>
                      <a:lnTo>
                        <a:pt x="1750" y="7168"/>
                      </a:lnTo>
                      <a:lnTo>
                        <a:pt x="1680" y="7257"/>
                      </a:lnTo>
                      <a:lnTo>
                        <a:pt x="1540" y="7346"/>
                      </a:lnTo>
                      <a:lnTo>
                        <a:pt x="1470" y="7346"/>
                      </a:lnTo>
                      <a:lnTo>
                        <a:pt x="1400" y="7435"/>
                      </a:lnTo>
                      <a:lnTo>
                        <a:pt x="1120" y="7791"/>
                      </a:lnTo>
                      <a:lnTo>
                        <a:pt x="1120" y="7880"/>
                      </a:lnTo>
                      <a:lnTo>
                        <a:pt x="1050" y="7969"/>
                      </a:lnTo>
                      <a:lnTo>
                        <a:pt x="1260" y="8058"/>
                      </a:lnTo>
                      <a:lnTo>
                        <a:pt x="1540" y="8237"/>
                      </a:lnTo>
                      <a:lnTo>
                        <a:pt x="1540" y="8281"/>
                      </a:lnTo>
                      <a:lnTo>
                        <a:pt x="1540" y="8326"/>
                      </a:lnTo>
                      <a:lnTo>
                        <a:pt x="1470" y="8370"/>
                      </a:lnTo>
                      <a:lnTo>
                        <a:pt x="1050" y="8326"/>
                      </a:lnTo>
                      <a:lnTo>
                        <a:pt x="910" y="8326"/>
                      </a:lnTo>
                      <a:lnTo>
                        <a:pt x="910" y="8370"/>
                      </a:lnTo>
                      <a:lnTo>
                        <a:pt x="910" y="8459"/>
                      </a:lnTo>
                      <a:lnTo>
                        <a:pt x="980" y="8682"/>
                      </a:lnTo>
                      <a:lnTo>
                        <a:pt x="1050" y="8860"/>
                      </a:lnTo>
                      <a:lnTo>
                        <a:pt x="980" y="8904"/>
                      </a:lnTo>
                      <a:lnTo>
                        <a:pt x="840" y="8949"/>
                      </a:lnTo>
                      <a:lnTo>
                        <a:pt x="770" y="8949"/>
                      </a:lnTo>
                      <a:lnTo>
                        <a:pt x="630" y="8771"/>
                      </a:lnTo>
                      <a:lnTo>
                        <a:pt x="490" y="8682"/>
                      </a:lnTo>
                      <a:lnTo>
                        <a:pt x="350" y="8726"/>
                      </a:lnTo>
                      <a:lnTo>
                        <a:pt x="210" y="8771"/>
                      </a:lnTo>
                      <a:lnTo>
                        <a:pt x="140" y="8860"/>
                      </a:lnTo>
                      <a:lnTo>
                        <a:pt x="0" y="8904"/>
                      </a:lnTo>
                      <a:lnTo>
                        <a:pt x="1680" y="12333"/>
                      </a:lnTo>
                      <a:lnTo>
                        <a:pt x="2591" y="14069"/>
                      </a:lnTo>
                      <a:lnTo>
                        <a:pt x="2941" y="14737"/>
                      </a:lnTo>
                      <a:lnTo>
                        <a:pt x="3011" y="14826"/>
                      </a:lnTo>
                      <a:lnTo>
                        <a:pt x="3081" y="15004"/>
                      </a:lnTo>
                      <a:lnTo>
                        <a:pt x="3081" y="15093"/>
                      </a:lnTo>
                      <a:lnTo>
                        <a:pt x="3151" y="15315"/>
                      </a:lnTo>
                      <a:lnTo>
                        <a:pt x="3221" y="15449"/>
                      </a:lnTo>
                      <a:lnTo>
                        <a:pt x="3431" y="15583"/>
                      </a:lnTo>
                      <a:lnTo>
                        <a:pt x="3781" y="15761"/>
                      </a:lnTo>
                      <a:lnTo>
                        <a:pt x="3991" y="15805"/>
                      </a:lnTo>
                      <a:lnTo>
                        <a:pt x="3991" y="15850"/>
                      </a:lnTo>
                      <a:lnTo>
                        <a:pt x="4061" y="15983"/>
                      </a:lnTo>
                      <a:lnTo>
                        <a:pt x="4131" y="16117"/>
                      </a:lnTo>
                      <a:lnTo>
                        <a:pt x="4201" y="16206"/>
                      </a:lnTo>
                      <a:lnTo>
                        <a:pt x="4271" y="16250"/>
                      </a:lnTo>
                      <a:lnTo>
                        <a:pt x="4411" y="16295"/>
                      </a:lnTo>
                      <a:lnTo>
                        <a:pt x="4551" y="16295"/>
                      </a:lnTo>
                      <a:lnTo>
                        <a:pt x="4761" y="16384"/>
                      </a:lnTo>
                      <a:lnTo>
                        <a:pt x="4831" y="16295"/>
                      </a:lnTo>
                      <a:lnTo>
                        <a:pt x="4831" y="16206"/>
                      </a:lnTo>
                      <a:lnTo>
                        <a:pt x="4831" y="16072"/>
                      </a:lnTo>
                      <a:lnTo>
                        <a:pt x="4901" y="15983"/>
                      </a:lnTo>
                      <a:lnTo>
                        <a:pt x="4901" y="15761"/>
                      </a:lnTo>
                      <a:lnTo>
                        <a:pt x="4901" y="15494"/>
                      </a:lnTo>
                      <a:lnTo>
                        <a:pt x="4971" y="15315"/>
                      </a:lnTo>
                      <a:lnTo>
                        <a:pt x="5111" y="15315"/>
                      </a:lnTo>
                      <a:lnTo>
                        <a:pt x="5251" y="15271"/>
                      </a:lnTo>
                      <a:lnTo>
                        <a:pt x="5321" y="15182"/>
                      </a:lnTo>
                      <a:lnTo>
                        <a:pt x="5391" y="15048"/>
                      </a:lnTo>
                      <a:lnTo>
                        <a:pt x="5461" y="14959"/>
                      </a:lnTo>
                      <a:lnTo>
                        <a:pt x="5461" y="14870"/>
                      </a:lnTo>
                      <a:lnTo>
                        <a:pt x="5391" y="14737"/>
                      </a:lnTo>
                      <a:lnTo>
                        <a:pt x="5321" y="14692"/>
                      </a:lnTo>
                      <a:lnTo>
                        <a:pt x="5391" y="14470"/>
                      </a:lnTo>
                      <a:lnTo>
                        <a:pt x="5531" y="14425"/>
                      </a:lnTo>
                      <a:lnTo>
                        <a:pt x="5741" y="14381"/>
                      </a:lnTo>
                      <a:lnTo>
                        <a:pt x="5881" y="14336"/>
                      </a:lnTo>
                      <a:lnTo>
                        <a:pt x="5881" y="14202"/>
                      </a:lnTo>
                      <a:lnTo>
                        <a:pt x="5671" y="14113"/>
                      </a:lnTo>
                      <a:lnTo>
                        <a:pt x="5461" y="14024"/>
                      </a:lnTo>
                      <a:lnTo>
                        <a:pt x="5531" y="13980"/>
                      </a:lnTo>
                      <a:lnTo>
                        <a:pt x="5531" y="13846"/>
                      </a:lnTo>
                      <a:lnTo>
                        <a:pt x="5671" y="13757"/>
                      </a:lnTo>
                      <a:lnTo>
                        <a:pt x="5671" y="13713"/>
                      </a:lnTo>
                      <a:lnTo>
                        <a:pt x="5671" y="13624"/>
                      </a:lnTo>
                      <a:lnTo>
                        <a:pt x="5811" y="13579"/>
                      </a:lnTo>
                      <a:lnTo>
                        <a:pt x="5881" y="13401"/>
                      </a:lnTo>
                      <a:lnTo>
                        <a:pt x="6091" y="13357"/>
                      </a:lnTo>
                      <a:lnTo>
                        <a:pt x="6232" y="13223"/>
                      </a:lnTo>
                      <a:lnTo>
                        <a:pt x="6372" y="13178"/>
                      </a:lnTo>
                      <a:lnTo>
                        <a:pt x="6442" y="13178"/>
                      </a:lnTo>
                      <a:lnTo>
                        <a:pt x="6512" y="13267"/>
                      </a:lnTo>
                      <a:lnTo>
                        <a:pt x="6582" y="13134"/>
                      </a:lnTo>
                      <a:lnTo>
                        <a:pt x="6722" y="13089"/>
                      </a:lnTo>
                      <a:lnTo>
                        <a:pt x="6792" y="13134"/>
                      </a:lnTo>
                      <a:lnTo>
                        <a:pt x="6792" y="13267"/>
                      </a:lnTo>
                      <a:lnTo>
                        <a:pt x="6862" y="13401"/>
                      </a:lnTo>
                      <a:lnTo>
                        <a:pt x="7002" y="13490"/>
                      </a:lnTo>
                      <a:lnTo>
                        <a:pt x="7072" y="13579"/>
                      </a:lnTo>
                      <a:lnTo>
                        <a:pt x="7142" y="13579"/>
                      </a:lnTo>
                      <a:lnTo>
                        <a:pt x="7212" y="13579"/>
                      </a:lnTo>
                      <a:lnTo>
                        <a:pt x="7212" y="13446"/>
                      </a:lnTo>
                      <a:lnTo>
                        <a:pt x="7072" y="13223"/>
                      </a:lnTo>
                      <a:lnTo>
                        <a:pt x="7072" y="13134"/>
                      </a:lnTo>
                      <a:lnTo>
                        <a:pt x="7142" y="12956"/>
                      </a:lnTo>
                      <a:lnTo>
                        <a:pt x="7282" y="12867"/>
                      </a:lnTo>
                      <a:lnTo>
                        <a:pt x="7352" y="12867"/>
                      </a:lnTo>
                      <a:lnTo>
                        <a:pt x="7422" y="12867"/>
                      </a:lnTo>
                      <a:lnTo>
                        <a:pt x="7562" y="12956"/>
                      </a:lnTo>
                      <a:lnTo>
                        <a:pt x="7702" y="12956"/>
                      </a:lnTo>
                      <a:lnTo>
                        <a:pt x="7842" y="12956"/>
                      </a:lnTo>
                      <a:lnTo>
                        <a:pt x="7842" y="12867"/>
                      </a:lnTo>
                      <a:lnTo>
                        <a:pt x="7702" y="12644"/>
                      </a:lnTo>
                      <a:lnTo>
                        <a:pt x="8052" y="12733"/>
                      </a:lnTo>
                      <a:lnTo>
                        <a:pt x="8122" y="12867"/>
                      </a:lnTo>
                      <a:lnTo>
                        <a:pt x="8192" y="12867"/>
                      </a:lnTo>
                      <a:lnTo>
                        <a:pt x="8262" y="12822"/>
                      </a:lnTo>
                      <a:lnTo>
                        <a:pt x="8192" y="12689"/>
                      </a:lnTo>
                      <a:lnTo>
                        <a:pt x="8262" y="12600"/>
                      </a:lnTo>
                      <a:lnTo>
                        <a:pt x="8332" y="12555"/>
                      </a:lnTo>
                      <a:lnTo>
                        <a:pt x="8262" y="12333"/>
                      </a:lnTo>
                      <a:lnTo>
                        <a:pt x="8332" y="12288"/>
                      </a:lnTo>
                      <a:lnTo>
                        <a:pt x="8332" y="12154"/>
                      </a:lnTo>
                      <a:lnTo>
                        <a:pt x="8402" y="12110"/>
                      </a:lnTo>
                      <a:lnTo>
                        <a:pt x="8472" y="12110"/>
                      </a:lnTo>
                      <a:lnTo>
                        <a:pt x="8542" y="12154"/>
                      </a:lnTo>
                      <a:lnTo>
                        <a:pt x="8542" y="12288"/>
                      </a:lnTo>
                      <a:lnTo>
                        <a:pt x="8612" y="12333"/>
                      </a:lnTo>
                      <a:lnTo>
                        <a:pt x="8682" y="12288"/>
                      </a:lnTo>
                      <a:lnTo>
                        <a:pt x="8752" y="12199"/>
                      </a:lnTo>
                      <a:lnTo>
                        <a:pt x="8892" y="12199"/>
                      </a:lnTo>
                      <a:lnTo>
                        <a:pt x="9032" y="12154"/>
                      </a:lnTo>
                      <a:lnTo>
                        <a:pt x="9032" y="12199"/>
                      </a:lnTo>
                      <a:lnTo>
                        <a:pt x="8962" y="12333"/>
                      </a:lnTo>
                      <a:lnTo>
                        <a:pt x="9032" y="12377"/>
                      </a:lnTo>
                      <a:lnTo>
                        <a:pt x="9102" y="12377"/>
                      </a:lnTo>
                      <a:lnTo>
                        <a:pt x="9172" y="12377"/>
                      </a:lnTo>
                      <a:lnTo>
                        <a:pt x="9172" y="12154"/>
                      </a:lnTo>
                      <a:lnTo>
                        <a:pt x="9312" y="12110"/>
                      </a:lnTo>
                      <a:lnTo>
                        <a:pt x="9382" y="12065"/>
                      </a:lnTo>
                      <a:lnTo>
                        <a:pt x="9312" y="12021"/>
                      </a:lnTo>
                      <a:lnTo>
                        <a:pt x="9382" y="11976"/>
                      </a:lnTo>
                      <a:lnTo>
                        <a:pt x="9452" y="11887"/>
                      </a:lnTo>
                      <a:lnTo>
                        <a:pt x="9522" y="11843"/>
                      </a:lnTo>
                      <a:lnTo>
                        <a:pt x="9522" y="11754"/>
                      </a:lnTo>
                      <a:lnTo>
                        <a:pt x="9382" y="11709"/>
                      </a:lnTo>
                      <a:lnTo>
                        <a:pt x="9312" y="11620"/>
                      </a:lnTo>
                      <a:lnTo>
                        <a:pt x="9382" y="11576"/>
                      </a:lnTo>
                      <a:lnTo>
                        <a:pt x="9382" y="11487"/>
                      </a:lnTo>
                      <a:lnTo>
                        <a:pt x="9382" y="11353"/>
                      </a:lnTo>
                      <a:lnTo>
                        <a:pt x="9452" y="11264"/>
                      </a:lnTo>
                      <a:lnTo>
                        <a:pt x="9452" y="11086"/>
                      </a:lnTo>
                      <a:lnTo>
                        <a:pt x="9592" y="10952"/>
                      </a:lnTo>
                      <a:lnTo>
                        <a:pt x="9592" y="10863"/>
                      </a:lnTo>
                      <a:lnTo>
                        <a:pt x="9522" y="10730"/>
                      </a:lnTo>
                      <a:lnTo>
                        <a:pt x="9382" y="10641"/>
                      </a:lnTo>
                      <a:lnTo>
                        <a:pt x="9382" y="10552"/>
                      </a:lnTo>
                      <a:lnTo>
                        <a:pt x="9452" y="10463"/>
                      </a:lnTo>
                      <a:lnTo>
                        <a:pt x="9522" y="10418"/>
                      </a:lnTo>
                      <a:lnTo>
                        <a:pt x="9802" y="10374"/>
                      </a:lnTo>
                      <a:lnTo>
                        <a:pt x="9872" y="10285"/>
                      </a:lnTo>
                      <a:lnTo>
                        <a:pt x="9802" y="9928"/>
                      </a:lnTo>
                      <a:lnTo>
                        <a:pt x="9872" y="9928"/>
                      </a:lnTo>
                      <a:close/>
                    </a:path>
                  </a:pathLst>
                </a:custGeom>
                <a:solidFill>
                  <a:srgbClr val="4472C4"/>
                </a:solidFill>
                <a:ln w="9525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defTabSz="121917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38" name="Maryland">
                  <a:extLst>
                    <a:ext uri="{FF2B5EF4-FFF2-40B4-BE49-F238E27FC236}">
                      <a16:creationId xmlns:a16="http://schemas.microsoft.com/office/drawing/2014/main" id="{602A4299-544D-F829-3DF6-618A69F52BC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5298400" y="7277100"/>
                  <a:ext cx="2705100" cy="1276350"/>
                </a:xfrm>
                <a:custGeom>
                  <a:avLst/>
                  <a:gdLst>
                    <a:gd name="T0" fmla="*/ 2147483647 w 16384"/>
                    <a:gd name="T1" fmla="*/ 2147483647 h 16384"/>
                    <a:gd name="T2" fmla="*/ 2147483647 w 16384"/>
                    <a:gd name="T3" fmla="*/ 2147483647 h 16384"/>
                    <a:gd name="T4" fmla="*/ 2147483647 w 16384"/>
                    <a:gd name="T5" fmla="*/ 2147483647 h 16384"/>
                    <a:gd name="T6" fmla="*/ 2147483647 w 16384"/>
                    <a:gd name="T7" fmla="*/ 2147483647 h 16384"/>
                    <a:gd name="T8" fmla="*/ 2147483647 w 16384"/>
                    <a:gd name="T9" fmla="*/ 2147483647 h 16384"/>
                    <a:gd name="T10" fmla="*/ 2147483647 w 16384"/>
                    <a:gd name="T11" fmla="*/ 2147483647 h 16384"/>
                    <a:gd name="T12" fmla="*/ 2147483647 w 16384"/>
                    <a:gd name="T13" fmla="*/ 2147483647 h 16384"/>
                    <a:gd name="T14" fmla="*/ 2147483647 w 16384"/>
                    <a:gd name="T15" fmla="*/ 2147483647 h 16384"/>
                    <a:gd name="T16" fmla="*/ 2147483647 w 16384"/>
                    <a:gd name="T17" fmla="*/ 2147483647 h 16384"/>
                    <a:gd name="T18" fmla="*/ 2147483647 w 16384"/>
                    <a:gd name="T19" fmla="*/ 2147483647 h 16384"/>
                    <a:gd name="T20" fmla="*/ 2147483647 w 16384"/>
                    <a:gd name="T21" fmla="*/ 2147483647 h 16384"/>
                    <a:gd name="T22" fmla="*/ 2147483647 w 16384"/>
                    <a:gd name="T23" fmla="*/ 2147483647 h 16384"/>
                    <a:gd name="T24" fmla="*/ 2147483647 w 16384"/>
                    <a:gd name="T25" fmla="*/ 2147483647 h 16384"/>
                    <a:gd name="T26" fmla="*/ 2147483647 w 16384"/>
                    <a:gd name="T27" fmla="*/ 2147483647 h 16384"/>
                    <a:gd name="T28" fmla="*/ 2147483647 w 16384"/>
                    <a:gd name="T29" fmla="*/ 2147483647 h 16384"/>
                    <a:gd name="T30" fmla="*/ 2147483647 w 16384"/>
                    <a:gd name="T31" fmla="*/ 2147483647 h 16384"/>
                    <a:gd name="T32" fmla="*/ 2147483647 w 16384"/>
                    <a:gd name="T33" fmla="*/ 2147483647 h 16384"/>
                    <a:gd name="T34" fmla="*/ 2147483647 w 16384"/>
                    <a:gd name="T35" fmla="*/ 2147483647 h 16384"/>
                    <a:gd name="T36" fmla="*/ 2147483647 w 16384"/>
                    <a:gd name="T37" fmla="*/ 2147483647 h 16384"/>
                    <a:gd name="T38" fmla="*/ 2147483647 w 16384"/>
                    <a:gd name="T39" fmla="*/ 2147483647 h 16384"/>
                    <a:gd name="T40" fmla="*/ 2147483647 w 16384"/>
                    <a:gd name="T41" fmla="*/ 2147483647 h 16384"/>
                    <a:gd name="T42" fmla="*/ 2147483647 w 16384"/>
                    <a:gd name="T43" fmla="*/ 2147483647 h 16384"/>
                    <a:gd name="T44" fmla="*/ 2147483647 w 16384"/>
                    <a:gd name="T45" fmla="*/ 2147483647 h 16384"/>
                    <a:gd name="T46" fmla="*/ 2147483647 w 16384"/>
                    <a:gd name="T47" fmla="*/ 2147483647 h 16384"/>
                    <a:gd name="T48" fmla="*/ 2147483647 w 16384"/>
                    <a:gd name="T49" fmla="*/ 2147483647 h 16384"/>
                    <a:gd name="T50" fmla="*/ 2147483647 w 16384"/>
                    <a:gd name="T51" fmla="*/ 2147483647 h 16384"/>
                    <a:gd name="T52" fmla="*/ 2147483647 w 16384"/>
                    <a:gd name="T53" fmla="*/ 2147483647 h 16384"/>
                    <a:gd name="T54" fmla="*/ 2147483647 w 16384"/>
                    <a:gd name="T55" fmla="*/ 2147483647 h 16384"/>
                    <a:gd name="T56" fmla="*/ 2147483647 w 16384"/>
                    <a:gd name="T57" fmla="*/ 2147483647 h 16384"/>
                    <a:gd name="T58" fmla="*/ 2147483647 w 16384"/>
                    <a:gd name="T59" fmla="*/ 2147483647 h 16384"/>
                    <a:gd name="T60" fmla="*/ 2147483647 w 16384"/>
                    <a:gd name="T61" fmla="*/ 2147483647 h 16384"/>
                    <a:gd name="T62" fmla="*/ 2147483647 w 16384"/>
                    <a:gd name="T63" fmla="*/ 2147483647 h 16384"/>
                    <a:gd name="T64" fmla="*/ 2147483647 w 16384"/>
                    <a:gd name="T65" fmla="*/ 2147483647 h 16384"/>
                    <a:gd name="T66" fmla="*/ 2147483647 w 16384"/>
                    <a:gd name="T67" fmla="*/ 2147483647 h 16384"/>
                    <a:gd name="T68" fmla="*/ 2147483647 w 16384"/>
                    <a:gd name="T69" fmla="*/ 2147483647 h 16384"/>
                    <a:gd name="T70" fmla="*/ 2147483647 w 16384"/>
                    <a:gd name="T71" fmla="*/ 2147483647 h 16384"/>
                    <a:gd name="T72" fmla="*/ 2147483647 w 16384"/>
                    <a:gd name="T73" fmla="*/ 2147483647 h 16384"/>
                    <a:gd name="T74" fmla="*/ 2147483647 w 16384"/>
                    <a:gd name="T75" fmla="*/ 2147483647 h 16384"/>
                    <a:gd name="T76" fmla="*/ 2147483647 w 16384"/>
                    <a:gd name="T77" fmla="*/ 2147483647 h 16384"/>
                    <a:gd name="T78" fmla="*/ 2147483647 w 16384"/>
                    <a:gd name="T79" fmla="*/ 2147483647 h 16384"/>
                    <a:gd name="T80" fmla="*/ 2147483647 w 16384"/>
                    <a:gd name="T81" fmla="*/ 2147483647 h 16384"/>
                    <a:gd name="T82" fmla="*/ 2147483647 w 16384"/>
                    <a:gd name="T83" fmla="*/ 2147483647 h 16384"/>
                    <a:gd name="T84" fmla="*/ 2147483647 w 16384"/>
                    <a:gd name="T85" fmla="*/ 2147483647 h 16384"/>
                    <a:gd name="T86" fmla="*/ 2147483647 w 16384"/>
                    <a:gd name="T87" fmla="*/ 2147483647 h 16384"/>
                    <a:gd name="T88" fmla="*/ 2147483647 w 16384"/>
                    <a:gd name="T89" fmla="*/ 2147483647 h 16384"/>
                    <a:gd name="T90" fmla="*/ 2147483647 w 16384"/>
                    <a:gd name="T91" fmla="*/ 2147483647 h 16384"/>
                    <a:gd name="T92" fmla="*/ 2147483647 w 16384"/>
                    <a:gd name="T93" fmla="*/ 2147483647 h 16384"/>
                    <a:gd name="T94" fmla="*/ 2147483647 w 16384"/>
                    <a:gd name="T95" fmla="*/ 2147483647 h 16384"/>
                    <a:gd name="T96" fmla="*/ 2147483647 w 16384"/>
                    <a:gd name="T97" fmla="*/ 2147483647 h 16384"/>
                    <a:gd name="T98" fmla="*/ 2147483647 w 16384"/>
                    <a:gd name="T99" fmla="*/ 2147483647 h 16384"/>
                    <a:gd name="T100" fmla="*/ 2147483647 w 16384"/>
                    <a:gd name="T101" fmla="*/ 2147483647 h 16384"/>
                    <a:gd name="T102" fmla="*/ 2147483647 w 16384"/>
                    <a:gd name="T103" fmla="*/ 2147483647 h 16384"/>
                    <a:gd name="T104" fmla="*/ 2147483647 w 16384"/>
                    <a:gd name="T105" fmla="*/ 2147483647 h 16384"/>
                    <a:gd name="T106" fmla="*/ 2147483647 w 16384"/>
                    <a:gd name="T107" fmla="*/ 2147483647 h 16384"/>
                    <a:gd name="T108" fmla="*/ 2147483647 w 16384"/>
                    <a:gd name="T109" fmla="*/ 2147483647 h 16384"/>
                    <a:gd name="T110" fmla="*/ 2147483647 w 16384"/>
                    <a:gd name="T111" fmla="*/ 2147483647 h 16384"/>
                    <a:gd name="T112" fmla="*/ 2147483647 w 16384"/>
                    <a:gd name="T113" fmla="*/ 2147483647 h 16384"/>
                    <a:gd name="T114" fmla="*/ 2147483647 w 16384"/>
                    <a:gd name="T115" fmla="*/ 2147483647 h 16384"/>
                    <a:gd name="T116" fmla="*/ 2147483647 w 16384"/>
                    <a:gd name="T117" fmla="*/ 2147483647 h 16384"/>
                    <a:gd name="T118" fmla="*/ 2147483647 w 16384"/>
                    <a:gd name="T119" fmla="*/ 2147483647 h 16384"/>
                    <a:gd name="T120" fmla="*/ 2147483647 w 16384"/>
                    <a:gd name="T121" fmla="*/ 2147483647 h 16384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60000 65536"/>
                    <a:gd name="T178" fmla="*/ 0 60000 65536"/>
                    <a:gd name="T179" fmla="*/ 0 60000 65536"/>
                    <a:gd name="T180" fmla="*/ 0 60000 65536"/>
                    <a:gd name="T181" fmla="*/ 0 60000 65536"/>
                    <a:gd name="T182" fmla="*/ 0 60000 65536"/>
                    <a:gd name="T183" fmla="*/ 0 w 16384"/>
                    <a:gd name="T184" fmla="*/ 0 h 16384"/>
                    <a:gd name="T185" fmla="*/ 16384 w 16384"/>
                    <a:gd name="T186" fmla="*/ 16384 h 16384"/>
                  </a:gdLst>
                  <a:ahLst/>
                  <a:cxnLst>
                    <a:cxn ang="T122">
                      <a:pos x="T0" y="T1"/>
                    </a:cxn>
                    <a:cxn ang="T123">
                      <a:pos x="T2" y="T3"/>
                    </a:cxn>
                    <a:cxn ang="T124">
                      <a:pos x="T4" y="T5"/>
                    </a:cxn>
                    <a:cxn ang="T125">
                      <a:pos x="T6" y="T7"/>
                    </a:cxn>
                    <a:cxn ang="T126">
                      <a:pos x="T8" y="T9"/>
                    </a:cxn>
                    <a:cxn ang="T127">
                      <a:pos x="T10" y="T11"/>
                    </a:cxn>
                    <a:cxn ang="T128">
                      <a:pos x="T12" y="T13"/>
                    </a:cxn>
                    <a:cxn ang="T129">
                      <a:pos x="T14" y="T15"/>
                    </a:cxn>
                    <a:cxn ang="T130">
                      <a:pos x="T16" y="T17"/>
                    </a:cxn>
                    <a:cxn ang="T131">
                      <a:pos x="T18" y="T19"/>
                    </a:cxn>
                    <a:cxn ang="T132">
                      <a:pos x="T20" y="T21"/>
                    </a:cxn>
                    <a:cxn ang="T133">
                      <a:pos x="T22" y="T23"/>
                    </a:cxn>
                    <a:cxn ang="T134">
                      <a:pos x="T24" y="T25"/>
                    </a:cxn>
                    <a:cxn ang="T135">
                      <a:pos x="T26" y="T27"/>
                    </a:cxn>
                    <a:cxn ang="T136">
                      <a:pos x="T28" y="T29"/>
                    </a:cxn>
                    <a:cxn ang="T137">
                      <a:pos x="T30" y="T31"/>
                    </a:cxn>
                    <a:cxn ang="T138">
                      <a:pos x="T32" y="T33"/>
                    </a:cxn>
                    <a:cxn ang="T139">
                      <a:pos x="T34" y="T35"/>
                    </a:cxn>
                    <a:cxn ang="T140">
                      <a:pos x="T36" y="T37"/>
                    </a:cxn>
                    <a:cxn ang="T141">
                      <a:pos x="T38" y="T39"/>
                    </a:cxn>
                    <a:cxn ang="T142">
                      <a:pos x="T40" y="T41"/>
                    </a:cxn>
                    <a:cxn ang="T143">
                      <a:pos x="T42" y="T43"/>
                    </a:cxn>
                    <a:cxn ang="T144">
                      <a:pos x="T44" y="T45"/>
                    </a:cxn>
                    <a:cxn ang="T145">
                      <a:pos x="T46" y="T47"/>
                    </a:cxn>
                    <a:cxn ang="T146">
                      <a:pos x="T48" y="T49"/>
                    </a:cxn>
                    <a:cxn ang="T147">
                      <a:pos x="T50" y="T51"/>
                    </a:cxn>
                    <a:cxn ang="T148">
                      <a:pos x="T52" y="T53"/>
                    </a:cxn>
                    <a:cxn ang="T149">
                      <a:pos x="T54" y="T55"/>
                    </a:cxn>
                    <a:cxn ang="T150">
                      <a:pos x="T56" y="T57"/>
                    </a:cxn>
                    <a:cxn ang="T151">
                      <a:pos x="T58" y="T59"/>
                    </a:cxn>
                    <a:cxn ang="T152">
                      <a:pos x="T60" y="T61"/>
                    </a:cxn>
                    <a:cxn ang="T153">
                      <a:pos x="T62" y="T63"/>
                    </a:cxn>
                    <a:cxn ang="T154">
                      <a:pos x="T64" y="T65"/>
                    </a:cxn>
                    <a:cxn ang="T155">
                      <a:pos x="T66" y="T67"/>
                    </a:cxn>
                    <a:cxn ang="T156">
                      <a:pos x="T68" y="T69"/>
                    </a:cxn>
                    <a:cxn ang="T157">
                      <a:pos x="T70" y="T71"/>
                    </a:cxn>
                    <a:cxn ang="T158">
                      <a:pos x="T72" y="T73"/>
                    </a:cxn>
                    <a:cxn ang="T159">
                      <a:pos x="T74" y="T75"/>
                    </a:cxn>
                    <a:cxn ang="T160">
                      <a:pos x="T76" y="T77"/>
                    </a:cxn>
                    <a:cxn ang="T161">
                      <a:pos x="T78" y="T79"/>
                    </a:cxn>
                    <a:cxn ang="T162">
                      <a:pos x="T80" y="T81"/>
                    </a:cxn>
                    <a:cxn ang="T163">
                      <a:pos x="T82" y="T83"/>
                    </a:cxn>
                    <a:cxn ang="T164">
                      <a:pos x="T84" y="T85"/>
                    </a:cxn>
                    <a:cxn ang="T165">
                      <a:pos x="T86" y="T87"/>
                    </a:cxn>
                    <a:cxn ang="T166">
                      <a:pos x="T88" y="T89"/>
                    </a:cxn>
                    <a:cxn ang="T167">
                      <a:pos x="T90" y="T91"/>
                    </a:cxn>
                    <a:cxn ang="T168">
                      <a:pos x="T92" y="T93"/>
                    </a:cxn>
                    <a:cxn ang="T169">
                      <a:pos x="T94" y="T95"/>
                    </a:cxn>
                    <a:cxn ang="T170">
                      <a:pos x="T96" y="T97"/>
                    </a:cxn>
                    <a:cxn ang="T171">
                      <a:pos x="T98" y="T99"/>
                    </a:cxn>
                    <a:cxn ang="T172">
                      <a:pos x="T100" y="T101"/>
                    </a:cxn>
                    <a:cxn ang="T173">
                      <a:pos x="T102" y="T103"/>
                    </a:cxn>
                    <a:cxn ang="T174">
                      <a:pos x="T104" y="T105"/>
                    </a:cxn>
                    <a:cxn ang="T175">
                      <a:pos x="T106" y="T107"/>
                    </a:cxn>
                    <a:cxn ang="T176">
                      <a:pos x="T108" y="T109"/>
                    </a:cxn>
                    <a:cxn ang="T177">
                      <a:pos x="T110" y="T111"/>
                    </a:cxn>
                    <a:cxn ang="T178">
                      <a:pos x="T112" y="T113"/>
                    </a:cxn>
                    <a:cxn ang="T179">
                      <a:pos x="T114" y="T115"/>
                    </a:cxn>
                    <a:cxn ang="T180">
                      <a:pos x="T116" y="T117"/>
                    </a:cxn>
                    <a:cxn ang="T181">
                      <a:pos x="T118" y="T119"/>
                    </a:cxn>
                    <a:cxn ang="T182">
                      <a:pos x="T120" y="T121"/>
                    </a:cxn>
                  </a:cxnLst>
                  <a:rect l="T183" t="T184" r="T185" b="T186"/>
                  <a:pathLst>
                    <a:path w="16384" h="16384">
                      <a:moveTo>
                        <a:pt x="10395" y="5843"/>
                      </a:moveTo>
                      <a:lnTo>
                        <a:pt x="10395" y="5614"/>
                      </a:lnTo>
                      <a:lnTo>
                        <a:pt x="10339" y="5500"/>
                      </a:lnTo>
                      <a:lnTo>
                        <a:pt x="10282" y="5500"/>
                      </a:lnTo>
                      <a:lnTo>
                        <a:pt x="10226" y="5385"/>
                      </a:lnTo>
                      <a:lnTo>
                        <a:pt x="10282" y="5270"/>
                      </a:lnTo>
                      <a:lnTo>
                        <a:pt x="10339" y="5270"/>
                      </a:lnTo>
                      <a:lnTo>
                        <a:pt x="10452" y="5270"/>
                      </a:lnTo>
                      <a:lnTo>
                        <a:pt x="10508" y="5385"/>
                      </a:lnTo>
                      <a:lnTo>
                        <a:pt x="10621" y="5614"/>
                      </a:lnTo>
                      <a:lnTo>
                        <a:pt x="10678" y="5614"/>
                      </a:lnTo>
                      <a:lnTo>
                        <a:pt x="10847" y="5614"/>
                      </a:lnTo>
                      <a:lnTo>
                        <a:pt x="10904" y="5614"/>
                      </a:lnTo>
                      <a:lnTo>
                        <a:pt x="10904" y="5500"/>
                      </a:lnTo>
                      <a:lnTo>
                        <a:pt x="10791" y="5156"/>
                      </a:lnTo>
                      <a:lnTo>
                        <a:pt x="10847" y="5156"/>
                      </a:lnTo>
                      <a:lnTo>
                        <a:pt x="10904" y="5156"/>
                      </a:lnTo>
                      <a:lnTo>
                        <a:pt x="10960" y="5041"/>
                      </a:lnTo>
                      <a:lnTo>
                        <a:pt x="10960" y="4927"/>
                      </a:lnTo>
                      <a:lnTo>
                        <a:pt x="10904" y="4812"/>
                      </a:lnTo>
                      <a:lnTo>
                        <a:pt x="10904" y="4698"/>
                      </a:lnTo>
                      <a:lnTo>
                        <a:pt x="10904" y="4583"/>
                      </a:lnTo>
                      <a:lnTo>
                        <a:pt x="10960" y="4583"/>
                      </a:lnTo>
                      <a:lnTo>
                        <a:pt x="11130" y="4583"/>
                      </a:lnTo>
                      <a:lnTo>
                        <a:pt x="11073" y="4468"/>
                      </a:lnTo>
                      <a:lnTo>
                        <a:pt x="11017" y="4239"/>
                      </a:lnTo>
                      <a:lnTo>
                        <a:pt x="11017" y="4125"/>
                      </a:lnTo>
                      <a:lnTo>
                        <a:pt x="11073" y="4125"/>
                      </a:lnTo>
                      <a:lnTo>
                        <a:pt x="11130" y="4010"/>
                      </a:lnTo>
                      <a:lnTo>
                        <a:pt x="11186" y="4010"/>
                      </a:lnTo>
                      <a:lnTo>
                        <a:pt x="11243" y="4239"/>
                      </a:lnTo>
                      <a:lnTo>
                        <a:pt x="11243" y="4354"/>
                      </a:lnTo>
                      <a:lnTo>
                        <a:pt x="11299" y="4354"/>
                      </a:lnTo>
                      <a:lnTo>
                        <a:pt x="11356" y="4354"/>
                      </a:lnTo>
                      <a:lnTo>
                        <a:pt x="11356" y="4239"/>
                      </a:lnTo>
                      <a:lnTo>
                        <a:pt x="11299" y="4010"/>
                      </a:lnTo>
                      <a:lnTo>
                        <a:pt x="11299" y="3895"/>
                      </a:lnTo>
                      <a:lnTo>
                        <a:pt x="11356" y="3895"/>
                      </a:lnTo>
                      <a:lnTo>
                        <a:pt x="11412" y="3895"/>
                      </a:lnTo>
                      <a:lnTo>
                        <a:pt x="11469" y="4010"/>
                      </a:lnTo>
                      <a:lnTo>
                        <a:pt x="11525" y="3895"/>
                      </a:lnTo>
                      <a:lnTo>
                        <a:pt x="11525" y="3781"/>
                      </a:lnTo>
                      <a:lnTo>
                        <a:pt x="11525" y="3552"/>
                      </a:lnTo>
                      <a:lnTo>
                        <a:pt x="11582" y="3552"/>
                      </a:lnTo>
                      <a:lnTo>
                        <a:pt x="11695" y="3552"/>
                      </a:lnTo>
                      <a:lnTo>
                        <a:pt x="11751" y="3437"/>
                      </a:lnTo>
                      <a:lnTo>
                        <a:pt x="11808" y="3208"/>
                      </a:lnTo>
                      <a:lnTo>
                        <a:pt x="11808" y="2979"/>
                      </a:lnTo>
                      <a:lnTo>
                        <a:pt x="11751" y="2864"/>
                      </a:lnTo>
                      <a:lnTo>
                        <a:pt x="11695" y="2635"/>
                      </a:lnTo>
                      <a:lnTo>
                        <a:pt x="11695" y="2521"/>
                      </a:lnTo>
                      <a:lnTo>
                        <a:pt x="11751" y="2406"/>
                      </a:lnTo>
                      <a:lnTo>
                        <a:pt x="11808" y="2062"/>
                      </a:lnTo>
                      <a:lnTo>
                        <a:pt x="11864" y="1833"/>
                      </a:lnTo>
                      <a:lnTo>
                        <a:pt x="11977" y="1948"/>
                      </a:lnTo>
                      <a:lnTo>
                        <a:pt x="12090" y="1833"/>
                      </a:lnTo>
                      <a:lnTo>
                        <a:pt x="12147" y="1604"/>
                      </a:lnTo>
                      <a:lnTo>
                        <a:pt x="12203" y="1833"/>
                      </a:lnTo>
                      <a:lnTo>
                        <a:pt x="12203" y="2177"/>
                      </a:lnTo>
                      <a:lnTo>
                        <a:pt x="12147" y="2406"/>
                      </a:lnTo>
                      <a:lnTo>
                        <a:pt x="12147" y="2521"/>
                      </a:lnTo>
                      <a:lnTo>
                        <a:pt x="12203" y="2521"/>
                      </a:lnTo>
                      <a:lnTo>
                        <a:pt x="12373" y="2062"/>
                      </a:lnTo>
                      <a:lnTo>
                        <a:pt x="12542" y="2062"/>
                      </a:lnTo>
                      <a:lnTo>
                        <a:pt x="12486" y="2291"/>
                      </a:lnTo>
                      <a:lnTo>
                        <a:pt x="12486" y="2406"/>
                      </a:lnTo>
                      <a:lnTo>
                        <a:pt x="12542" y="2521"/>
                      </a:lnTo>
                      <a:lnTo>
                        <a:pt x="12542" y="2635"/>
                      </a:lnTo>
                      <a:lnTo>
                        <a:pt x="12486" y="2635"/>
                      </a:lnTo>
                      <a:lnTo>
                        <a:pt x="12316" y="2635"/>
                      </a:lnTo>
                      <a:lnTo>
                        <a:pt x="12316" y="2864"/>
                      </a:lnTo>
                      <a:lnTo>
                        <a:pt x="12203" y="2979"/>
                      </a:lnTo>
                      <a:lnTo>
                        <a:pt x="12203" y="3323"/>
                      </a:lnTo>
                      <a:lnTo>
                        <a:pt x="12373" y="3437"/>
                      </a:lnTo>
                      <a:lnTo>
                        <a:pt x="12373" y="3552"/>
                      </a:lnTo>
                      <a:lnTo>
                        <a:pt x="12373" y="3666"/>
                      </a:lnTo>
                      <a:lnTo>
                        <a:pt x="12260" y="3666"/>
                      </a:lnTo>
                      <a:lnTo>
                        <a:pt x="11921" y="3781"/>
                      </a:lnTo>
                      <a:lnTo>
                        <a:pt x="11864" y="3895"/>
                      </a:lnTo>
                      <a:lnTo>
                        <a:pt x="11921" y="4010"/>
                      </a:lnTo>
                      <a:lnTo>
                        <a:pt x="11921" y="4125"/>
                      </a:lnTo>
                      <a:lnTo>
                        <a:pt x="11864" y="4239"/>
                      </a:lnTo>
                      <a:lnTo>
                        <a:pt x="11751" y="4239"/>
                      </a:lnTo>
                      <a:lnTo>
                        <a:pt x="11695" y="4354"/>
                      </a:lnTo>
                      <a:lnTo>
                        <a:pt x="11751" y="4468"/>
                      </a:lnTo>
                      <a:lnTo>
                        <a:pt x="11638" y="4812"/>
                      </a:lnTo>
                      <a:lnTo>
                        <a:pt x="11582" y="5270"/>
                      </a:lnTo>
                      <a:lnTo>
                        <a:pt x="11525" y="5843"/>
                      </a:lnTo>
                      <a:lnTo>
                        <a:pt x="11582" y="5958"/>
                      </a:lnTo>
                      <a:lnTo>
                        <a:pt x="11695" y="6187"/>
                      </a:lnTo>
                      <a:lnTo>
                        <a:pt x="11751" y="6531"/>
                      </a:lnTo>
                      <a:lnTo>
                        <a:pt x="11808" y="6531"/>
                      </a:lnTo>
                      <a:lnTo>
                        <a:pt x="11808" y="6187"/>
                      </a:lnTo>
                      <a:lnTo>
                        <a:pt x="11977" y="5958"/>
                      </a:lnTo>
                      <a:lnTo>
                        <a:pt x="12034" y="5958"/>
                      </a:lnTo>
                      <a:lnTo>
                        <a:pt x="12090" y="6072"/>
                      </a:lnTo>
                      <a:lnTo>
                        <a:pt x="12090" y="6187"/>
                      </a:lnTo>
                      <a:lnTo>
                        <a:pt x="12090" y="6302"/>
                      </a:lnTo>
                      <a:lnTo>
                        <a:pt x="12034" y="6416"/>
                      </a:lnTo>
                      <a:lnTo>
                        <a:pt x="11977" y="6760"/>
                      </a:lnTo>
                      <a:lnTo>
                        <a:pt x="11977" y="6874"/>
                      </a:lnTo>
                      <a:lnTo>
                        <a:pt x="12034" y="7104"/>
                      </a:lnTo>
                      <a:lnTo>
                        <a:pt x="12090" y="7218"/>
                      </a:lnTo>
                      <a:lnTo>
                        <a:pt x="12034" y="7333"/>
                      </a:lnTo>
                      <a:lnTo>
                        <a:pt x="11921" y="7447"/>
                      </a:lnTo>
                      <a:lnTo>
                        <a:pt x="11921" y="7562"/>
                      </a:lnTo>
                      <a:lnTo>
                        <a:pt x="11921" y="7676"/>
                      </a:lnTo>
                      <a:lnTo>
                        <a:pt x="11977" y="7906"/>
                      </a:lnTo>
                      <a:lnTo>
                        <a:pt x="12034" y="8364"/>
                      </a:lnTo>
                      <a:lnTo>
                        <a:pt x="12090" y="8364"/>
                      </a:lnTo>
                      <a:lnTo>
                        <a:pt x="12147" y="8478"/>
                      </a:lnTo>
                      <a:lnTo>
                        <a:pt x="12147" y="8708"/>
                      </a:lnTo>
                      <a:lnTo>
                        <a:pt x="12147" y="8937"/>
                      </a:lnTo>
                      <a:lnTo>
                        <a:pt x="12203" y="9051"/>
                      </a:lnTo>
                      <a:lnTo>
                        <a:pt x="12147" y="9166"/>
                      </a:lnTo>
                      <a:lnTo>
                        <a:pt x="12034" y="9051"/>
                      </a:lnTo>
                      <a:lnTo>
                        <a:pt x="11864" y="8708"/>
                      </a:lnTo>
                      <a:lnTo>
                        <a:pt x="11808" y="8708"/>
                      </a:lnTo>
                      <a:lnTo>
                        <a:pt x="11751" y="8822"/>
                      </a:lnTo>
                      <a:lnTo>
                        <a:pt x="11751" y="8937"/>
                      </a:lnTo>
                      <a:lnTo>
                        <a:pt x="11751" y="9280"/>
                      </a:lnTo>
                      <a:lnTo>
                        <a:pt x="11695" y="9624"/>
                      </a:lnTo>
                      <a:lnTo>
                        <a:pt x="11695" y="9739"/>
                      </a:lnTo>
                      <a:lnTo>
                        <a:pt x="11808" y="9624"/>
                      </a:lnTo>
                      <a:lnTo>
                        <a:pt x="11921" y="9739"/>
                      </a:lnTo>
                      <a:lnTo>
                        <a:pt x="11977" y="9624"/>
                      </a:lnTo>
                      <a:lnTo>
                        <a:pt x="12090" y="9739"/>
                      </a:lnTo>
                      <a:lnTo>
                        <a:pt x="12147" y="9968"/>
                      </a:lnTo>
                      <a:lnTo>
                        <a:pt x="12203" y="9968"/>
                      </a:lnTo>
                      <a:lnTo>
                        <a:pt x="12260" y="9968"/>
                      </a:lnTo>
                      <a:lnTo>
                        <a:pt x="12316" y="9739"/>
                      </a:lnTo>
                      <a:lnTo>
                        <a:pt x="12373" y="9510"/>
                      </a:lnTo>
                      <a:lnTo>
                        <a:pt x="12429" y="9395"/>
                      </a:lnTo>
                      <a:lnTo>
                        <a:pt x="12486" y="9510"/>
                      </a:lnTo>
                      <a:lnTo>
                        <a:pt x="12429" y="9968"/>
                      </a:lnTo>
                      <a:lnTo>
                        <a:pt x="12429" y="10082"/>
                      </a:lnTo>
                      <a:lnTo>
                        <a:pt x="12429" y="10197"/>
                      </a:lnTo>
                      <a:lnTo>
                        <a:pt x="12542" y="10426"/>
                      </a:lnTo>
                      <a:lnTo>
                        <a:pt x="12655" y="10426"/>
                      </a:lnTo>
                      <a:lnTo>
                        <a:pt x="12768" y="10541"/>
                      </a:lnTo>
                      <a:lnTo>
                        <a:pt x="12825" y="10770"/>
                      </a:lnTo>
                      <a:lnTo>
                        <a:pt x="12768" y="10884"/>
                      </a:lnTo>
                      <a:lnTo>
                        <a:pt x="12655" y="10884"/>
                      </a:lnTo>
                      <a:lnTo>
                        <a:pt x="12486" y="10655"/>
                      </a:lnTo>
                      <a:lnTo>
                        <a:pt x="12373" y="10541"/>
                      </a:lnTo>
                      <a:lnTo>
                        <a:pt x="12203" y="10655"/>
                      </a:lnTo>
                      <a:lnTo>
                        <a:pt x="12090" y="10655"/>
                      </a:lnTo>
                      <a:lnTo>
                        <a:pt x="12034" y="10655"/>
                      </a:lnTo>
                      <a:lnTo>
                        <a:pt x="12034" y="10884"/>
                      </a:lnTo>
                      <a:lnTo>
                        <a:pt x="12034" y="11114"/>
                      </a:lnTo>
                      <a:lnTo>
                        <a:pt x="12090" y="11343"/>
                      </a:lnTo>
                      <a:lnTo>
                        <a:pt x="12203" y="11114"/>
                      </a:lnTo>
                      <a:lnTo>
                        <a:pt x="12260" y="11114"/>
                      </a:lnTo>
                      <a:lnTo>
                        <a:pt x="12429" y="11343"/>
                      </a:lnTo>
                      <a:lnTo>
                        <a:pt x="12429" y="11457"/>
                      </a:lnTo>
                      <a:lnTo>
                        <a:pt x="12203" y="11457"/>
                      </a:lnTo>
                      <a:lnTo>
                        <a:pt x="12147" y="11801"/>
                      </a:lnTo>
                      <a:lnTo>
                        <a:pt x="12034" y="12145"/>
                      </a:lnTo>
                      <a:lnTo>
                        <a:pt x="12090" y="12374"/>
                      </a:lnTo>
                      <a:lnTo>
                        <a:pt x="12260" y="12947"/>
                      </a:lnTo>
                      <a:lnTo>
                        <a:pt x="12316" y="12947"/>
                      </a:lnTo>
                      <a:lnTo>
                        <a:pt x="12486" y="12947"/>
                      </a:lnTo>
                      <a:lnTo>
                        <a:pt x="12542" y="12947"/>
                      </a:lnTo>
                      <a:lnTo>
                        <a:pt x="12655" y="13176"/>
                      </a:lnTo>
                      <a:lnTo>
                        <a:pt x="12768" y="13405"/>
                      </a:lnTo>
                      <a:lnTo>
                        <a:pt x="12825" y="13520"/>
                      </a:lnTo>
                      <a:lnTo>
                        <a:pt x="12994" y="13634"/>
                      </a:lnTo>
                      <a:lnTo>
                        <a:pt x="13107" y="13863"/>
                      </a:lnTo>
                      <a:lnTo>
                        <a:pt x="13164" y="13863"/>
                      </a:lnTo>
                      <a:lnTo>
                        <a:pt x="13164" y="13749"/>
                      </a:lnTo>
                      <a:lnTo>
                        <a:pt x="13107" y="13520"/>
                      </a:lnTo>
                      <a:lnTo>
                        <a:pt x="13107" y="13405"/>
                      </a:lnTo>
                      <a:lnTo>
                        <a:pt x="13107" y="13176"/>
                      </a:lnTo>
                      <a:lnTo>
                        <a:pt x="13107" y="13061"/>
                      </a:lnTo>
                      <a:lnTo>
                        <a:pt x="13220" y="12832"/>
                      </a:lnTo>
                      <a:lnTo>
                        <a:pt x="13277" y="12947"/>
                      </a:lnTo>
                      <a:lnTo>
                        <a:pt x="13220" y="13176"/>
                      </a:lnTo>
                      <a:lnTo>
                        <a:pt x="13277" y="13291"/>
                      </a:lnTo>
                      <a:lnTo>
                        <a:pt x="13446" y="13634"/>
                      </a:lnTo>
                      <a:lnTo>
                        <a:pt x="13503" y="13520"/>
                      </a:lnTo>
                      <a:lnTo>
                        <a:pt x="13503" y="13176"/>
                      </a:lnTo>
                      <a:lnTo>
                        <a:pt x="13503" y="12947"/>
                      </a:lnTo>
                      <a:lnTo>
                        <a:pt x="13559" y="12832"/>
                      </a:lnTo>
                      <a:lnTo>
                        <a:pt x="13616" y="12718"/>
                      </a:lnTo>
                      <a:lnTo>
                        <a:pt x="13616" y="12832"/>
                      </a:lnTo>
                      <a:lnTo>
                        <a:pt x="13616" y="13061"/>
                      </a:lnTo>
                      <a:lnTo>
                        <a:pt x="13616" y="13405"/>
                      </a:lnTo>
                      <a:lnTo>
                        <a:pt x="13616" y="13634"/>
                      </a:lnTo>
                      <a:lnTo>
                        <a:pt x="13729" y="13520"/>
                      </a:lnTo>
                      <a:lnTo>
                        <a:pt x="13785" y="13405"/>
                      </a:lnTo>
                      <a:lnTo>
                        <a:pt x="13842" y="13520"/>
                      </a:lnTo>
                      <a:lnTo>
                        <a:pt x="13898" y="13634"/>
                      </a:lnTo>
                      <a:lnTo>
                        <a:pt x="13842" y="13749"/>
                      </a:lnTo>
                      <a:lnTo>
                        <a:pt x="13672" y="13863"/>
                      </a:lnTo>
                      <a:lnTo>
                        <a:pt x="13616" y="14207"/>
                      </a:lnTo>
                      <a:lnTo>
                        <a:pt x="13559" y="14436"/>
                      </a:lnTo>
                      <a:lnTo>
                        <a:pt x="13616" y="14551"/>
                      </a:lnTo>
                      <a:lnTo>
                        <a:pt x="13785" y="14436"/>
                      </a:lnTo>
                      <a:lnTo>
                        <a:pt x="13898" y="14436"/>
                      </a:lnTo>
                      <a:lnTo>
                        <a:pt x="13955" y="14207"/>
                      </a:lnTo>
                      <a:lnTo>
                        <a:pt x="14068" y="14207"/>
                      </a:lnTo>
                      <a:lnTo>
                        <a:pt x="14181" y="14207"/>
                      </a:lnTo>
                      <a:lnTo>
                        <a:pt x="14181" y="14322"/>
                      </a:lnTo>
                      <a:lnTo>
                        <a:pt x="14124" y="14436"/>
                      </a:lnTo>
                      <a:lnTo>
                        <a:pt x="13955" y="14665"/>
                      </a:lnTo>
                      <a:lnTo>
                        <a:pt x="13898" y="15009"/>
                      </a:lnTo>
                      <a:lnTo>
                        <a:pt x="13955" y="15124"/>
                      </a:lnTo>
                      <a:lnTo>
                        <a:pt x="14011" y="15124"/>
                      </a:lnTo>
                      <a:lnTo>
                        <a:pt x="14237" y="14895"/>
                      </a:lnTo>
                      <a:lnTo>
                        <a:pt x="14294" y="14895"/>
                      </a:lnTo>
                      <a:lnTo>
                        <a:pt x="14294" y="15009"/>
                      </a:lnTo>
                      <a:lnTo>
                        <a:pt x="14181" y="15353"/>
                      </a:lnTo>
                      <a:lnTo>
                        <a:pt x="14068" y="15467"/>
                      </a:lnTo>
                      <a:lnTo>
                        <a:pt x="13955" y="15582"/>
                      </a:lnTo>
                      <a:lnTo>
                        <a:pt x="13955" y="15811"/>
                      </a:lnTo>
                      <a:lnTo>
                        <a:pt x="13955" y="16040"/>
                      </a:lnTo>
                      <a:lnTo>
                        <a:pt x="14068" y="16040"/>
                      </a:lnTo>
                      <a:lnTo>
                        <a:pt x="14124" y="16384"/>
                      </a:lnTo>
                      <a:lnTo>
                        <a:pt x="14181" y="16384"/>
                      </a:lnTo>
                      <a:lnTo>
                        <a:pt x="14237" y="16269"/>
                      </a:lnTo>
                      <a:lnTo>
                        <a:pt x="14237" y="15926"/>
                      </a:lnTo>
                      <a:lnTo>
                        <a:pt x="14294" y="15926"/>
                      </a:lnTo>
                      <a:lnTo>
                        <a:pt x="14350" y="15926"/>
                      </a:lnTo>
                      <a:lnTo>
                        <a:pt x="14520" y="15926"/>
                      </a:lnTo>
                      <a:lnTo>
                        <a:pt x="14520" y="15697"/>
                      </a:lnTo>
                      <a:lnTo>
                        <a:pt x="14633" y="15697"/>
                      </a:lnTo>
                      <a:lnTo>
                        <a:pt x="14746" y="15697"/>
                      </a:lnTo>
                      <a:lnTo>
                        <a:pt x="14802" y="15582"/>
                      </a:lnTo>
                      <a:lnTo>
                        <a:pt x="14859" y="15353"/>
                      </a:lnTo>
                      <a:lnTo>
                        <a:pt x="15763" y="14665"/>
                      </a:lnTo>
                      <a:lnTo>
                        <a:pt x="15763" y="13978"/>
                      </a:lnTo>
                      <a:lnTo>
                        <a:pt x="15876" y="13863"/>
                      </a:lnTo>
                      <a:lnTo>
                        <a:pt x="15932" y="13749"/>
                      </a:lnTo>
                      <a:lnTo>
                        <a:pt x="15932" y="13405"/>
                      </a:lnTo>
                      <a:lnTo>
                        <a:pt x="15932" y="13061"/>
                      </a:lnTo>
                      <a:lnTo>
                        <a:pt x="15932" y="12718"/>
                      </a:lnTo>
                      <a:lnTo>
                        <a:pt x="15989" y="12603"/>
                      </a:lnTo>
                      <a:lnTo>
                        <a:pt x="16045" y="12489"/>
                      </a:lnTo>
                      <a:lnTo>
                        <a:pt x="16102" y="12489"/>
                      </a:lnTo>
                      <a:lnTo>
                        <a:pt x="16158" y="12603"/>
                      </a:lnTo>
                      <a:lnTo>
                        <a:pt x="16158" y="12832"/>
                      </a:lnTo>
                      <a:lnTo>
                        <a:pt x="16158" y="13291"/>
                      </a:lnTo>
                      <a:lnTo>
                        <a:pt x="16158" y="13634"/>
                      </a:lnTo>
                      <a:lnTo>
                        <a:pt x="16102" y="13749"/>
                      </a:lnTo>
                      <a:lnTo>
                        <a:pt x="16102" y="14093"/>
                      </a:lnTo>
                      <a:lnTo>
                        <a:pt x="16045" y="14436"/>
                      </a:lnTo>
                      <a:lnTo>
                        <a:pt x="16215" y="14322"/>
                      </a:lnTo>
                      <a:lnTo>
                        <a:pt x="16271" y="13978"/>
                      </a:lnTo>
                      <a:lnTo>
                        <a:pt x="16328" y="13520"/>
                      </a:lnTo>
                      <a:lnTo>
                        <a:pt x="16271" y="12718"/>
                      </a:lnTo>
                      <a:lnTo>
                        <a:pt x="16384" y="11916"/>
                      </a:lnTo>
                      <a:lnTo>
                        <a:pt x="16384" y="11686"/>
                      </a:lnTo>
                      <a:lnTo>
                        <a:pt x="16384" y="11457"/>
                      </a:lnTo>
                      <a:lnTo>
                        <a:pt x="16328" y="11228"/>
                      </a:lnTo>
                      <a:lnTo>
                        <a:pt x="16328" y="10999"/>
                      </a:lnTo>
                      <a:lnTo>
                        <a:pt x="16328" y="10770"/>
                      </a:lnTo>
                      <a:lnTo>
                        <a:pt x="16384" y="10541"/>
                      </a:lnTo>
                      <a:lnTo>
                        <a:pt x="16384" y="10312"/>
                      </a:lnTo>
                      <a:lnTo>
                        <a:pt x="15367" y="10770"/>
                      </a:lnTo>
                      <a:lnTo>
                        <a:pt x="14181" y="11228"/>
                      </a:lnTo>
                      <a:lnTo>
                        <a:pt x="14011" y="10426"/>
                      </a:lnTo>
                      <a:lnTo>
                        <a:pt x="13898" y="9624"/>
                      </a:lnTo>
                      <a:lnTo>
                        <a:pt x="13672" y="8020"/>
                      </a:lnTo>
                      <a:lnTo>
                        <a:pt x="13333" y="5270"/>
                      </a:lnTo>
                      <a:lnTo>
                        <a:pt x="13164" y="4354"/>
                      </a:lnTo>
                      <a:lnTo>
                        <a:pt x="13107" y="3895"/>
                      </a:lnTo>
                      <a:lnTo>
                        <a:pt x="13051" y="3208"/>
                      </a:lnTo>
                      <a:lnTo>
                        <a:pt x="12599" y="0"/>
                      </a:lnTo>
                      <a:lnTo>
                        <a:pt x="11582" y="458"/>
                      </a:lnTo>
                      <a:lnTo>
                        <a:pt x="11130" y="687"/>
                      </a:lnTo>
                      <a:lnTo>
                        <a:pt x="10000" y="1146"/>
                      </a:lnTo>
                      <a:lnTo>
                        <a:pt x="9209" y="1375"/>
                      </a:lnTo>
                      <a:lnTo>
                        <a:pt x="8531" y="1719"/>
                      </a:lnTo>
                      <a:lnTo>
                        <a:pt x="7740" y="2062"/>
                      </a:lnTo>
                      <a:lnTo>
                        <a:pt x="7006" y="2406"/>
                      </a:lnTo>
                      <a:lnTo>
                        <a:pt x="6949" y="2406"/>
                      </a:lnTo>
                      <a:lnTo>
                        <a:pt x="4802" y="3208"/>
                      </a:lnTo>
                      <a:lnTo>
                        <a:pt x="4011" y="3552"/>
                      </a:lnTo>
                      <a:lnTo>
                        <a:pt x="3842" y="3552"/>
                      </a:lnTo>
                      <a:lnTo>
                        <a:pt x="2373" y="4125"/>
                      </a:lnTo>
                      <a:lnTo>
                        <a:pt x="1977" y="4239"/>
                      </a:lnTo>
                      <a:lnTo>
                        <a:pt x="339" y="4812"/>
                      </a:lnTo>
                      <a:lnTo>
                        <a:pt x="0" y="5041"/>
                      </a:lnTo>
                      <a:lnTo>
                        <a:pt x="452" y="9624"/>
                      </a:lnTo>
                      <a:lnTo>
                        <a:pt x="508" y="9395"/>
                      </a:lnTo>
                      <a:lnTo>
                        <a:pt x="678" y="8937"/>
                      </a:lnTo>
                      <a:lnTo>
                        <a:pt x="791" y="8708"/>
                      </a:lnTo>
                      <a:lnTo>
                        <a:pt x="904" y="8593"/>
                      </a:lnTo>
                      <a:lnTo>
                        <a:pt x="1017" y="8478"/>
                      </a:lnTo>
                      <a:lnTo>
                        <a:pt x="1017" y="8364"/>
                      </a:lnTo>
                      <a:lnTo>
                        <a:pt x="1073" y="8135"/>
                      </a:lnTo>
                      <a:lnTo>
                        <a:pt x="1130" y="8020"/>
                      </a:lnTo>
                      <a:lnTo>
                        <a:pt x="1243" y="7791"/>
                      </a:lnTo>
                      <a:lnTo>
                        <a:pt x="1469" y="7333"/>
                      </a:lnTo>
                      <a:lnTo>
                        <a:pt x="1525" y="7218"/>
                      </a:lnTo>
                      <a:lnTo>
                        <a:pt x="1582" y="6874"/>
                      </a:lnTo>
                      <a:lnTo>
                        <a:pt x="1582" y="6760"/>
                      </a:lnTo>
                      <a:lnTo>
                        <a:pt x="1695" y="6760"/>
                      </a:lnTo>
                      <a:lnTo>
                        <a:pt x="1751" y="6760"/>
                      </a:lnTo>
                      <a:lnTo>
                        <a:pt x="1864" y="6874"/>
                      </a:lnTo>
                      <a:lnTo>
                        <a:pt x="1977" y="6989"/>
                      </a:lnTo>
                      <a:lnTo>
                        <a:pt x="2090" y="6874"/>
                      </a:lnTo>
                      <a:lnTo>
                        <a:pt x="2203" y="6416"/>
                      </a:lnTo>
                      <a:lnTo>
                        <a:pt x="2316" y="5843"/>
                      </a:lnTo>
                      <a:lnTo>
                        <a:pt x="2373" y="5729"/>
                      </a:lnTo>
                      <a:lnTo>
                        <a:pt x="2429" y="5614"/>
                      </a:lnTo>
                      <a:lnTo>
                        <a:pt x="2429" y="5385"/>
                      </a:lnTo>
                      <a:lnTo>
                        <a:pt x="2486" y="5156"/>
                      </a:lnTo>
                      <a:lnTo>
                        <a:pt x="2542" y="4927"/>
                      </a:lnTo>
                      <a:lnTo>
                        <a:pt x="2599" y="4927"/>
                      </a:lnTo>
                      <a:lnTo>
                        <a:pt x="2655" y="4927"/>
                      </a:lnTo>
                      <a:lnTo>
                        <a:pt x="2655" y="5041"/>
                      </a:lnTo>
                      <a:lnTo>
                        <a:pt x="2655" y="5270"/>
                      </a:lnTo>
                      <a:lnTo>
                        <a:pt x="2712" y="5500"/>
                      </a:lnTo>
                      <a:lnTo>
                        <a:pt x="2881" y="5614"/>
                      </a:lnTo>
                      <a:lnTo>
                        <a:pt x="3051" y="5614"/>
                      </a:lnTo>
                      <a:lnTo>
                        <a:pt x="3220" y="5614"/>
                      </a:lnTo>
                      <a:lnTo>
                        <a:pt x="3446" y="5614"/>
                      </a:lnTo>
                      <a:lnTo>
                        <a:pt x="3559" y="5729"/>
                      </a:lnTo>
                      <a:lnTo>
                        <a:pt x="3616" y="5614"/>
                      </a:lnTo>
                      <a:lnTo>
                        <a:pt x="3672" y="5500"/>
                      </a:lnTo>
                      <a:lnTo>
                        <a:pt x="3616" y="5385"/>
                      </a:lnTo>
                      <a:lnTo>
                        <a:pt x="3672" y="5270"/>
                      </a:lnTo>
                      <a:lnTo>
                        <a:pt x="3672" y="5156"/>
                      </a:lnTo>
                      <a:lnTo>
                        <a:pt x="3729" y="5041"/>
                      </a:lnTo>
                      <a:lnTo>
                        <a:pt x="3785" y="4927"/>
                      </a:lnTo>
                      <a:lnTo>
                        <a:pt x="3729" y="4812"/>
                      </a:lnTo>
                      <a:lnTo>
                        <a:pt x="3672" y="4698"/>
                      </a:lnTo>
                      <a:lnTo>
                        <a:pt x="3729" y="4583"/>
                      </a:lnTo>
                      <a:lnTo>
                        <a:pt x="3842" y="4583"/>
                      </a:lnTo>
                      <a:lnTo>
                        <a:pt x="4011" y="4354"/>
                      </a:lnTo>
                      <a:lnTo>
                        <a:pt x="4124" y="4354"/>
                      </a:lnTo>
                      <a:lnTo>
                        <a:pt x="4181" y="4354"/>
                      </a:lnTo>
                      <a:lnTo>
                        <a:pt x="4237" y="4354"/>
                      </a:lnTo>
                      <a:lnTo>
                        <a:pt x="4294" y="4239"/>
                      </a:lnTo>
                      <a:lnTo>
                        <a:pt x="4350" y="4010"/>
                      </a:lnTo>
                      <a:lnTo>
                        <a:pt x="4407" y="3895"/>
                      </a:lnTo>
                      <a:lnTo>
                        <a:pt x="4520" y="3781"/>
                      </a:lnTo>
                      <a:lnTo>
                        <a:pt x="4689" y="3666"/>
                      </a:lnTo>
                      <a:lnTo>
                        <a:pt x="4802" y="3781"/>
                      </a:lnTo>
                      <a:lnTo>
                        <a:pt x="5085" y="4125"/>
                      </a:lnTo>
                      <a:lnTo>
                        <a:pt x="5198" y="4239"/>
                      </a:lnTo>
                      <a:lnTo>
                        <a:pt x="5367" y="4125"/>
                      </a:lnTo>
                      <a:lnTo>
                        <a:pt x="5480" y="4125"/>
                      </a:lnTo>
                      <a:lnTo>
                        <a:pt x="5537" y="4125"/>
                      </a:lnTo>
                      <a:lnTo>
                        <a:pt x="5593" y="4010"/>
                      </a:lnTo>
                      <a:lnTo>
                        <a:pt x="5650" y="3895"/>
                      </a:lnTo>
                      <a:lnTo>
                        <a:pt x="5706" y="4010"/>
                      </a:lnTo>
                      <a:lnTo>
                        <a:pt x="5819" y="4125"/>
                      </a:lnTo>
                      <a:lnTo>
                        <a:pt x="5819" y="4239"/>
                      </a:lnTo>
                      <a:lnTo>
                        <a:pt x="5763" y="4468"/>
                      </a:lnTo>
                      <a:lnTo>
                        <a:pt x="5706" y="4583"/>
                      </a:lnTo>
                      <a:lnTo>
                        <a:pt x="5763" y="4698"/>
                      </a:lnTo>
                      <a:lnTo>
                        <a:pt x="5876" y="4927"/>
                      </a:lnTo>
                      <a:lnTo>
                        <a:pt x="5932" y="4927"/>
                      </a:lnTo>
                      <a:lnTo>
                        <a:pt x="5989" y="4812"/>
                      </a:lnTo>
                      <a:lnTo>
                        <a:pt x="6102" y="4812"/>
                      </a:lnTo>
                      <a:lnTo>
                        <a:pt x="6102" y="4927"/>
                      </a:lnTo>
                      <a:lnTo>
                        <a:pt x="6045" y="5156"/>
                      </a:lnTo>
                      <a:lnTo>
                        <a:pt x="6045" y="5385"/>
                      </a:lnTo>
                      <a:lnTo>
                        <a:pt x="6102" y="5500"/>
                      </a:lnTo>
                      <a:lnTo>
                        <a:pt x="6215" y="5614"/>
                      </a:lnTo>
                      <a:lnTo>
                        <a:pt x="6271" y="5729"/>
                      </a:lnTo>
                      <a:lnTo>
                        <a:pt x="6271" y="5843"/>
                      </a:lnTo>
                      <a:lnTo>
                        <a:pt x="6271" y="6072"/>
                      </a:lnTo>
                      <a:lnTo>
                        <a:pt x="6441" y="6302"/>
                      </a:lnTo>
                      <a:lnTo>
                        <a:pt x="6554" y="6302"/>
                      </a:lnTo>
                      <a:lnTo>
                        <a:pt x="6723" y="6416"/>
                      </a:lnTo>
                      <a:lnTo>
                        <a:pt x="6780" y="6302"/>
                      </a:lnTo>
                      <a:lnTo>
                        <a:pt x="7006" y="6531"/>
                      </a:lnTo>
                      <a:lnTo>
                        <a:pt x="7119" y="6645"/>
                      </a:lnTo>
                      <a:lnTo>
                        <a:pt x="7232" y="6645"/>
                      </a:lnTo>
                      <a:lnTo>
                        <a:pt x="7345" y="6760"/>
                      </a:lnTo>
                      <a:lnTo>
                        <a:pt x="7345" y="6874"/>
                      </a:lnTo>
                      <a:lnTo>
                        <a:pt x="7345" y="6989"/>
                      </a:lnTo>
                      <a:lnTo>
                        <a:pt x="7288" y="7218"/>
                      </a:lnTo>
                      <a:lnTo>
                        <a:pt x="7175" y="7447"/>
                      </a:lnTo>
                      <a:lnTo>
                        <a:pt x="7175" y="7676"/>
                      </a:lnTo>
                      <a:lnTo>
                        <a:pt x="7175" y="7791"/>
                      </a:lnTo>
                      <a:lnTo>
                        <a:pt x="7288" y="8020"/>
                      </a:lnTo>
                      <a:lnTo>
                        <a:pt x="7458" y="8135"/>
                      </a:lnTo>
                      <a:lnTo>
                        <a:pt x="7627" y="8249"/>
                      </a:lnTo>
                      <a:lnTo>
                        <a:pt x="7910" y="8249"/>
                      </a:lnTo>
                      <a:lnTo>
                        <a:pt x="8192" y="8364"/>
                      </a:lnTo>
                      <a:lnTo>
                        <a:pt x="8248" y="8708"/>
                      </a:lnTo>
                      <a:lnTo>
                        <a:pt x="8305" y="8822"/>
                      </a:lnTo>
                      <a:lnTo>
                        <a:pt x="8418" y="8822"/>
                      </a:lnTo>
                      <a:lnTo>
                        <a:pt x="8587" y="8822"/>
                      </a:lnTo>
                      <a:lnTo>
                        <a:pt x="8757" y="9051"/>
                      </a:lnTo>
                      <a:lnTo>
                        <a:pt x="8983" y="8364"/>
                      </a:lnTo>
                      <a:lnTo>
                        <a:pt x="9152" y="8593"/>
                      </a:lnTo>
                      <a:lnTo>
                        <a:pt x="9491" y="9051"/>
                      </a:lnTo>
                      <a:lnTo>
                        <a:pt x="9152" y="10082"/>
                      </a:lnTo>
                      <a:lnTo>
                        <a:pt x="9152" y="10426"/>
                      </a:lnTo>
                      <a:lnTo>
                        <a:pt x="9209" y="10770"/>
                      </a:lnTo>
                      <a:lnTo>
                        <a:pt x="9209" y="10884"/>
                      </a:lnTo>
                      <a:lnTo>
                        <a:pt x="9152" y="11114"/>
                      </a:lnTo>
                      <a:lnTo>
                        <a:pt x="9096" y="11114"/>
                      </a:lnTo>
                      <a:lnTo>
                        <a:pt x="8983" y="11343"/>
                      </a:lnTo>
                      <a:lnTo>
                        <a:pt x="8983" y="11457"/>
                      </a:lnTo>
                      <a:lnTo>
                        <a:pt x="8983" y="11801"/>
                      </a:lnTo>
                      <a:lnTo>
                        <a:pt x="8926" y="11916"/>
                      </a:lnTo>
                      <a:lnTo>
                        <a:pt x="8757" y="12145"/>
                      </a:lnTo>
                      <a:lnTo>
                        <a:pt x="8700" y="12259"/>
                      </a:lnTo>
                      <a:lnTo>
                        <a:pt x="8644" y="12489"/>
                      </a:lnTo>
                      <a:lnTo>
                        <a:pt x="8587" y="12718"/>
                      </a:lnTo>
                      <a:lnTo>
                        <a:pt x="8587" y="12947"/>
                      </a:lnTo>
                      <a:lnTo>
                        <a:pt x="8531" y="13176"/>
                      </a:lnTo>
                      <a:lnTo>
                        <a:pt x="8531" y="13520"/>
                      </a:lnTo>
                      <a:lnTo>
                        <a:pt x="8531" y="13863"/>
                      </a:lnTo>
                      <a:lnTo>
                        <a:pt x="8531" y="14093"/>
                      </a:lnTo>
                      <a:lnTo>
                        <a:pt x="8644" y="14436"/>
                      </a:lnTo>
                      <a:lnTo>
                        <a:pt x="8757" y="14551"/>
                      </a:lnTo>
                      <a:lnTo>
                        <a:pt x="8813" y="14780"/>
                      </a:lnTo>
                      <a:lnTo>
                        <a:pt x="8926" y="14780"/>
                      </a:lnTo>
                      <a:lnTo>
                        <a:pt x="8983" y="14665"/>
                      </a:lnTo>
                      <a:lnTo>
                        <a:pt x="9209" y="14322"/>
                      </a:lnTo>
                      <a:lnTo>
                        <a:pt x="9378" y="14207"/>
                      </a:lnTo>
                      <a:lnTo>
                        <a:pt x="9491" y="13978"/>
                      </a:lnTo>
                      <a:lnTo>
                        <a:pt x="9435" y="13749"/>
                      </a:lnTo>
                      <a:lnTo>
                        <a:pt x="9435" y="13634"/>
                      </a:lnTo>
                      <a:lnTo>
                        <a:pt x="9491" y="13520"/>
                      </a:lnTo>
                      <a:lnTo>
                        <a:pt x="9491" y="13291"/>
                      </a:lnTo>
                      <a:lnTo>
                        <a:pt x="9548" y="13291"/>
                      </a:lnTo>
                      <a:lnTo>
                        <a:pt x="9604" y="13291"/>
                      </a:lnTo>
                      <a:lnTo>
                        <a:pt x="9774" y="13863"/>
                      </a:lnTo>
                      <a:lnTo>
                        <a:pt x="9830" y="14207"/>
                      </a:lnTo>
                      <a:lnTo>
                        <a:pt x="10000" y="14436"/>
                      </a:lnTo>
                      <a:lnTo>
                        <a:pt x="10056" y="14665"/>
                      </a:lnTo>
                      <a:lnTo>
                        <a:pt x="10169" y="14780"/>
                      </a:lnTo>
                      <a:lnTo>
                        <a:pt x="10226" y="14780"/>
                      </a:lnTo>
                      <a:lnTo>
                        <a:pt x="10282" y="14665"/>
                      </a:lnTo>
                      <a:lnTo>
                        <a:pt x="10282" y="14551"/>
                      </a:lnTo>
                      <a:lnTo>
                        <a:pt x="10169" y="14322"/>
                      </a:lnTo>
                      <a:lnTo>
                        <a:pt x="10169" y="14093"/>
                      </a:lnTo>
                      <a:lnTo>
                        <a:pt x="10169" y="13978"/>
                      </a:lnTo>
                      <a:lnTo>
                        <a:pt x="10226" y="13978"/>
                      </a:lnTo>
                      <a:lnTo>
                        <a:pt x="10282" y="13978"/>
                      </a:lnTo>
                      <a:lnTo>
                        <a:pt x="10395" y="14322"/>
                      </a:lnTo>
                      <a:lnTo>
                        <a:pt x="10395" y="14551"/>
                      </a:lnTo>
                      <a:lnTo>
                        <a:pt x="10508" y="14780"/>
                      </a:lnTo>
                      <a:lnTo>
                        <a:pt x="10621" y="15009"/>
                      </a:lnTo>
                      <a:lnTo>
                        <a:pt x="10678" y="15009"/>
                      </a:lnTo>
                      <a:lnTo>
                        <a:pt x="10678" y="14895"/>
                      </a:lnTo>
                      <a:lnTo>
                        <a:pt x="10734" y="14551"/>
                      </a:lnTo>
                      <a:lnTo>
                        <a:pt x="10960" y="14665"/>
                      </a:lnTo>
                      <a:lnTo>
                        <a:pt x="11017" y="14895"/>
                      </a:lnTo>
                      <a:lnTo>
                        <a:pt x="11073" y="14895"/>
                      </a:lnTo>
                      <a:lnTo>
                        <a:pt x="11186" y="14895"/>
                      </a:lnTo>
                      <a:lnTo>
                        <a:pt x="11299" y="14895"/>
                      </a:lnTo>
                      <a:lnTo>
                        <a:pt x="11412" y="15009"/>
                      </a:lnTo>
                      <a:lnTo>
                        <a:pt x="11412" y="15238"/>
                      </a:lnTo>
                      <a:lnTo>
                        <a:pt x="11525" y="15353"/>
                      </a:lnTo>
                      <a:lnTo>
                        <a:pt x="11582" y="15238"/>
                      </a:lnTo>
                      <a:lnTo>
                        <a:pt x="11695" y="15238"/>
                      </a:lnTo>
                      <a:lnTo>
                        <a:pt x="11751" y="15124"/>
                      </a:lnTo>
                      <a:lnTo>
                        <a:pt x="11695" y="14780"/>
                      </a:lnTo>
                      <a:lnTo>
                        <a:pt x="11751" y="14780"/>
                      </a:lnTo>
                      <a:lnTo>
                        <a:pt x="11864" y="14780"/>
                      </a:lnTo>
                      <a:lnTo>
                        <a:pt x="11864" y="14895"/>
                      </a:lnTo>
                      <a:lnTo>
                        <a:pt x="11864" y="15238"/>
                      </a:lnTo>
                      <a:lnTo>
                        <a:pt x="11921" y="15467"/>
                      </a:lnTo>
                      <a:lnTo>
                        <a:pt x="12090" y="15467"/>
                      </a:lnTo>
                      <a:lnTo>
                        <a:pt x="12147" y="15697"/>
                      </a:lnTo>
                      <a:lnTo>
                        <a:pt x="12203" y="15926"/>
                      </a:lnTo>
                      <a:lnTo>
                        <a:pt x="12316" y="15926"/>
                      </a:lnTo>
                      <a:lnTo>
                        <a:pt x="12316" y="15697"/>
                      </a:lnTo>
                      <a:lnTo>
                        <a:pt x="12260" y="15582"/>
                      </a:lnTo>
                      <a:lnTo>
                        <a:pt x="12203" y="15353"/>
                      </a:lnTo>
                      <a:lnTo>
                        <a:pt x="12260" y="15238"/>
                      </a:lnTo>
                      <a:lnTo>
                        <a:pt x="12203" y="15124"/>
                      </a:lnTo>
                      <a:lnTo>
                        <a:pt x="12090" y="14895"/>
                      </a:lnTo>
                      <a:lnTo>
                        <a:pt x="11977" y="14665"/>
                      </a:lnTo>
                      <a:lnTo>
                        <a:pt x="11921" y="14322"/>
                      </a:lnTo>
                      <a:lnTo>
                        <a:pt x="11921" y="14207"/>
                      </a:lnTo>
                      <a:lnTo>
                        <a:pt x="11921" y="13978"/>
                      </a:lnTo>
                      <a:lnTo>
                        <a:pt x="11921" y="13863"/>
                      </a:lnTo>
                      <a:lnTo>
                        <a:pt x="11864" y="13749"/>
                      </a:lnTo>
                      <a:lnTo>
                        <a:pt x="11808" y="13749"/>
                      </a:lnTo>
                      <a:lnTo>
                        <a:pt x="11695" y="13863"/>
                      </a:lnTo>
                      <a:lnTo>
                        <a:pt x="11582" y="13863"/>
                      </a:lnTo>
                      <a:lnTo>
                        <a:pt x="11525" y="13863"/>
                      </a:lnTo>
                      <a:lnTo>
                        <a:pt x="11412" y="13520"/>
                      </a:lnTo>
                      <a:lnTo>
                        <a:pt x="11243" y="13405"/>
                      </a:lnTo>
                      <a:lnTo>
                        <a:pt x="10847" y="12947"/>
                      </a:lnTo>
                      <a:lnTo>
                        <a:pt x="10734" y="12718"/>
                      </a:lnTo>
                      <a:lnTo>
                        <a:pt x="10734" y="12603"/>
                      </a:lnTo>
                      <a:lnTo>
                        <a:pt x="10734" y="12489"/>
                      </a:lnTo>
                      <a:lnTo>
                        <a:pt x="10791" y="12489"/>
                      </a:lnTo>
                      <a:lnTo>
                        <a:pt x="10847" y="12489"/>
                      </a:lnTo>
                      <a:lnTo>
                        <a:pt x="10960" y="12718"/>
                      </a:lnTo>
                      <a:lnTo>
                        <a:pt x="11017" y="12832"/>
                      </a:lnTo>
                      <a:lnTo>
                        <a:pt x="11130" y="12832"/>
                      </a:lnTo>
                      <a:lnTo>
                        <a:pt x="11186" y="12832"/>
                      </a:lnTo>
                      <a:lnTo>
                        <a:pt x="11299" y="12947"/>
                      </a:lnTo>
                      <a:lnTo>
                        <a:pt x="11525" y="13291"/>
                      </a:lnTo>
                      <a:lnTo>
                        <a:pt x="11582" y="13520"/>
                      </a:lnTo>
                      <a:lnTo>
                        <a:pt x="11638" y="13520"/>
                      </a:lnTo>
                      <a:lnTo>
                        <a:pt x="11751" y="13520"/>
                      </a:lnTo>
                      <a:lnTo>
                        <a:pt x="11808" y="13520"/>
                      </a:lnTo>
                      <a:lnTo>
                        <a:pt x="11864" y="13176"/>
                      </a:lnTo>
                      <a:lnTo>
                        <a:pt x="11864" y="13061"/>
                      </a:lnTo>
                      <a:lnTo>
                        <a:pt x="11695" y="12947"/>
                      </a:lnTo>
                      <a:lnTo>
                        <a:pt x="11525" y="12603"/>
                      </a:lnTo>
                      <a:lnTo>
                        <a:pt x="11356" y="12259"/>
                      </a:lnTo>
                      <a:lnTo>
                        <a:pt x="11243" y="12030"/>
                      </a:lnTo>
                      <a:lnTo>
                        <a:pt x="11186" y="11801"/>
                      </a:lnTo>
                      <a:lnTo>
                        <a:pt x="11130" y="11457"/>
                      </a:lnTo>
                      <a:lnTo>
                        <a:pt x="11130" y="11228"/>
                      </a:lnTo>
                      <a:lnTo>
                        <a:pt x="11073" y="10999"/>
                      </a:lnTo>
                      <a:lnTo>
                        <a:pt x="11073" y="10655"/>
                      </a:lnTo>
                      <a:lnTo>
                        <a:pt x="11017" y="10312"/>
                      </a:lnTo>
                      <a:lnTo>
                        <a:pt x="10960" y="10197"/>
                      </a:lnTo>
                      <a:lnTo>
                        <a:pt x="10960" y="10082"/>
                      </a:lnTo>
                      <a:lnTo>
                        <a:pt x="10904" y="9968"/>
                      </a:lnTo>
                      <a:lnTo>
                        <a:pt x="10847" y="9853"/>
                      </a:lnTo>
                      <a:lnTo>
                        <a:pt x="10904" y="9624"/>
                      </a:lnTo>
                      <a:lnTo>
                        <a:pt x="10960" y="9510"/>
                      </a:lnTo>
                      <a:lnTo>
                        <a:pt x="11017" y="9395"/>
                      </a:lnTo>
                      <a:lnTo>
                        <a:pt x="11017" y="9166"/>
                      </a:lnTo>
                      <a:lnTo>
                        <a:pt x="10960" y="9051"/>
                      </a:lnTo>
                      <a:lnTo>
                        <a:pt x="10791" y="9166"/>
                      </a:lnTo>
                      <a:lnTo>
                        <a:pt x="10791" y="9051"/>
                      </a:lnTo>
                      <a:lnTo>
                        <a:pt x="10847" y="8822"/>
                      </a:lnTo>
                      <a:lnTo>
                        <a:pt x="10847" y="8593"/>
                      </a:lnTo>
                      <a:lnTo>
                        <a:pt x="10847" y="8478"/>
                      </a:lnTo>
                      <a:lnTo>
                        <a:pt x="10791" y="8364"/>
                      </a:lnTo>
                      <a:lnTo>
                        <a:pt x="10847" y="8249"/>
                      </a:lnTo>
                      <a:lnTo>
                        <a:pt x="10904" y="8249"/>
                      </a:lnTo>
                      <a:lnTo>
                        <a:pt x="11017" y="8478"/>
                      </a:lnTo>
                      <a:lnTo>
                        <a:pt x="11073" y="8364"/>
                      </a:lnTo>
                      <a:lnTo>
                        <a:pt x="11073" y="8249"/>
                      </a:lnTo>
                      <a:lnTo>
                        <a:pt x="11017" y="8020"/>
                      </a:lnTo>
                      <a:lnTo>
                        <a:pt x="10847" y="7676"/>
                      </a:lnTo>
                      <a:lnTo>
                        <a:pt x="10904" y="7562"/>
                      </a:lnTo>
                      <a:lnTo>
                        <a:pt x="10960" y="7676"/>
                      </a:lnTo>
                      <a:lnTo>
                        <a:pt x="11130" y="7676"/>
                      </a:lnTo>
                      <a:lnTo>
                        <a:pt x="11186" y="7562"/>
                      </a:lnTo>
                      <a:lnTo>
                        <a:pt x="11130" y="7333"/>
                      </a:lnTo>
                      <a:lnTo>
                        <a:pt x="11073" y="7218"/>
                      </a:lnTo>
                      <a:lnTo>
                        <a:pt x="10960" y="7218"/>
                      </a:lnTo>
                      <a:lnTo>
                        <a:pt x="10847" y="7104"/>
                      </a:lnTo>
                      <a:lnTo>
                        <a:pt x="10791" y="6874"/>
                      </a:lnTo>
                      <a:lnTo>
                        <a:pt x="10791" y="6760"/>
                      </a:lnTo>
                      <a:lnTo>
                        <a:pt x="11017" y="6874"/>
                      </a:lnTo>
                      <a:lnTo>
                        <a:pt x="11073" y="6760"/>
                      </a:lnTo>
                      <a:lnTo>
                        <a:pt x="11073" y="6645"/>
                      </a:lnTo>
                      <a:lnTo>
                        <a:pt x="10960" y="6416"/>
                      </a:lnTo>
                      <a:lnTo>
                        <a:pt x="10847" y="6416"/>
                      </a:lnTo>
                      <a:lnTo>
                        <a:pt x="10791" y="6302"/>
                      </a:lnTo>
                      <a:lnTo>
                        <a:pt x="10621" y="6302"/>
                      </a:lnTo>
                      <a:lnTo>
                        <a:pt x="10565" y="5843"/>
                      </a:lnTo>
                      <a:lnTo>
                        <a:pt x="10395" y="5843"/>
                      </a:lnTo>
                      <a:close/>
                    </a:path>
                  </a:pathLst>
                </a:custGeom>
                <a:solidFill>
                  <a:srgbClr val="FF0000"/>
                </a:solidFill>
                <a:ln w="9525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defTabSz="121917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39" name="Massachusetts">
                  <a:extLst>
                    <a:ext uri="{FF2B5EF4-FFF2-40B4-BE49-F238E27FC236}">
                      <a16:creationId xmlns:a16="http://schemas.microsoft.com/office/drawing/2014/main" id="{EE37B7D5-75D1-2A57-4D93-C6D94408CDF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8241625" y="4457700"/>
                  <a:ext cx="2009775" cy="981075"/>
                </a:xfrm>
                <a:custGeom>
                  <a:avLst/>
                  <a:gdLst>
                    <a:gd name="T0" fmla="*/ 2147483647 w 16384"/>
                    <a:gd name="T1" fmla="*/ 2147483647 h 16384"/>
                    <a:gd name="T2" fmla="*/ 2147483647 w 16384"/>
                    <a:gd name="T3" fmla="*/ 2147483647 h 16384"/>
                    <a:gd name="T4" fmla="*/ 2147483647 w 16384"/>
                    <a:gd name="T5" fmla="*/ 2147483647 h 16384"/>
                    <a:gd name="T6" fmla="*/ 2147483647 w 16384"/>
                    <a:gd name="T7" fmla="*/ 2147483647 h 16384"/>
                    <a:gd name="T8" fmla="*/ 2147483647 w 16384"/>
                    <a:gd name="T9" fmla="*/ 2147483647 h 16384"/>
                    <a:gd name="T10" fmla="*/ 2147483647 w 16384"/>
                    <a:gd name="T11" fmla="*/ 2147483647 h 16384"/>
                    <a:gd name="T12" fmla="*/ 2147483647 w 16384"/>
                    <a:gd name="T13" fmla="*/ 2147483647 h 16384"/>
                    <a:gd name="T14" fmla="*/ 2147483647 w 16384"/>
                    <a:gd name="T15" fmla="*/ 0 h 16384"/>
                    <a:gd name="T16" fmla="*/ 2147483647 w 16384"/>
                    <a:gd name="T17" fmla="*/ 2147483647 h 16384"/>
                    <a:gd name="T18" fmla="*/ 2147483647 w 16384"/>
                    <a:gd name="T19" fmla="*/ 2147483647 h 16384"/>
                    <a:gd name="T20" fmla="*/ 2147483647 w 16384"/>
                    <a:gd name="T21" fmla="*/ 2147483647 h 16384"/>
                    <a:gd name="T22" fmla="*/ 2147483647 w 16384"/>
                    <a:gd name="T23" fmla="*/ 2147483647 h 16384"/>
                    <a:gd name="T24" fmla="*/ 2147483647 w 16384"/>
                    <a:gd name="T25" fmla="*/ 2147483647 h 16384"/>
                    <a:gd name="T26" fmla="*/ 2147483647 w 16384"/>
                    <a:gd name="T27" fmla="*/ 2147483647 h 16384"/>
                    <a:gd name="T28" fmla="*/ 2147483647 w 16384"/>
                    <a:gd name="T29" fmla="*/ 2147483647 h 16384"/>
                    <a:gd name="T30" fmla="*/ 2147483647 w 16384"/>
                    <a:gd name="T31" fmla="*/ 2147483647 h 16384"/>
                    <a:gd name="T32" fmla="*/ 2147483647 w 16384"/>
                    <a:gd name="T33" fmla="*/ 2147483647 h 16384"/>
                    <a:gd name="T34" fmla="*/ 2147483647 w 16384"/>
                    <a:gd name="T35" fmla="*/ 2147483647 h 16384"/>
                    <a:gd name="T36" fmla="*/ 2147483647 w 16384"/>
                    <a:gd name="T37" fmla="*/ 2147483647 h 16384"/>
                    <a:gd name="T38" fmla="*/ 2147483647 w 16384"/>
                    <a:gd name="T39" fmla="*/ 2147483647 h 16384"/>
                    <a:gd name="T40" fmla="*/ 2147483647 w 16384"/>
                    <a:gd name="T41" fmla="*/ 2147483647 h 16384"/>
                    <a:gd name="T42" fmla="*/ 2147483647 w 16384"/>
                    <a:gd name="T43" fmla="*/ 2147483647 h 16384"/>
                    <a:gd name="T44" fmla="*/ 2147483647 w 16384"/>
                    <a:gd name="T45" fmla="*/ 2147483647 h 16384"/>
                    <a:gd name="T46" fmla="*/ 2147483647 w 16384"/>
                    <a:gd name="T47" fmla="*/ 2147483647 h 16384"/>
                    <a:gd name="T48" fmla="*/ 2147483647 w 16384"/>
                    <a:gd name="T49" fmla="*/ 2147483647 h 16384"/>
                    <a:gd name="T50" fmla="*/ 2147483647 w 16384"/>
                    <a:gd name="T51" fmla="*/ 2147483647 h 16384"/>
                    <a:gd name="T52" fmla="*/ 2147483647 w 16384"/>
                    <a:gd name="T53" fmla="*/ 2147483647 h 16384"/>
                    <a:gd name="T54" fmla="*/ 2147483647 w 16384"/>
                    <a:gd name="T55" fmla="*/ 2147483647 h 16384"/>
                    <a:gd name="T56" fmla="*/ 2147483647 w 16384"/>
                    <a:gd name="T57" fmla="*/ 2147483647 h 16384"/>
                    <a:gd name="T58" fmla="*/ 2147483647 w 16384"/>
                    <a:gd name="T59" fmla="*/ 2147483647 h 16384"/>
                    <a:gd name="T60" fmla="*/ 2147483647 w 16384"/>
                    <a:gd name="T61" fmla="*/ 2147483647 h 16384"/>
                    <a:gd name="T62" fmla="*/ 2147483647 w 16384"/>
                    <a:gd name="T63" fmla="*/ 2147483647 h 16384"/>
                    <a:gd name="T64" fmla="*/ 2147483647 w 16384"/>
                    <a:gd name="T65" fmla="*/ 2147483647 h 16384"/>
                    <a:gd name="T66" fmla="*/ 2147483647 w 16384"/>
                    <a:gd name="T67" fmla="*/ 2147483647 h 16384"/>
                    <a:gd name="T68" fmla="*/ 2147483647 w 16384"/>
                    <a:gd name="T69" fmla="*/ 2147483647 h 16384"/>
                    <a:gd name="T70" fmla="*/ 2147483647 w 16384"/>
                    <a:gd name="T71" fmla="*/ 2147483647 h 16384"/>
                    <a:gd name="T72" fmla="*/ 2147483647 w 16384"/>
                    <a:gd name="T73" fmla="*/ 2147483647 h 16384"/>
                    <a:gd name="T74" fmla="*/ 2147483647 w 16384"/>
                    <a:gd name="T75" fmla="*/ 2147483647 h 16384"/>
                    <a:gd name="T76" fmla="*/ 2147483647 w 16384"/>
                    <a:gd name="T77" fmla="*/ 2147483647 h 16384"/>
                    <a:gd name="T78" fmla="*/ 2147483647 w 16384"/>
                    <a:gd name="T79" fmla="*/ 2147483647 h 16384"/>
                    <a:gd name="T80" fmla="*/ 2147483647 w 16384"/>
                    <a:gd name="T81" fmla="*/ 2147483647 h 16384"/>
                    <a:gd name="T82" fmla="*/ 2147483647 w 16384"/>
                    <a:gd name="T83" fmla="*/ 2147483647 h 16384"/>
                    <a:gd name="T84" fmla="*/ 2147483647 w 16384"/>
                    <a:gd name="T85" fmla="*/ 2147483647 h 16384"/>
                    <a:gd name="T86" fmla="*/ 2147483647 w 16384"/>
                    <a:gd name="T87" fmla="*/ 2147483647 h 16384"/>
                    <a:gd name="T88" fmla="*/ 2147483647 w 16384"/>
                    <a:gd name="T89" fmla="*/ 2147483647 h 16384"/>
                    <a:gd name="T90" fmla="*/ 2147483647 w 16384"/>
                    <a:gd name="T91" fmla="*/ 2147483647 h 16384"/>
                    <a:gd name="T92" fmla="*/ 2147483647 w 16384"/>
                    <a:gd name="T93" fmla="*/ 2147483647 h 16384"/>
                    <a:gd name="T94" fmla="*/ 2147483647 w 16384"/>
                    <a:gd name="T95" fmla="*/ 2147483647 h 16384"/>
                    <a:gd name="T96" fmla="*/ 2147483647 w 16384"/>
                    <a:gd name="T97" fmla="*/ 2147483647 h 16384"/>
                    <a:gd name="T98" fmla="*/ 2147483647 w 16384"/>
                    <a:gd name="T99" fmla="*/ 2147483647 h 16384"/>
                    <a:gd name="T100" fmla="*/ 2147483647 w 16384"/>
                    <a:gd name="T101" fmla="*/ 2147483647 h 16384"/>
                    <a:gd name="T102" fmla="*/ 2147483647 w 16384"/>
                    <a:gd name="T103" fmla="*/ 2147483647 h 16384"/>
                    <a:gd name="T104" fmla="*/ 2147483647 w 16384"/>
                    <a:gd name="T105" fmla="*/ 2147483647 h 16384"/>
                    <a:gd name="T106" fmla="*/ 2147483647 w 16384"/>
                    <a:gd name="T107" fmla="*/ 2147483647 h 16384"/>
                    <a:gd name="T108" fmla="*/ 2147483647 w 16384"/>
                    <a:gd name="T109" fmla="*/ 2147483647 h 16384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w 16384"/>
                    <a:gd name="T166" fmla="*/ 0 h 16384"/>
                    <a:gd name="T167" fmla="*/ 16384 w 16384"/>
                    <a:gd name="T168" fmla="*/ 16384 h 16384"/>
                  </a:gdLst>
                  <a:ahLst/>
                  <a:cxnLst>
                    <a:cxn ang="T110">
                      <a:pos x="T0" y="T1"/>
                    </a:cxn>
                    <a:cxn ang="T111">
                      <a:pos x="T2" y="T3"/>
                    </a:cxn>
                    <a:cxn ang="T112">
                      <a:pos x="T4" y="T5"/>
                    </a:cxn>
                    <a:cxn ang="T113">
                      <a:pos x="T6" y="T7"/>
                    </a:cxn>
                    <a:cxn ang="T114">
                      <a:pos x="T8" y="T9"/>
                    </a:cxn>
                    <a:cxn ang="T115">
                      <a:pos x="T10" y="T11"/>
                    </a:cxn>
                    <a:cxn ang="T116">
                      <a:pos x="T12" y="T13"/>
                    </a:cxn>
                    <a:cxn ang="T117">
                      <a:pos x="T14" y="T15"/>
                    </a:cxn>
                    <a:cxn ang="T118">
                      <a:pos x="T16" y="T17"/>
                    </a:cxn>
                    <a:cxn ang="T119">
                      <a:pos x="T18" y="T19"/>
                    </a:cxn>
                    <a:cxn ang="T120">
                      <a:pos x="T20" y="T21"/>
                    </a:cxn>
                    <a:cxn ang="T121">
                      <a:pos x="T22" y="T23"/>
                    </a:cxn>
                    <a:cxn ang="T122">
                      <a:pos x="T24" y="T25"/>
                    </a:cxn>
                    <a:cxn ang="T123">
                      <a:pos x="T26" y="T27"/>
                    </a:cxn>
                    <a:cxn ang="T124">
                      <a:pos x="T28" y="T29"/>
                    </a:cxn>
                    <a:cxn ang="T125">
                      <a:pos x="T30" y="T31"/>
                    </a:cxn>
                    <a:cxn ang="T126">
                      <a:pos x="T32" y="T33"/>
                    </a:cxn>
                    <a:cxn ang="T127">
                      <a:pos x="T34" y="T35"/>
                    </a:cxn>
                    <a:cxn ang="T128">
                      <a:pos x="T36" y="T37"/>
                    </a:cxn>
                    <a:cxn ang="T129">
                      <a:pos x="T38" y="T39"/>
                    </a:cxn>
                    <a:cxn ang="T130">
                      <a:pos x="T40" y="T41"/>
                    </a:cxn>
                    <a:cxn ang="T131">
                      <a:pos x="T42" y="T43"/>
                    </a:cxn>
                    <a:cxn ang="T132">
                      <a:pos x="T44" y="T45"/>
                    </a:cxn>
                    <a:cxn ang="T133">
                      <a:pos x="T46" y="T47"/>
                    </a:cxn>
                    <a:cxn ang="T134">
                      <a:pos x="T48" y="T49"/>
                    </a:cxn>
                    <a:cxn ang="T135">
                      <a:pos x="T50" y="T51"/>
                    </a:cxn>
                    <a:cxn ang="T136">
                      <a:pos x="T52" y="T53"/>
                    </a:cxn>
                    <a:cxn ang="T137">
                      <a:pos x="T54" y="T55"/>
                    </a:cxn>
                    <a:cxn ang="T138">
                      <a:pos x="T56" y="T57"/>
                    </a:cxn>
                    <a:cxn ang="T139">
                      <a:pos x="T58" y="T59"/>
                    </a:cxn>
                    <a:cxn ang="T140">
                      <a:pos x="T60" y="T61"/>
                    </a:cxn>
                    <a:cxn ang="T141">
                      <a:pos x="T62" y="T63"/>
                    </a:cxn>
                    <a:cxn ang="T142">
                      <a:pos x="T64" y="T65"/>
                    </a:cxn>
                    <a:cxn ang="T143">
                      <a:pos x="T66" y="T67"/>
                    </a:cxn>
                    <a:cxn ang="T144">
                      <a:pos x="T68" y="T69"/>
                    </a:cxn>
                    <a:cxn ang="T145">
                      <a:pos x="T70" y="T71"/>
                    </a:cxn>
                    <a:cxn ang="T146">
                      <a:pos x="T72" y="T73"/>
                    </a:cxn>
                    <a:cxn ang="T147">
                      <a:pos x="T74" y="T75"/>
                    </a:cxn>
                    <a:cxn ang="T148">
                      <a:pos x="T76" y="T77"/>
                    </a:cxn>
                    <a:cxn ang="T149">
                      <a:pos x="T78" y="T79"/>
                    </a:cxn>
                    <a:cxn ang="T150">
                      <a:pos x="T80" y="T81"/>
                    </a:cxn>
                    <a:cxn ang="T151">
                      <a:pos x="T82" y="T83"/>
                    </a:cxn>
                    <a:cxn ang="T152">
                      <a:pos x="T84" y="T85"/>
                    </a:cxn>
                    <a:cxn ang="T153">
                      <a:pos x="T86" y="T87"/>
                    </a:cxn>
                    <a:cxn ang="T154">
                      <a:pos x="T88" y="T89"/>
                    </a:cxn>
                    <a:cxn ang="T155">
                      <a:pos x="T90" y="T91"/>
                    </a:cxn>
                    <a:cxn ang="T156">
                      <a:pos x="T92" y="T93"/>
                    </a:cxn>
                    <a:cxn ang="T157">
                      <a:pos x="T94" y="T95"/>
                    </a:cxn>
                    <a:cxn ang="T158">
                      <a:pos x="T96" y="T97"/>
                    </a:cxn>
                    <a:cxn ang="T159">
                      <a:pos x="T98" y="T99"/>
                    </a:cxn>
                    <a:cxn ang="T160">
                      <a:pos x="T100" y="T101"/>
                    </a:cxn>
                    <a:cxn ang="T161">
                      <a:pos x="T102" y="T103"/>
                    </a:cxn>
                    <a:cxn ang="T162">
                      <a:pos x="T104" y="T105"/>
                    </a:cxn>
                    <a:cxn ang="T163">
                      <a:pos x="T106" y="T107"/>
                    </a:cxn>
                    <a:cxn ang="T164">
                      <a:pos x="T108" y="T109"/>
                    </a:cxn>
                  </a:cxnLst>
                  <a:rect l="T165" t="T166" r="T167" b="T168"/>
                  <a:pathLst>
                    <a:path w="16384" h="16384">
                      <a:moveTo>
                        <a:pt x="10440" y="6313"/>
                      </a:moveTo>
                      <a:lnTo>
                        <a:pt x="10364" y="6163"/>
                      </a:lnTo>
                      <a:lnTo>
                        <a:pt x="10516" y="6012"/>
                      </a:lnTo>
                      <a:lnTo>
                        <a:pt x="10592" y="6012"/>
                      </a:lnTo>
                      <a:lnTo>
                        <a:pt x="10516" y="5862"/>
                      </a:lnTo>
                      <a:lnTo>
                        <a:pt x="10516" y="5562"/>
                      </a:lnTo>
                      <a:lnTo>
                        <a:pt x="10516" y="5411"/>
                      </a:lnTo>
                      <a:lnTo>
                        <a:pt x="10592" y="5111"/>
                      </a:lnTo>
                      <a:lnTo>
                        <a:pt x="10745" y="4960"/>
                      </a:lnTo>
                      <a:lnTo>
                        <a:pt x="10973" y="4509"/>
                      </a:lnTo>
                      <a:lnTo>
                        <a:pt x="11050" y="4359"/>
                      </a:lnTo>
                      <a:lnTo>
                        <a:pt x="11050" y="4209"/>
                      </a:lnTo>
                      <a:lnTo>
                        <a:pt x="10897" y="4209"/>
                      </a:lnTo>
                      <a:lnTo>
                        <a:pt x="10821" y="4058"/>
                      </a:lnTo>
                      <a:lnTo>
                        <a:pt x="10897" y="3908"/>
                      </a:lnTo>
                      <a:lnTo>
                        <a:pt x="10973" y="3607"/>
                      </a:lnTo>
                      <a:lnTo>
                        <a:pt x="11354" y="3307"/>
                      </a:lnTo>
                      <a:lnTo>
                        <a:pt x="11507" y="3157"/>
                      </a:lnTo>
                      <a:lnTo>
                        <a:pt x="11583" y="2856"/>
                      </a:lnTo>
                      <a:lnTo>
                        <a:pt x="11507" y="2555"/>
                      </a:lnTo>
                      <a:lnTo>
                        <a:pt x="11354" y="2255"/>
                      </a:lnTo>
                      <a:lnTo>
                        <a:pt x="11126" y="2405"/>
                      </a:lnTo>
                      <a:lnTo>
                        <a:pt x="11126" y="1954"/>
                      </a:lnTo>
                      <a:lnTo>
                        <a:pt x="11050" y="1954"/>
                      </a:lnTo>
                      <a:lnTo>
                        <a:pt x="10897" y="1954"/>
                      </a:lnTo>
                      <a:lnTo>
                        <a:pt x="10821" y="1653"/>
                      </a:lnTo>
                      <a:lnTo>
                        <a:pt x="10745" y="1202"/>
                      </a:lnTo>
                      <a:lnTo>
                        <a:pt x="10516" y="902"/>
                      </a:lnTo>
                      <a:lnTo>
                        <a:pt x="10516" y="752"/>
                      </a:lnTo>
                      <a:lnTo>
                        <a:pt x="10592" y="451"/>
                      </a:lnTo>
                      <a:lnTo>
                        <a:pt x="10516" y="150"/>
                      </a:lnTo>
                      <a:lnTo>
                        <a:pt x="10288" y="0"/>
                      </a:lnTo>
                      <a:lnTo>
                        <a:pt x="10211" y="0"/>
                      </a:lnTo>
                      <a:lnTo>
                        <a:pt x="9754" y="451"/>
                      </a:lnTo>
                      <a:lnTo>
                        <a:pt x="9678" y="601"/>
                      </a:lnTo>
                      <a:lnTo>
                        <a:pt x="9602" y="1202"/>
                      </a:lnTo>
                      <a:lnTo>
                        <a:pt x="9526" y="1202"/>
                      </a:lnTo>
                      <a:lnTo>
                        <a:pt x="9297" y="1353"/>
                      </a:lnTo>
                      <a:lnTo>
                        <a:pt x="9145" y="1503"/>
                      </a:lnTo>
                      <a:lnTo>
                        <a:pt x="9145" y="1653"/>
                      </a:lnTo>
                      <a:lnTo>
                        <a:pt x="9145" y="2104"/>
                      </a:lnTo>
                      <a:lnTo>
                        <a:pt x="9221" y="2255"/>
                      </a:lnTo>
                      <a:lnTo>
                        <a:pt x="9068" y="2405"/>
                      </a:lnTo>
                      <a:lnTo>
                        <a:pt x="8992" y="2555"/>
                      </a:lnTo>
                      <a:lnTo>
                        <a:pt x="8916" y="2555"/>
                      </a:lnTo>
                      <a:lnTo>
                        <a:pt x="8840" y="2706"/>
                      </a:lnTo>
                      <a:lnTo>
                        <a:pt x="8764" y="3006"/>
                      </a:lnTo>
                      <a:lnTo>
                        <a:pt x="8611" y="3157"/>
                      </a:lnTo>
                      <a:lnTo>
                        <a:pt x="6858" y="3908"/>
                      </a:lnTo>
                      <a:lnTo>
                        <a:pt x="6096" y="4209"/>
                      </a:lnTo>
                      <a:lnTo>
                        <a:pt x="6020" y="4209"/>
                      </a:lnTo>
                      <a:lnTo>
                        <a:pt x="4496" y="4810"/>
                      </a:lnTo>
                      <a:lnTo>
                        <a:pt x="3582" y="5261"/>
                      </a:lnTo>
                      <a:lnTo>
                        <a:pt x="1677" y="6163"/>
                      </a:lnTo>
                      <a:lnTo>
                        <a:pt x="1219" y="6313"/>
                      </a:lnTo>
                      <a:lnTo>
                        <a:pt x="76" y="6764"/>
                      </a:lnTo>
                      <a:lnTo>
                        <a:pt x="152" y="7215"/>
                      </a:lnTo>
                      <a:lnTo>
                        <a:pt x="152" y="8568"/>
                      </a:lnTo>
                      <a:lnTo>
                        <a:pt x="152" y="9620"/>
                      </a:lnTo>
                      <a:lnTo>
                        <a:pt x="76" y="10372"/>
                      </a:lnTo>
                      <a:lnTo>
                        <a:pt x="76" y="11875"/>
                      </a:lnTo>
                      <a:lnTo>
                        <a:pt x="76" y="13829"/>
                      </a:lnTo>
                      <a:lnTo>
                        <a:pt x="0" y="14881"/>
                      </a:lnTo>
                      <a:lnTo>
                        <a:pt x="152" y="15332"/>
                      </a:lnTo>
                      <a:lnTo>
                        <a:pt x="2134" y="14430"/>
                      </a:lnTo>
                      <a:lnTo>
                        <a:pt x="2286" y="14430"/>
                      </a:lnTo>
                      <a:lnTo>
                        <a:pt x="3124" y="13979"/>
                      </a:lnTo>
                      <a:lnTo>
                        <a:pt x="3201" y="14430"/>
                      </a:lnTo>
                      <a:lnTo>
                        <a:pt x="3429" y="14280"/>
                      </a:lnTo>
                      <a:lnTo>
                        <a:pt x="3429" y="13829"/>
                      </a:lnTo>
                      <a:lnTo>
                        <a:pt x="4344" y="13528"/>
                      </a:lnTo>
                      <a:lnTo>
                        <a:pt x="4496" y="13378"/>
                      </a:lnTo>
                      <a:lnTo>
                        <a:pt x="6173" y="12626"/>
                      </a:lnTo>
                      <a:lnTo>
                        <a:pt x="6325" y="12476"/>
                      </a:lnTo>
                      <a:lnTo>
                        <a:pt x="7620" y="11875"/>
                      </a:lnTo>
                      <a:lnTo>
                        <a:pt x="7697" y="12175"/>
                      </a:lnTo>
                      <a:lnTo>
                        <a:pt x="8992" y="11273"/>
                      </a:lnTo>
                      <a:lnTo>
                        <a:pt x="9449" y="10973"/>
                      </a:lnTo>
                      <a:lnTo>
                        <a:pt x="9526" y="11424"/>
                      </a:lnTo>
                      <a:lnTo>
                        <a:pt x="9678" y="12326"/>
                      </a:lnTo>
                      <a:lnTo>
                        <a:pt x="9830" y="12326"/>
                      </a:lnTo>
                      <a:lnTo>
                        <a:pt x="9983" y="13378"/>
                      </a:lnTo>
                      <a:lnTo>
                        <a:pt x="9983" y="13528"/>
                      </a:lnTo>
                      <a:lnTo>
                        <a:pt x="10135" y="13829"/>
                      </a:lnTo>
                      <a:lnTo>
                        <a:pt x="10364" y="13829"/>
                      </a:lnTo>
                      <a:lnTo>
                        <a:pt x="10669" y="13829"/>
                      </a:lnTo>
                      <a:lnTo>
                        <a:pt x="10821" y="13829"/>
                      </a:lnTo>
                      <a:lnTo>
                        <a:pt x="10897" y="14129"/>
                      </a:lnTo>
                      <a:lnTo>
                        <a:pt x="10973" y="14430"/>
                      </a:lnTo>
                      <a:lnTo>
                        <a:pt x="11126" y="14731"/>
                      </a:lnTo>
                      <a:lnTo>
                        <a:pt x="11431" y="15933"/>
                      </a:lnTo>
                      <a:lnTo>
                        <a:pt x="11507" y="15933"/>
                      </a:lnTo>
                      <a:lnTo>
                        <a:pt x="11736" y="16384"/>
                      </a:lnTo>
                      <a:lnTo>
                        <a:pt x="11964" y="16234"/>
                      </a:lnTo>
                      <a:lnTo>
                        <a:pt x="11964" y="16083"/>
                      </a:lnTo>
                      <a:lnTo>
                        <a:pt x="11964" y="15783"/>
                      </a:lnTo>
                      <a:lnTo>
                        <a:pt x="12117" y="15783"/>
                      </a:lnTo>
                      <a:lnTo>
                        <a:pt x="12117" y="15632"/>
                      </a:lnTo>
                      <a:lnTo>
                        <a:pt x="12040" y="15332"/>
                      </a:lnTo>
                      <a:lnTo>
                        <a:pt x="12040" y="15182"/>
                      </a:lnTo>
                      <a:lnTo>
                        <a:pt x="12193" y="14731"/>
                      </a:lnTo>
                      <a:lnTo>
                        <a:pt x="12269" y="14731"/>
                      </a:lnTo>
                      <a:lnTo>
                        <a:pt x="12345" y="14881"/>
                      </a:lnTo>
                      <a:lnTo>
                        <a:pt x="12498" y="14731"/>
                      </a:lnTo>
                      <a:lnTo>
                        <a:pt x="12498" y="14430"/>
                      </a:lnTo>
                      <a:lnTo>
                        <a:pt x="12574" y="14280"/>
                      </a:lnTo>
                      <a:lnTo>
                        <a:pt x="12650" y="13979"/>
                      </a:lnTo>
                      <a:lnTo>
                        <a:pt x="12726" y="13829"/>
                      </a:lnTo>
                      <a:lnTo>
                        <a:pt x="12726" y="13077"/>
                      </a:lnTo>
                      <a:lnTo>
                        <a:pt x="12802" y="12777"/>
                      </a:lnTo>
                      <a:lnTo>
                        <a:pt x="12879" y="12626"/>
                      </a:lnTo>
                      <a:lnTo>
                        <a:pt x="13031" y="12626"/>
                      </a:lnTo>
                      <a:lnTo>
                        <a:pt x="13183" y="12626"/>
                      </a:lnTo>
                      <a:lnTo>
                        <a:pt x="13260" y="12777"/>
                      </a:lnTo>
                      <a:lnTo>
                        <a:pt x="13260" y="12927"/>
                      </a:lnTo>
                      <a:lnTo>
                        <a:pt x="13260" y="13227"/>
                      </a:lnTo>
                      <a:lnTo>
                        <a:pt x="13336" y="13979"/>
                      </a:lnTo>
                      <a:lnTo>
                        <a:pt x="13336" y="14430"/>
                      </a:lnTo>
                      <a:lnTo>
                        <a:pt x="13336" y="14881"/>
                      </a:lnTo>
                      <a:lnTo>
                        <a:pt x="14098" y="14430"/>
                      </a:lnTo>
                      <a:lnTo>
                        <a:pt x="14250" y="13979"/>
                      </a:lnTo>
                      <a:lnTo>
                        <a:pt x="14250" y="13528"/>
                      </a:lnTo>
                      <a:lnTo>
                        <a:pt x="14326" y="13378"/>
                      </a:lnTo>
                      <a:lnTo>
                        <a:pt x="14479" y="13227"/>
                      </a:lnTo>
                      <a:lnTo>
                        <a:pt x="14631" y="13227"/>
                      </a:lnTo>
                      <a:lnTo>
                        <a:pt x="14707" y="13077"/>
                      </a:lnTo>
                      <a:lnTo>
                        <a:pt x="14936" y="12927"/>
                      </a:lnTo>
                      <a:lnTo>
                        <a:pt x="15089" y="12927"/>
                      </a:lnTo>
                      <a:lnTo>
                        <a:pt x="15165" y="12626"/>
                      </a:lnTo>
                      <a:lnTo>
                        <a:pt x="15317" y="12326"/>
                      </a:lnTo>
                      <a:lnTo>
                        <a:pt x="15393" y="12326"/>
                      </a:lnTo>
                      <a:lnTo>
                        <a:pt x="15546" y="12326"/>
                      </a:lnTo>
                      <a:lnTo>
                        <a:pt x="15698" y="12175"/>
                      </a:lnTo>
                      <a:lnTo>
                        <a:pt x="15851" y="12025"/>
                      </a:lnTo>
                      <a:lnTo>
                        <a:pt x="16079" y="12025"/>
                      </a:lnTo>
                      <a:lnTo>
                        <a:pt x="16155" y="12175"/>
                      </a:lnTo>
                      <a:lnTo>
                        <a:pt x="16232" y="12777"/>
                      </a:lnTo>
                      <a:lnTo>
                        <a:pt x="16308" y="12777"/>
                      </a:lnTo>
                      <a:lnTo>
                        <a:pt x="16384" y="12626"/>
                      </a:lnTo>
                      <a:lnTo>
                        <a:pt x="16384" y="12025"/>
                      </a:lnTo>
                      <a:lnTo>
                        <a:pt x="16308" y="11724"/>
                      </a:lnTo>
                      <a:lnTo>
                        <a:pt x="16155" y="11123"/>
                      </a:lnTo>
                      <a:lnTo>
                        <a:pt x="16155" y="10973"/>
                      </a:lnTo>
                      <a:lnTo>
                        <a:pt x="16155" y="10672"/>
                      </a:lnTo>
                      <a:lnTo>
                        <a:pt x="16079" y="10372"/>
                      </a:lnTo>
                      <a:lnTo>
                        <a:pt x="16003" y="10221"/>
                      </a:lnTo>
                      <a:lnTo>
                        <a:pt x="16003" y="10071"/>
                      </a:lnTo>
                      <a:lnTo>
                        <a:pt x="16079" y="9921"/>
                      </a:lnTo>
                      <a:lnTo>
                        <a:pt x="16003" y="9620"/>
                      </a:lnTo>
                      <a:lnTo>
                        <a:pt x="15622" y="8568"/>
                      </a:lnTo>
                      <a:lnTo>
                        <a:pt x="15393" y="7967"/>
                      </a:lnTo>
                      <a:lnTo>
                        <a:pt x="15089" y="7666"/>
                      </a:lnTo>
                      <a:lnTo>
                        <a:pt x="14936" y="7516"/>
                      </a:lnTo>
                      <a:lnTo>
                        <a:pt x="14707" y="7516"/>
                      </a:lnTo>
                      <a:lnTo>
                        <a:pt x="14479" y="7516"/>
                      </a:lnTo>
                      <a:lnTo>
                        <a:pt x="14403" y="7666"/>
                      </a:lnTo>
                      <a:lnTo>
                        <a:pt x="14326" y="7816"/>
                      </a:lnTo>
                      <a:lnTo>
                        <a:pt x="14403" y="8117"/>
                      </a:lnTo>
                      <a:lnTo>
                        <a:pt x="14479" y="8267"/>
                      </a:lnTo>
                      <a:lnTo>
                        <a:pt x="14555" y="8267"/>
                      </a:lnTo>
                      <a:lnTo>
                        <a:pt x="14631" y="8117"/>
                      </a:lnTo>
                      <a:lnTo>
                        <a:pt x="14707" y="7967"/>
                      </a:lnTo>
                      <a:lnTo>
                        <a:pt x="14784" y="7967"/>
                      </a:lnTo>
                      <a:lnTo>
                        <a:pt x="14860" y="7967"/>
                      </a:lnTo>
                      <a:lnTo>
                        <a:pt x="15089" y="8117"/>
                      </a:lnTo>
                      <a:lnTo>
                        <a:pt x="15165" y="8267"/>
                      </a:lnTo>
                      <a:lnTo>
                        <a:pt x="15241" y="8718"/>
                      </a:lnTo>
                      <a:lnTo>
                        <a:pt x="15241" y="9019"/>
                      </a:lnTo>
                      <a:lnTo>
                        <a:pt x="15317" y="9169"/>
                      </a:lnTo>
                      <a:lnTo>
                        <a:pt x="15470" y="9019"/>
                      </a:lnTo>
                      <a:lnTo>
                        <a:pt x="15546" y="9169"/>
                      </a:lnTo>
                      <a:lnTo>
                        <a:pt x="15698" y="9921"/>
                      </a:lnTo>
                      <a:lnTo>
                        <a:pt x="15698" y="10221"/>
                      </a:lnTo>
                      <a:lnTo>
                        <a:pt x="15698" y="10522"/>
                      </a:lnTo>
                      <a:lnTo>
                        <a:pt x="15546" y="10822"/>
                      </a:lnTo>
                      <a:lnTo>
                        <a:pt x="15165" y="11273"/>
                      </a:lnTo>
                      <a:lnTo>
                        <a:pt x="14860" y="11724"/>
                      </a:lnTo>
                      <a:lnTo>
                        <a:pt x="14555" y="12025"/>
                      </a:lnTo>
                      <a:lnTo>
                        <a:pt x="14174" y="12025"/>
                      </a:lnTo>
                      <a:lnTo>
                        <a:pt x="13869" y="12025"/>
                      </a:lnTo>
                      <a:lnTo>
                        <a:pt x="13641" y="11875"/>
                      </a:lnTo>
                      <a:lnTo>
                        <a:pt x="13564" y="11724"/>
                      </a:lnTo>
                      <a:lnTo>
                        <a:pt x="13488" y="11424"/>
                      </a:lnTo>
                      <a:lnTo>
                        <a:pt x="13260" y="10522"/>
                      </a:lnTo>
                      <a:lnTo>
                        <a:pt x="13183" y="10221"/>
                      </a:lnTo>
                      <a:lnTo>
                        <a:pt x="12955" y="10071"/>
                      </a:lnTo>
                      <a:lnTo>
                        <a:pt x="12802" y="10221"/>
                      </a:lnTo>
                      <a:lnTo>
                        <a:pt x="12726" y="10221"/>
                      </a:lnTo>
                      <a:lnTo>
                        <a:pt x="12574" y="10071"/>
                      </a:lnTo>
                      <a:lnTo>
                        <a:pt x="12498" y="9770"/>
                      </a:lnTo>
                      <a:lnTo>
                        <a:pt x="12498" y="9319"/>
                      </a:lnTo>
                      <a:lnTo>
                        <a:pt x="12574" y="9319"/>
                      </a:lnTo>
                      <a:lnTo>
                        <a:pt x="12650" y="9319"/>
                      </a:lnTo>
                      <a:lnTo>
                        <a:pt x="12726" y="9470"/>
                      </a:lnTo>
                      <a:lnTo>
                        <a:pt x="12802" y="9470"/>
                      </a:lnTo>
                      <a:lnTo>
                        <a:pt x="12879" y="9319"/>
                      </a:lnTo>
                      <a:lnTo>
                        <a:pt x="12802" y="9169"/>
                      </a:lnTo>
                      <a:lnTo>
                        <a:pt x="12726" y="9169"/>
                      </a:lnTo>
                      <a:lnTo>
                        <a:pt x="12574" y="8417"/>
                      </a:lnTo>
                      <a:lnTo>
                        <a:pt x="12498" y="8417"/>
                      </a:lnTo>
                      <a:lnTo>
                        <a:pt x="12193" y="8117"/>
                      </a:lnTo>
                      <a:lnTo>
                        <a:pt x="12117" y="7967"/>
                      </a:lnTo>
                      <a:lnTo>
                        <a:pt x="12117" y="7666"/>
                      </a:lnTo>
                      <a:lnTo>
                        <a:pt x="12040" y="7365"/>
                      </a:lnTo>
                      <a:lnTo>
                        <a:pt x="11736" y="7215"/>
                      </a:lnTo>
                      <a:lnTo>
                        <a:pt x="11431" y="7215"/>
                      </a:lnTo>
                      <a:lnTo>
                        <a:pt x="11354" y="6914"/>
                      </a:lnTo>
                      <a:lnTo>
                        <a:pt x="11202" y="6764"/>
                      </a:lnTo>
                      <a:lnTo>
                        <a:pt x="11202" y="7215"/>
                      </a:lnTo>
                      <a:lnTo>
                        <a:pt x="11202" y="7365"/>
                      </a:lnTo>
                      <a:lnTo>
                        <a:pt x="11126" y="7516"/>
                      </a:lnTo>
                      <a:lnTo>
                        <a:pt x="10973" y="7666"/>
                      </a:lnTo>
                      <a:lnTo>
                        <a:pt x="10897" y="7666"/>
                      </a:lnTo>
                      <a:lnTo>
                        <a:pt x="10669" y="7365"/>
                      </a:lnTo>
                      <a:lnTo>
                        <a:pt x="10592" y="7215"/>
                      </a:lnTo>
                      <a:lnTo>
                        <a:pt x="10516" y="7065"/>
                      </a:lnTo>
                      <a:lnTo>
                        <a:pt x="10516" y="6914"/>
                      </a:lnTo>
                      <a:lnTo>
                        <a:pt x="10440" y="6614"/>
                      </a:lnTo>
                      <a:lnTo>
                        <a:pt x="10440" y="6463"/>
                      </a:lnTo>
                      <a:lnTo>
                        <a:pt x="10440" y="6313"/>
                      </a:lnTo>
                      <a:close/>
                    </a:path>
                  </a:pathLst>
                </a:custGeom>
                <a:solidFill>
                  <a:srgbClr val="FF0000"/>
                </a:solidFill>
                <a:ln w="9525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defTabSz="121917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</a:endParaRPr>
                </a:p>
              </p:txBody>
            </p:sp>
            <p:grpSp>
              <p:nvGrpSpPr>
                <p:cNvPr id="40" name="Michigan">
                  <a:extLst>
                    <a:ext uri="{FF2B5EF4-FFF2-40B4-BE49-F238E27FC236}">
                      <a16:creationId xmlns:a16="http://schemas.microsoft.com/office/drawing/2014/main" id="{3D20B481-AF8A-8690-455E-F31C3721657B}"/>
                    </a:ext>
                  </a:extLst>
                </p:cNvPr>
                <p:cNvGrpSpPr>
                  <a:grpSpLocks/>
                </p:cNvGrpSpPr>
                <p:nvPr/>
              </p:nvGrpSpPr>
              <p:grpSpPr bwMode="auto">
                <a:xfrm>
                  <a:off x="18792825" y="2733675"/>
                  <a:ext cx="4495800" cy="4010025"/>
                  <a:chOff x="18792825" y="2733675"/>
                  <a:chExt cx="21690" cy="447"/>
                </a:xfrm>
              </p:grpSpPr>
              <p:sp>
                <p:nvSpPr>
                  <p:cNvPr id="152" name="Michigan2">
                    <a:extLst>
                      <a:ext uri="{FF2B5EF4-FFF2-40B4-BE49-F238E27FC236}">
                        <a16:creationId xmlns:a16="http://schemas.microsoft.com/office/drawing/2014/main" id="{CD925E84-FF68-A570-382D-D8D55C0DEF18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18792825" y="2733675"/>
                    <a:ext cx="16470" cy="186"/>
                  </a:xfrm>
                  <a:custGeom>
                    <a:avLst/>
                    <a:gdLst>
                      <a:gd name="T0" fmla="*/ 7904 w 16384"/>
                      <a:gd name="T1" fmla="*/ 0 h 16384"/>
                      <a:gd name="T2" fmla="*/ 7904 w 16384"/>
                      <a:gd name="T3" fmla="*/ 0 h 16384"/>
                      <a:gd name="T4" fmla="*/ 7234 w 16384"/>
                      <a:gd name="T5" fmla="*/ 0 h 16384"/>
                      <a:gd name="T6" fmla="*/ 7234 w 16384"/>
                      <a:gd name="T7" fmla="*/ 0 h 16384"/>
                      <a:gd name="T8" fmla="*/ 7840 w 16384"/>
                      <a:gd name="T9" fmla="*/ 0 h 16384"/>
                      <a:gd name="T10" fmla="*/ 8843 w 16384"/>
                      <a:gd name="T11" fmla="*/ 0 h 16384"/>
                      <a:gd name="T12" fmla="*/ 9581 w 16384"/>
                      <a:gd name="T13" fmla="*/ 0 h 16384"/>
                      <a:gd name="T14" fmla="*/ 8575 w 16384"/>
                      <a:gd name="T15" fmla="*/ 0 h 16384"/>
                      <a:gd name="T16" fmla="*/ 6898 w 16384"/>
                      <a:gd name="T17" fmla="*/ 0 h 16384"/>
                      <a:gd name="T18" fmla="*/ 5894 w 16384"/>
                      <a:gd name="T19" fmla="*/ 0 h 16384"/>
                      <a:gd name="T20" fmla="*/ 5026 w 16384"/>
                      <a:gd name="T21" fmla="*/ 0 h 16384"/>
                      <a:gd name="T22" fmla="*/ 3750 w 16384"/>
                      <a:gd name="T23" fmla="*/ 0 h 16384"/>
                      <a:gd name="T24" fmla="*/ 2276 w 16384"/>
                      <a:gd name="T25" fmla="*/ 0 h 16384"/>
                      <a:gd name="T26" fmla="*/ 801 w 16384"/>
                      <a:gd name="T27" fmla="*/ 0 h 16384"/>
                      <a:gd name="T28" fmla="*/ 406 w 16384"/>
                      <a:gd name="T29" fmla="*/ 0 h 16384"/>
                      <a:gd name="T30" fmla="*/ 1204 w 16384"/>
                      <a:gd name="T31" fmla="*/ 0 h 16384"/>
                      <a:gd name="T32" fmla="*/ 5291 w 16384"/>
                      <a:gd name="T33" fmla="*/ 0 h 16384"/>
                      <a:gd name="T34" fmla="*/ 6830 w 16384"/>
                      <a:gd name="T35" fmla="*/ 0 h 16384"/>
                      <a:gd name="T36" fmla="*/ 8575 w 16384"/>
                      <a:gd name="T37" fmla="*/ 0 h 16384"/>
                      <a:gd name="T38" fmla="*/ 8775 w 16384"/>
                      <a:gd name="T39" fmla="*/ 0 h 16384"/>
                      <a:gd name="T40" fmla="*/ 9979 w 16384"/>
                      <a:gd name="T41" fmla="*/ 0 h 16384"/>
                      <a:gd name="T42" fmla="*/ 10117 w 16384"/>
                      <a:gd name="T43" fmla="*/ 0 h 16384"/>
                      <a:gd name="T44" fmla="*/ 10653 w 16384"/>
                      <a:gd name="T45" fmla="*/ 0 h 16384"/>
                      <a:gd name="T46" fmla="*/ 11053 w 16384"/>
                      <a:gd name="T47" fmla="*/ 0 h 16384"/>
                      <a:gd name="T48" fmla="*/ 12259 w 16384"/>
                      <a:gd name="T49" fmla="*/ 0 h 16384"/>
                      <a:gd name="T50" fmla="*/ 12997 w 16384"/>
                      <a:gd name="T51" fmla="*/ 0 h 16384"/>
                      <a:gd name="T52" fmla="*/ 13264 w 16384"/>
                      <a:gd name="T53" fmla="*/ 0 h 16384"/>
                      <a:gd name="T54" fmla="*/ 14134 w 16384"/>
                      <a:gd name="T55" fmla="*/ 0 h 16384"/>
                      <a:gd name="T56" fmla="*/ 14671 w 16384"/>
                      <a:gd name="T57" fmla="*/ 0 h 16384"/>
                      <a:gd name="T58" fmla="*/ 14540 w 16384"/>
                      <a:gd name="T59" fmla="*/ 0 h 16384"/>
                      <a:gd name="T60" fmla="*/ 15075 w 16384"/>
                      <a:gd name="T61" fmla="*/ 0 h 16384"/>
                      <a:gd name="T62" fmla="*/ 15606 w 16384"/>
                      <a:gd name="T63" fmla="*/ 0 h 16384"/>
                      <a:gd name="T64" fmla="*/ 17216 w 16384"/>
                      <a:gd name="T65" fmla="*/ 0 h 16384"/>
                      <a:gd name="T66" fmla="*/ 18556 w 16384"/>
                      <a:gd name="T67" fmla="*/ 0 h 16384"/>
                      <a:gd name="T68" fmla="*/ 20028 w 16384"/>
                      <a:gd name="T69" fmla="*/ 0 h 16384"/>
                      <a:gd name="T70" fmla="*/ 21233 w 16384"/>
                      <a:gd name="T71" fmla="*/ 0 h 16384"/>
                      <a:gd name="T72" fmla="*/ 21568 w 16384"/>
                      <a:gd name="T73" fmla="*/ 0 h 16384"/>
                      <a:gd name="T74" fmla="*/ 22445 w 16384"/>
                      <a:gd name="T75" fmla="*/ 0 h 16384"/>
                      <a:gd name="T76" fmla="*/ 23242 w 16384"/>
                      <a:gd name="T77" fmla="*/ 0 h 16384"/>
                      <a:gd name="T78" fmla="*/ 24113 w 16384"/>
                      <a:gd name="T79" fmla="*/ 0 h 16384"/>
                      <a:gd name="T80" fmla="*/ 24183 w 16384"/>
                      <a:gd name="T81" fmla="*/ 0 h 16384"/>
                      <a:gd name="T82" fmla="*/ 23242 w 16384"/>
                      <a:gd name="T83" fmla="*/ 0 h 16384"/>
                      <a:gd name="T84" fmla="*/ 22915 w 16384"/>
                      <a:gd name="T85" fmla="*/ 0 h 16384"/>
                      <a:gd name="T86" fmla="*/ 21836 w 16384"/>
                      <a:gd name="T87" fmla="*/ 0 h 16384"/>
                      <a:gd name="T88" fmla="*/ 20970 w 16384"/>
                      <a:gd name="T89" fmla="*/ 0 h 16384"/>
                      <a:gd name="T90" fmla="*/ 20028 w 16384"/>
                      <a:gd name="T91" fmla="*/ 0 h 16384"/>
                      <a:gd name="T92" fmla="*/ 20028 w 16384"/>
                      <a:gd name="T93" fmla="*/ 0 h 16384"/>
                      <a:gd name="T94" fmla="*/ 18423 w 16384"/>
                      <a:gd name="T95" fmla="*/ 0 h 16384"/>
                      <a:gd name="T96" fmla="*/ 16681 w 16384"/>
                      <a:gd name="T97" fmla="*/ 0 h 16384"/>
                      <a:gd name="T98" fmla="*/ 15408 w 16384"/>
                      <a:gd name="T99" fmla="*/ 0 h 16384"/>
                      <a:gd name="T100" fmla="*/ 14199 w 16384"/>
                      <a:gd name="T101" fmla="*/ 0 h 16384"/>
                      <a:gd name="T102" fmla="*/ 13062 w 16384"/>
                      <a:gd name="T103" fmla="*/ 0 h 16384"/>
                      <a:gd name="T104" fmla="*/ 12124 w 16384"/>
                      <a:gd name="T105" fmla="*/ 0 h 16384"/>
                      <a:gd name="T106" fmla="*/ 11253 w 16384"/>
                      <a:gd name="T107" fmla="*/ 0 h 16384"/>
                      <a:gd name="T108" fmla="*/ 10783 w 16384"/>
                      <a:gd name="T109" fmla="*/ 0 h 16384"/>
                      <a:gd name="T110" fmla="*/ 10051 w 16384"/>
                      <a:gd name="T111" fmla="*/ 0 h 16384"/>
                      <a:gd name="T112" fmla="*/ 9045 w 16384"/>
                      <a:gd name="T113" fmla="*/ 0 h 16384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60000 65536"/>
                      <a:gd name="T130" fmla="*/ 0 60000 65536"/>
                      <a:gd name="T131" fmla="*/ 0 60000 65536"/>
                      <a:gd name="T132" fmla="*/ 0 60000 65536"/>
                      <a:gd name="T133" fmla="*/ 0 60000 65536"/>
                      <a:gd name="T134" fmla="*/ 0 60000 65536"/>
                      <a:gd name="T135" fmla="*/ 0 60000 65536"/>
                      <a:gd name="T136" fmla="*/ 0 60000 65536"/>
                      <a:gd name="T137" fmla="*/ 0 60000 65536"/>
                      <a:gd name="T138" fmla="*/ 0 60000 65536"/>
                      <a:gd name="T139" fmla="*/ 0 60000 65536"/>
                      <a:gd name="T140" fmla="*/ 0 60000 65536"/>
                      <a:gd name="T141" fmla="*/ 0 60000 65536"/>
                      <a:gd name="T142" fmla="*/ 0 60000 65536"/>
                      <a:gd name="T143" fmla="*/ 0 60000 65536"/>
                      <a:gd name="T144" fmla="*/ 0 60000 65536"/>
                      <a:gd name="T145" fmla="*/ 0 60000 65536"/>
                      <a:gd name="T146" fmla="*/ 0 60000 65536"/>
                      <a:gd name="T147" fmla="*/ 0 60000 65536"/>
                      <a:gd name="T148" fmla="*/ 0 60000 65536"/>
                      <a:gd name="T149" fmla="*/ 0 60000 65536"/>
                      <a:gd name="T150" fmla="*/ 0 60000 65536"/>
                      <a:gd name="T151" fmla="*/ 0 60000 65536"/>
                      <a:gd name="T152" fmla="*/ 0 60000 65536"/>
                      <a:gd name="T153" fmla="*/ 0 60000 65536"/>
                      <a:gd name="T154" fmla="*/ 0 60000 65536"/>
                      <a:gd name="T155" fmla="*/ 0 60000 65536"/>
                      <a:gd name="T156" fmla="*/ 0 60000 65536"/>
                      <a:gd name="T157" fmla="*/ 0 60000 65536"/>
                      <a:gd name="T158" fmla="*/ 0 60000 65536"/>
                      <a:gd name="T159" fmla="*/ 0 60000 65536"/>
                      <a:gd name="T160" fmla="*/ 0 60000 65536"/>
                      <a:gd name="T161" fmla="*/ 0 60000 65536"/>
                      <a:gd name="T162" fmla="*/ 0 60000 65536"/>
                      <a:gd name="T163" fmla="*/ 0 60000 65536"/>
                      <a:gd name="T164" fmla="*/ 0 60000 65536"/>
                      <a:gd name="T165" fmla="*/ 0 60000 65536"/>
                      <a:gd name="T166" fmla="*/ 0 60000 65536"/>
                      <a:gd name="T167" fmla="*/ 0 60000 65536"/>
                      <a:gd name="T168" fmla="*/ 0 60000 65536"/>
                      <a:gd name="T169" fmla="*/ 0 60000 65536"/>
                      <a:gd name="T170" fmla="*/ 0 60000 65536"/>
                      <a:gd name="T171" fmla="*/ 0 w 16384"/>
                      <a:gd name="T172" fmla="*/ 0 h 16384"/>
                      <a:gd name="T173" fmla="*/ 16384 w 16384"/>
                      <a:gd name="T174" fmla="*/ 16384 h 16384"/>
                    </a:gdLst>
                    <a:ahLst/>
                    <a:cxnLst>
                      <a:cxn ang="T114">
                        <a:pos x="T0" y="T1"/>
                      </a:cxn>
                      <a:cxn ang="T115">
                        <a:pos x="T2" y="T3"/>
                      </a:cxn>
                      <a:cxn ang="T116">
                        <a:pos x="T4" y="T5"/>
                      </a:cxn>
                      <a:cxn ang="T117">
                        <a:pos x="T6" y="T7"/>
                      </a:cxn>
                      <a:cxn ang="T118">
                        <a:pos x="T8" y="T9"/>
                      </a:cxn>
                      <a:cxn ang="T119">
                        <a:pos x="T10" y="T11"/>
                      </a:cxn>
                      <a:cxn ang="T120">
                        <a:pos x="T12" y="T13"/>
                      </a:cxn>
                      <a:cxn ang="T121">
                        <a:pos x="T14" y="T15"/>
                      </a:cxn>
                      <a:cxn ang="T122">
                        <a:pos x="T16" y="T17"/>
                      </a:cxn>
                      <a:cxn ang="T123">
                        <a:pos x="T18" y="T19"/>
                      </a:cxn>
                      <a:cxn ang="T124">
                        <a:pos x="T20" y="T21"/>
                      </a:cxn>
                      <a:cxn ang="T125">
                        <a:pos x="T22" y="T23"/>
                      </a:cxn>
                      <a:cxn ang="T126">
                        <a:pos x="T24" y="T25"/>
                      </a:cxn>
                      <a:cxn ang="T127">
                        <a:pos x="T26" y="T27"/>
                      </a:cxn>
                      <a:cxn ang="T128">
                        <a:pos x="T28" y="T29"/>
                      </a:cxn>
                      <a:cxn ang="T129">
                        <a:pos x="T30" y="T31"/>
                      </a:cxn>
                      <a:cxn ang="T130">
                        <a:pos x="T32" y="T33"/>
                      </a:cxn>
                      <a:cxn ang="T131">
                        <a:pos x="T34" y="T35"/>
                      </a:cxn>
                      <a:cxn ang="T132">
                        <a:pos x="T36" y="T37"/>
                      </a:cxn>
                      <a:cxn ang="T133">
                        <a:pos x="T38" y="T39"/>
                      </a:cxn>
                      <a:cxn ang="T134">
                        <a:pos x="T40" y="T41"/>
                      </a:cxn>
                      <a:cxn ang="T135">
                        <a:pos x="T42" y="T43"/>
                      </a:cxn>
                      <a:cxn ang="T136">
                        <a:pos x="T44" y="T45"/>
                      </a:cxn>
                      <a:cxn ang="T137">
                        <a:pos x="T46" y="T47"/>
                      </a:cxn>
                      <a:cxn ang="T138">
                        <a:pos x="T48" y="T49"/>
                      </a:cxn>
                      <a:cxn ang="T139">
                        <a:pos x="T50" y="T51"/>
                      </a:cxn>
                      <a:cxn ang="T140">
                        <a:pos x="T52" y="T53"/>
                      </a:cxn>
                      <a:cxn ang="T141">
                        <a:pos x="T54" y="T55"/>
                      </a:cxn>
                      <a:cxn ang="T142">
                        <a:pos x="T56" y="T57"/>
                      </a:cxn>
                      <a:cxn ang="T143">
                        <a:pos x="T58" y="T59"/>
                      </a:cxn>
                      <a:cxn ang="T144">
                        <a:pos x="T60" y="T61"/>
                      </a:cxn>
                      <a:cxn ang="T145">
                        <a:pos x="T62" y="T63"/>
                      </a:cxn>
                      <a:cxn ang="T146">
                        <a:pos x="T64" y="T65"/>
                      </a:cxn>
                      <a:cxn ang="T147">
                        <a:pos x="T66" y="T67"/>
                      </a:cxn>
                      <a:cxn ang="T148">
                        <a:pos x="T68" y="T69"/>
                      </a:cxn>
                      <a:cxn ang="T149">
                        <a:pos x="T70" y="T71"/>
                      </a:cxn>
                      <a:cxn ang="T150">
                        <a:pos x="T72" y="T73"/>
                      </a:cxn>
                      <a:cxn ang="T151">
                        <a:pos x="T74" y="T75"/>
                      </a:cxn>
                      <a:cxn ang="T152">
                        <a:pos x="T76" y="T77"/>
                      </a:cxn>
                      <a:cxn ang="T153">
                        <a:pos x="T78" y="T79"/>
                      </a:cxn>
                      <a:cxn ang="T154">
                        <a:pos x="T80" y="T81"/>
                      </a:cxn>
                      <a:cxn ang="T155">
                        <a:pos x="T82" y="T83"/>
                      </a:cxn>
                      <a:cxn ang="T156">
                        <a:pos x="T84" y="T85"/>
                      </a:cxn>
                      <a:cxn ang="T157">
                        <a:pos x="T86" y="T87"/>
                      </a:cxn>
                      <a:cxn ang="T158">
                        <a:pos x="T88" y="T89"/>
                      </a:cxn>
                      <a:cxn ang="T159">
                        <a:pos x="T90" y="T91"/>
                      </a:cxn>
                      <a:cxn ang="T160">
                        <a:pos x="T92" y="T93"/>
                      </a:cxn>
                      <a:cxn ang="T161">
                        <a:pos x="T94" y="T95"/>
                      </a:cxn>
                      <a:cxn ang="T162">
                        <a:pos x="T96" y="T97"/>
                      </a:cxn>
                      <a:cxn ang="T163">
                        <a:pos x="T98" y="T99"/>
                      </a:cxn>
                      <a:cxn ang="T164">
                        <a:pos x="T100" y="T101"/>
                      </a:cxn>
                      <a:cxn ang="T165">
                        <a:pos x="T102" y="T103"/>
                      </a:cxn>
                      <a:cxn ang="T166">
                        <a:pos x="T104" y="T105"/>
                      </a:cxn>
                      <a:cxn ang="T167">
                        <a:pos x="T106" y="T107"/>
                      </a:cxn>
                      <a:cxn ang="T168">
                        <a:pos x="T108" y="T109"/>
                      </a:cxn>
                      <a:cxn ang="T169">
                        <a:pos x="T110" y="T111"/>
                      </a:cxn>
                      <a:cxn ang="T170">
                        <a:pos x="T112" y="T113"/>
                      </a:cxn>
                    </a:cxnLst>
                    <a:rect l="T171" t="T172" r="T173" b="T174"/>
                    <a:pathLst>
                      <a:path w="16384" h="16384">
                        <a:moveTo>
                          <a:pt x="5775" y="4030"/>
                        </a:moveTo>
                        <a:lnTo>
                          <a:pt x="5685" y="4118"/>
                        </a:lnTo>
                        <a:lnTo>
                          <a:pt x="5506" y="4118"/>
                        </a:lnTo>
                        <a:lnTo>
                          <a:pt x="5461" y="4206"/>
                        </a:lnTo>
                        <a:lnTo>
                          <a:pt x="5417" y="4381"/>
                        </a:lnTo>
                        <a:lnTo>
                          <a:pt x="5372" y="4644"/>
                        </a:lnTo>
                        <a:lnTo>
                          <a:pt x="5327" y="4644"/>
                        </a:lnTo>
                        <a:lnTo>
                          <a:pt x="5282" y="4556"/>
                        </a:lnTo>
                        <a:lnTo>
                          <a:pt x="5327" y="4381"/>
                        </a:lnTo>
                        <a:lnTo>
                          <a:pt x="5417" y="4118"/>
                        </a:lnTo>
                        <a:lnTo>
                          <a:pt x="5506" y="3943"/>
                        </a:lnTo>
                        <a:lnTo>
                          <a:pt x="5551" y="3767"/>
                        </a:lnTo>
                        <a:lnTo>
                          <a:pt x="5551" y="3680"/>
                        </a:lnTo>
                        <a:lnTo>
                          <a:pt x="5461" y="3680"/>
                        </a:lnTo>
                        <a:lnTo>
                          <a:pt x="5417" y="3855"/>
                        </a:lnTo>
                        <a:lnTo>
                          <a:pt x="5282" y="4118"/>
                        </a:lnTo>
                        <a:lnTo>
                          <a:pt x="5148" y="4293"/>
                        </a:lnTo>
                        <a:lnTo>
                          <a:pt x="5014" y="4468"/>
                        </a:lnTo>
                        <a:lnTo>
                          <a:pt x="5014" y="4644"/>
                        </a:lnTo>
                        <a:lnTo>
                          <a:pt x="4969" y="4819"/>
                        </a:lnTo>
                        <a:lnTo>
                          <a:pt x="4879" y="5082"/>
                        </a:lnTo>
                        <a:lnTo>
                          <a:pt x="4835" y="5257"/>
                        </a:lnTo>
                        <a:lnTo>
                          <a:pt x="4790" y="5169"/>
                        </a:lnTo>
                        <a:lnTo>
                          <a:pt x="4835" y="4819"/>
                        </a:lnTo>
                        <a:lnTo>
                          <a:pt x="4790" y="4644"/>
                        </a:lnTo>
                        <a:lnTo>
                          <a:pt x="4835" y="4468"/>
                        </a:lnTo>
                        <a:lnTo>
                          <a:pt x="4835" y="4206"/>
                        </a:lnTo>
                        <a:lnTo>
                          <a:pt x="4835" y="3943"/>
                        </a:lnTo>
                        <a:lnTo>
                          <a:pt x="4835" y="3855"/>
                        </a:lnTo>
                        <a:lnTo>
                          <a:pt x="4835" y="3767"/>
                        </a:lnTo>
                        <a:lnTo>
                          <a:pt x="4790" y="3592"/>
                        </a:lnTo>
                        <a:lnTo>
                          <a:pt x="4835" y="3592"/>
                        </a:lnTo>
                        <a:lnTo>
                          <a:pt x="4879" y="3680"/>
                        </a:lnTo>
                        <a:lnTo>
                          <a:pt x="4924" y="3592"/>
                        </a:lnTo>
                        <a:lnTo>
                          <a:pt x="4969" y="3505"/>
                        </a:lnTo>
                        <a:lnTo>
                          <a:pt x="5014" y="3154"/>
                        </a:lnTo>
                        <a:lnTo>
                          <a:pt x="4969" y="2979"/>
                        </a:lnTo>
                        <a:lnTo>
                          <a:pt x="5058" y="2891"/>
                        </a:lnTo>
                        <a:lnTo>
                          <a:pt x="5148" y="2804"/>
                        </a:lnTo>
                        <a:lnTo>
                          <a:pt x="5238" y="2541"/>
                        </a:lnTo>
                        <a:lnTo>
                          <a:pt x="5238" y="2453"/>
                        </a:lnTo>
                        <a:lnTo>
                          <a:pt x="5282" y="2366"/>
                        </a:lnTo>
                        <a:lnTo>
                          <a:pt x="5282" y="2278"/>
                        </a:lnTo>
                        <a:lnTo>
                          <a:pt x="5327" y="2103"/>
                        </a:lnTo>
                        <a:lnTo>
                          <a:pt x="5417" y="1928"/>
                        </a:lnTo>
                        <a:lnTo>
                          <a:pt x="5506" y="1840"/>
                        </a:lnTo>
                        <a:lnTo>
                          <a:pt x="5640" y="1489"/>
                        </a:lnTo>
                        <a:lnTo>
                          <a:pt x="5909" y="1139"/>
                        </a:lnTo>
                        <a:lnTo>
                          <a:pt x="5909" y="964"/>
                        </a:lnTo>
                        <a:lnTo>
                          <a:pt x="5909" y="876"/>
                        </a:lnTo>
                        <a:lnTo>
                          <a:pt x="5909" y="789"/>
                        </a:lnTo>
                        <a:lnTo>
                          <a:pt x="6043" y="701"/>
                        </a:lnTo>
                        <a:lnTo>
                          <a:pt x="6267" y="613"/>
                        </a:lnTo>
                        <a:lnTo>
                          <a:pt x="6312" y="526"/>
                        </a:lnTo>
                        <a:lnTo>
                          <a:pt x="6357" y="526"/>
                        </a:lnTo>
                        <a:lnTo>
                          <a:pt x="6401" y="526"/>
                        </a:lnTo>
                        <a:lnTo>
                          <a:pt x="6446" y="438"/>
                        </a:lnTo>
                        <a:lnTo>
                          <a:pt x="6446" y="350"/>
                        </a:lnTo>
                        <a:lnTo>
                          <a:pt x="6357" y="88"/>
                        </a:lnTo>
                        <a:lnTo>
                          <a:pt x="6133" y="0"/>
                        </a:lnTo>
                        <a:lnTo>
                          <a:pt x="6133" y="88"/>
                        </a:lnTo>
                        <a:lnTo>
                          <a:pt x="5999" y="0"/>
                        </a:lnTo>
                        <a:lnTo>
                          <a:pt x="5909" y="88"/>
                        </a:lnTo>
                        <a:lnTo>
                          <a:pt x="5730" y="175"/>
                        </a:lnTo>
                        <a:lnTo>
                          <a:pt x="5551" y="175"/>
                        </a:lnTo>
                        <a:lnTo>
                          <a:pt x="5417" y="263"/>
                        </a:lnTo>
                        <a:lnTo>
                          <a:pt x="5238" y="350"/>
                        </a:lnTo>
                        <a:lnTo>
                          <a:pt x="5103" y="613"/>
                        </a:lnTo>
                        <a:lnTo>
                          <a:pt x="4924" y="789"/>
                        </a:lnTo>
                        <a:lnTo>
                          <a:pt x="4835" y="876"/>
                        </a:lnTo>
                        <a:lnTo>
                          <a:pt x="4745" y="1139"/>
                        </a:lnTo>
                        <a:lnTo>
                          <a:pt x="4611" y="1577"/>
                        </a:lnTo>
                        <a:lnTo>
                          <a:pt x="4566" y="1752"/>
                        </a:lnTo>
                        <a:lnTo>
                          <a:pt x="4477" y="1928"/>
                        </a:lnTo>
                        <a:lnTo>
                          <a:pt x="4387" y="2015"/>
                        </a:lnTo>
                        <a:lnTo>
                          <a:pt x="4297" y="2103"/>
                        </a:lnTo>
                        <a:lnTo>
                          <a:pt x="4208" y="2103"/>
                        </a:lnTo>
                        <a:lnTo>
                          <a:pt x="4118" y="2278"/>
                        </a:lnTo>
                        <a:lnTo>
                          <a:pt x="4029" y="2541"/>
                        </a:lnTo>
                        <a:lnTo>
                          <a:pt x="3939" y="2628"/>
                        </a:lnTo>
                        <a:lnTo>
                          <a:pt x="3895" y="2628"/>
                        </a:lnTo>
                        <a:lnTo>
                          <a:pt x="3805" y="2891"/>
                        </a:lnTo>
                        <a:lnTo>
                          <a:pt x="3715" y="2979"/>
                        </a:lnTo>
                        <a:lnTo>
                          <a:pt x="3626" y="3067"/>
                        </a:lnTo>
                        <a:lnTo>
                          <a:pt x="3626" y="3329"/>
                        </a:lnTo>
                        <a:lnTo>
                          <a:pt x="3581" y="3592"/>
                        </a:lnTo>
                        <a:lnTo>
                          <a:pt x="3447" y="3680"/>
                        </a:lnTo>
                        <a:lnTo>
                          <a:pt x="3357" y="3767"/>
                        </a:lnTo>
                        <a:lnTo>
                          <a:pt x="3223" y="3855"/>
                        </a:lnTo>
                        <a:lnTo>
                          <a:pt x="3134" y="3855"/>
                        </a:lnTo>
                        <a:lnTo>
                          <a:pt x="3044" y="3943"/>
                        </a:lnTo>
                        <a:lnTo>
                          <a:pt x="2999" y="4030"/>
                        </a:lnTo>
                        <a:lnTo>
                          <a:pt x="2910" y="4293"/>
                        </a:lnTo>
                        <a:lnTo>
                          <a:pt x="2820" y="4556"/>
                        </a:lnTo>
                        <a:lnTo>
                          <a:pt x="2641" y="4731"/>
                        </a:lnTo>
                        <a:lnTo>
                          <a:pt x="2507" y="4906"/>
                        </a:lnTo>
                        <a:lnTo>
                          <a:pt x="2373" y="4906"/>
                        </a:lnTo>
                        <a:lnTo>
                          <a:pt x="2283" y="4906"/>
                        </a:lnTo>
                        <a:lnTo>
                          <a:pt x="2149" y="4906"/>
                        </a:lnTo>
                        <a:lnTo>
                          <a:pt x="2059" y="5082"/>
                        </a:lnTo>
                        <a:lnTo>
                          <a:pt x="1970" y="5082"/>
                        </a:lnTo>
                        <a:lnTo>
                          <a:pt x="1791" y="5082"/>
                        </a:lnTo>
                        <a:lnTo>
                          <a:pt x="1612" y="5169"/>
                        </a:lnTo>
                        <a:lnTo>
                          <a:pt x="1522" y="5257"/>
                        </a:lnTo>
                        <a:lnTo>
                          <a:pt x="1388" y="5432"/>
                        </a:lnTo>
                        <a:lnTo>
                          <a:pt x="1298" y="5607"/>
                        </a:lnTo>
                        <a:lnTo>
                          <a:pt x="1253" y="5783"/>
                        </a:lnTo>
                        <a:lnTo>
                          <a:pt x="1119" y="6045"/>
                        </a:lnTo>
                        <a:lnTo>
                          <a:pt x="985" y="6221"/>
                        </a:lnTo>
                        <a:lnTo>
                          <a:pt x="851" y="6484"/>
                        </a:lnTo>
                        <a:lnTo>
                          <a:pt x="671" y="6571"/>
                        </a:lnTo>
                        <a:lnTo>
                          <a:pt x="537" y="6659"/>
                        </a:lnTo>
                        <a:lnTo>
                          <a:pt x="313" y="6834"/>
                        </a:lnTo>
                        <a:lnTo>
                          <a:pt x="224" y="6922"/>
                        </a:lnTo>
                        <a:lnTo>
                          <a:pt x="90" y="7184"/>
                        </a:lnTo>
                        <a:lnTo>
                          <a:pt x="0" y="7184"/>
                        </a:lnTo>
                        <a:lnTo>
                          <a:pt x="45" y="7360"/>
                        </a:lnTo>
                        <a:lnTo>
                          <a:pt x="90" y="7360"/>
                        </a:lnTo>
                        <a:lnTo>
                          <a:pt x="224" y="7360"/>
                        </a:lnTo>
                        <a:lnTo>
                          <a:pt x="269" y="7535"/>
                        </a:lnTo>
                        <a:lnTo>
                          <a:pt x="313" y="7535"/>
                        </a:lnTo>
                        <a:lnTo>
                          <a:pt x="448" y="7535"/>
                        </a:lnTo>
                        <a:lnTo>
                          <a:pt x="492" y="7535"/>
                        </a:lnTo>
                        <a:lnTo>
                          <a:pt x="582" y="7710"/>
                        </a:lnTo>
                        <a:lnTo>
                          <a:pt x="627" y="7885"/>
                        </a:lnTo>
                        <a:lnTo>
                          <a:pt x="716" y="8323"/>
                        </a:lnTo>
                        <a:lnTo>
                          <a:pt x="761" y="8586"/>
                        </a:lnTo>
                        <a:lnTo>
                          <a:pt x="806" y="8674"/>
                        </a:lnTo>
                        <a:lnTo>
                          <a:pt x="851" y="8761"/>
                        </a:lnTo>
                        <a:lnTo>
                          <a:pt x="1298" y="8937"/>
                        </a:lnTo>
                        <a:lnTo>
                          <a:pt x="1388" y="8937"/>
                        </a:lnTo>
                        <a:lnTo>
                          <a:pt x="1880" y="9200"/>
                        </a:lnTo>
                        <a:lnTo>
                          <a:pt x="2775" y="9550"/>
                        </a:lnTo>
                        <a:lnTo>
                          <a:pt x="3357" y="9725"/>
                        </a:lnTo>
                        <a:lnTo>
                          <a:pt x="3447" y="9725"/>
                        </a:lnTo>
                        <a:lnTo>
                          <a:pt x="3536" y="9813"/>
                        </a:lnTo>
                        <a:lnTo>
                          <a:pt x="3671" y="9900"/>
                        </a:lnTo>
                        <a:lnTo>
                          <a:pt x="3805" y="10076"/>
                        </a:lnTo>
                        <a:lnTo>
                          <a:pt x="4029" y="10339"/>
                        </a:lnTo>
                        <a:lnTo>
                          <a:pt x="4118" y="10426"/>
                        </a:lnTo>
                        <a:lnTo>
                          <a:pt x="4297" y="10339"/>
                        </a:lnTo>
                        <a:lnTo>
                          <a:pt x="4432" y="10426"/>
                        </a:lnTo>
                        <a:lnTo>
                          <a:pt x="4521" y="10514"/>
                        </a:lnTo>
                        <a:lnTo>
                          <a:pt x="4566" y="10514"/>
                        </a:lnTo>
                        <a:lnTo>
                          <a:pt x="4656" y="10426"/>
                        </a:lnTo>
                        <a:lnTo>
                          <a:pt x="4790" y="10339"/>
                        </a:lnTo>
                        <a:lnTo>
                          <a:pt x="5014" y="10514"/>
                        </a:lnTo>
                        <a:lnTo>
                          <a:pt x="5148" y="10514"/>
                        </a:lnTo>
                        <a:lnTo>
                          <a:pt x="5238" y="10514"/>
                        </a:lnTo>
                        <a:lnTo>
                          <a:pt x="5327" y="10601"/>
                        </a:lnTo>
                        <a:lnTo>
                          <a:pt x="5551" y="10601"/>
                        </a:lnTo>
                        <a:lnTo>
                          <a:pt x="5730" y="10689"/>
                        </a:lnTo>
                        <a:lnTo>
                          <a:pt x="5775" y="10689"/>
                        </a:lnTo>
                        <a:lnTo>
                          <a:pt x="5864" y="10777"/>
                        </a:lnTo>
                        <a:lnTo>
                          <a:pt x="5909" y="10864"/>
                        </a:lnTo>
                        <a:lnTo>
                          <a:pt x="5909" y="10952"/>
                        </a:lnTo>
                        <a:lnTo>
                          <a:pt x="5954" y="11127"/>
                        </a:lnTo>
                        <a:lnTo>
                          <a:pt x="5954" y="11215"/>
                        </a:lnTo>
                        <a:lnTo>
                          <a:pt x="5864" y="11390"/>
                        </a:lnTo>
                        <a:lnTo>
                          <a:pt x="5864" y="11565"/>
                        </a:lnTo>
                        <a:lnTo>
                          <a:pt x="5909" y="11653"/>
                        </a:lnTo>
                        <a:lnTo>
                          <a:pt x="5999" y="11740"/>
                        </a:lnTo>
                        <a:lnTo>
                          <a:pt x="6088" y="11828"/>
                        </a:lnTo>
                        <a:lnTo>
                          <a:pt x="6178" y="11740"/>
                        </a:lnTo>
                        <a:lnTo>
                          <a:pt x="6222" y="11740"/>
                        </a:lnTo>
                        <a:lnTo>
                          <a:pt x="6312" y="11828"/>
                        </a:lnTo>
                        <a:lnTo>
                          <a:pt x="6491" y="11916"/>
                        </a:lnTo>
                        <a:lnTo>
                          <a:pt x="6670" y="12178"/>
                        </a:lnTo>
                        <a:lnTo>
                          <a:pt x="6760" y="12354"/>
                        </a:lnTo>
                        <a:lnTo>
                          <a:pt x="6760" y="12441"/>
                        </a:lnTo>
                        <a:lnTo>
                          <a:pt x="6670" y="12529"/>
                        </a:lnTo>
                        <a:lnTo>
                          <a:pt x="6760" y="12704"/>
                        </a:lnTo>
                        <a:lnTo>
                          <a:pt x="6804" y="12879"/>
                        </a:lnTo>
                        <a:lnTo>
                          <a:pt x="6760" y="13055"/>
                        </a:lnTo>
                        <a:lnTo>
                          <a:pt x="6715" y="13230"/>
                        </a:lnTo>
                        <a:lnTo>
                          <a:pt x="6760" y="13405"/>
                        </a:lnTo>
                        <a:lnTo>
                          <a:pt x="6760" y="13668"/>
                        </a:lnTo>
                        <a:lnTo>
                          <a:pt x="6715" y="14018"/>
                        </a:lnTo>
                        <a:lnTo>
                          <a:pt x="6670" y="14369"/>
                        </a:lnTo>
                        <a:lnTo>
                          <a:pt x="6625" y="14544"/>
                        </a:lnTo>
                        <a:lnTo>
                          <a:pt x="6715" y="14719"/>
                        </a:lnTo>
                        <a:lnTo>
                          <a:pt x="6804" y="14719"/>
                        </a:lnTo>
                        <a:lnTo>
                          <a:pt x="7028" y="14544"/>
                        </a:lnTo>
                        <a:lnTo>
                          <a:pt x="7118" y="14456"/>
                        </a:lnTo>
                        <a:lnTo>
                          <a:pt x="7207" y="14632"/>
                        </a:lnTo>
                        <a:lnTo>
                          <a:pt x="7162" y="14982"/>
                        </a:lnTo>
                        <a:lnTo>
                          <a:pt x="7073" y="15420"/>
                        </a:lnTo>
                        <a:lnTo>
                          <a:pt x="7028" y="15683"/>
                        </a:lnTo>
                        <a:lnTo>
                          <a:pt x="7073" y="15858"/>
                        </a:lnTo>
                        <a:lnTo>
                          <a:pt x="7207" y="16034"/>
                        </a:lnTo>
                        <a:lnTo>
                          <a:pt x="7297" y="16209"/>
                        </a:lnTo>
                        <a:lnTo>
                          <a:pt x="7386" y="16296"/>
                        </a:lnTo>
                        <a:lnTo>
                          <a:pt x="7476" y="16384"/>
                        </a:lnTo>
                        <a:lnTo>
                          <a:pt x="7431" y="16209"/>
                        </a:lnTo>
                        <a:lnTo>
                          <a:pt x="7476" y="15858"/>
                        </a:lnTo>
                        <a:lnTo>
                          <a:pt x="7655" y="15508"/>
                        </a:lnTo>
                        <a:lnTo>
                          <a:pt x="7834" y="14807"/>
                        </a:lnTo>
                        <a:lnTo>
                          <a:pt x="7968" y="14281"/>
                        </a:lnTo>
                        <a:lnTo>
                          <a:pt x="8102" y="13493"/>
                        </a:lnTo>
                        <a:lnTo>
                          <a:pt x="8192" y="13055"/>
                        </a:lnTo>
                        <a:lnTo>
                          <a:pt x="8237" y="12792"/>
                        </a:lnTo>
                        <a:lnTo>
                          <a:pt x="8326" y="12354"/>
                        </a:lnTo>
                        <a:lnTo>
                          <a:pt x="8461" y="12003"/>
                        </a:lnTo>
                        <a:lnTo>
                          <a:pt x="8550" y="11828"/>
                        </a:lnTo>
                        <a:lnTo>
                          <a:pt x="8595" y="11740"/>
                        </a:lnTo>
                        <a:lnTo>
                          <a:pt x="8595" y="11565"/>
                        </a:lnTo>
                        <a:lnTo>
                          <a:pt x="8550" y="11302"/>
                        </a:lnTo>
                        <a:lnTo>
                          <a:pt x="8684" y="10952"/>
                        </a:lnTo>
                        <a:lnTo>
                          <a:pt x="8684" y="10689"/>
                        </a:lnTo>
                        <a:lnTo>
                          <a:pt x="8774" y="10426"/>
                        </a:lnTo>
                        <a:lnTo>
                          <a:pt x="8863" y="10426"/>
                        </a:lnTo>
                        <a:lnTo>
                          <a:pt x="8863" y="10514"/>
                        </a:lnTo>
                        <a:lnTo>
                          <a:pt x="8774" y="11039"/>
                        </a:lnTo>
                        <a:lnTo>
                          <a:pt x="8819" y="11302"/>
                        </a:lnTo>
                        <a:lnTo>
                          <a:pt x="8819" y="11565"/>
                        </a:lnTo>
                        <a:lnTo>
                          <a:pt x="8863" y="11740"/>
                        </a:lnTo>
                        <a:lnTo>
                          <a:pt x="8863" y="11916"/>
                        </a:lnTo>
                        <a:lnTo>
                          <a:pt x="8998" y="11740"/>
                        </a:lnTo>
                        <a:lnTo>
                          <a:pt x="9132" y="11653"/>
                        </a:lnTo>
                        <a:lnTo>
                          <a:pt x="9222" y="11390"/>
                        </a:lnTo>
                        <a:lnTo>
                          <a:pt x="9311" y="11039"/>
                        </a:lnTo>
                        <a:lnTo>
                          <a:pt x="9266" y="10689"/>
                        </a:lnTo>
                        <a:lnTo>
                          <a:pt x="9311" y="10601"/>
                        </a:lnTo>
                        <a:lnTo>
                          <a:pt x="9445" y="10777"/>
                        </a:lnTo>
                        <a:lnTo>
                          <a:pt x="9535" y="10689"/>
                        </a:lnTo>
                        <a:lnTo>
                          <a:pt x="9624" y="10777"/>
                        </a:lnTo>
                        <a:lnTo>
                          <a:pt x="9714" y="10339"/>
                        </a:lnTo>
                        <a:lnTo>
                          <a:pt x="9759" y="10251"/>
                        </a:lnTo>
                        <a:lnTo>
                          <a:pt x="9848" y="10339"/>
                        </a:lnTo>
                        <a:lnTo>
                          <a:pt x="9893" y="10426"/>
                        </a:lnTo>
                        <a:lnTo>
                          <a:pt x="9893" y="10601"/>
                        </a:lnTo>
                        <a:lnTo>
                          <a:pt x="9804" y="10864"/>
                        </a:lnTo>
                        <a:lnTo>
                          <a:pt x="9804" y="11127"/>
                        </a:lnTo>
                        <a:lnTo>
                          <a:pt x="9624" y="11302"/>
                        </a:lnTo>
                        <a:lnTo>
                          <a:pt x="9580" y="11740"/>
                        </a:lnTo>
                        <a:lnTo>
                          <a:pt x="9490" y="11828"/>
                        </a:lnTo>
                        <a:lnTo>
                          <a:pt x="9490" y="12003"/>
                        </a:lnTo>
                        <a:lnTo>
                          <a:pt x="9490" y="12091"/>
                        </a:lnTo>
                        <a:lnTo>
                          <a:pt x="9669" y="12266"/>
                        </a:lnTo>
                        <a:lnTo>
                          <a:pt x="9714" y="12266"/>
                        </a:lnTo>
                        <a:lnTo>
                          <a:pt x="9759" y="12266"/>
                        </a:lnTo>
                        <a:lnTo>
                          <a:pt x="9804" y="12178"/>
                        </a:lnTo>
                        <a:lnTo>
                          <a:pt x="9759" y="12003"/>
                        </a:lnTo>
                        <a:lnTo>
                          <a:pt x="9848" y="11916"/>
                        </a:lnTo>
                        <a:lnTo>
                          <a:pt x="9848" y="11653"/>
                        </a:lnTo>
                        <a:lnTo>
                          <a:pt x="9983" y="11565"/>
                        </a:lnTo>
                        <a:lnTo>
                          <a:pt x="10027" y="11390"/>
                        </a:lnTo>
                        <a:lnTo>
                          <a:pt x="10072" y="11302"/>
                        </a:lnTo>
                        <a:lnTo>
                          <a:pt x="10206" y="11127"/>
                        </a:lnTo>
                        <a:lnTo>
                          <a:pt x="10251" y="11039"/>
                        </a:lnTo>
                        <a:lnTo>
                          <a:pt x="10385" y="10952"/>
                        </a:lnTo>
                        <a:lnTo>
                          <a:pt x="10385" y="10864"/>
                        </a:lnTo>
                        <a:lnTo>
                          <a:pt x="10430" y="10601"/>
                        </a:lnTo>
                        <a:lnTo>
                          <a:pt x="10430" y="10426"/>
                        </a:lnTo>
                        <a:lnTo>
                          <a:pt x="10430" y="10339"/>
                        </a:lnTo>
                        <a:lnTo>
                          <a:pt x="10430" y="10163"/>
                        </a:lnTo>
                        <a:lnTo>
                          <a:pt x="10520" y="9988"/>
                        </a:lnTo>
                        <a:lnTo>
                          <a:pt x="10565" y="9900"/>
                        </a:lnTo>
                        <a:lnTo>
                          <a:pt x="10744" y="9725"/>
                        </a:lnTo>
                        <a:lnTo>
                          <a:pt x="10923" y="9638"/>
                        </a:lnTo>
                        <a:lnTo>
                          <a:pt x="11191" y="9638"/>
                        </a:lnTo>
                        <a:lnTo>
                          <a:pt x="11415" y="9725"/>
                        </a:lnTo>
                        <a:lnTo>
                          <a:pt x="11460" y="9550"/>
                        </a:lnTo>
                        <a:lnTo>
                          <a:pt x="11505" y="9462"/>
                        </a:lnTo>
                        <a:lnTo>
                          <a:pt x="11549" y="9462"/>
                        </a:lnTo>
                        <a:lnTo>
                          <a:pt x="11684" y="9375"/>
                        </a:lnTo>
                        <a:lnTo>
                          <a:pt x="11773" y="9375"/>
                        </a:lnTo>
                        <a:lnTo>
                          <a:pt x="11952" y="9462"/>
                        </a:lnTo>
                        <a:lnTo>
                          <a:pt x="12042" y="9287"/>
                        </a:lnTo>
                        <a:lnTo>
                          <a:pt x="12131" y="9112"/>
                        </a:lnTo>
                        <a:lnTo>
                          <a:pt x="12266" y="8761"/>
                        </a:lnTo>
                        <a:lnTo>
                          <a:pt x="12400" y="8499"/>
                        </a:lnTo>
                        <a:lnTo>
                          <a:pt x="12579" y="8499"/>
                        </a:lnTo>
                        <a:lnTo>
                          <a:pt x="12669" y="8411"/>
                        </a:lnTo>
                        <a:lnTo>
                          <a:pt x="12758" y="8499"/>
                        </a:lnTo>
                        <a:lnTo>
                          <a:pt x="12848" y="8411"/>
                        </a:lnTo>
                        <a:lnTo>
                          <a:pt x="13027" y="8499"/>
                        </a:lnTo>
                        <a:lnTo>
                          <a:pt x="13161" y="8499"/>
                        </a:lnTo>
                        <a:lnTo>
                          <a:pt x="13250" y="8586"/>
                        </a:lnTo>
                        <a:lnTo>
                          <a:pt x="13385" y="8586"/>
                        </a:lnTo>
                        <a:lnTo>
                          <a:pt x="13564" y="8674"/>
                        </a:lnTo>
                        <a:lnTo>
                          <a:pt x="13743" y="8761"/>
                        </a:lnTo>
                        <a:lnTo>
                          <a:pt x="13877" y="8937"/>
                        </a:lnTo>
                        <a:lnTo>
                          <a:pt x="13922" y="9112"/>
                        </a:lnTo>
                        <a:lnTo>
                          <a:pt x="14056" y="9200"/>
                        </a:lnTo>
                        <a:lnTo>
                          <a:pt x="14146" y="9287"/>
                        </a:lnTo>
                        <a:lnTo>
                          <a:pt x="14146" y="9462"/>
                        </a:lnTo>
                        <a:lnTo>
                          <a:pt x="14191" y="9550"/>
                        </a:lnTo>
                        <a:lnTo>
                          <a:pt x="14280" y="9550"/>
                        </a:lnTo>
                        <a:lnTo>
                          <a:pt x="14370" y="9638"/>
                        </a:lnTo>
                        <a:lnTo>
                          <a:pt x="14414" y="9638"/>
                        </a:lnTo>
                        <a:lnTo>
                          <a:pt x="14459" y="9550"/>
                        </a:lnTo>
                        <a:lnTo>
                          <a:pt x="14414" y="9287"/>
                        </a:lnTo>
                        <a:lnTo>
                          <a:pt x="14459" y="9112"/>
                        </a:lnTo>
                        <a:lnTo>
                          <a:pt x="14414" y="9024"/>
                        </a:lnTo>
                        <a:lnTo>
                          <a:pt x="14414" y="8937"/>
                        </a:lnTo>
                        <a:lnTo>
                          <a:pt x="14504" y="8674"/>
                        </a:lnTo>
                        <a:lnTo>
                          <a:pt x="14459" y="8499"/>
                        </a:lnTo>
                        <a:lnTo>
                          <a:pt x="14549" y="8411"/>
                        </a:lnTo>
                        <a:lnTo>
                          <a:pt x="14683" y="8499"/>
                        </a:lnTo>
                        <a:lnTo>
                          <a:pt x="14817" y="8411"/>
                        </a:lnTo>
                        <a:lnTo>
                          <a:pt x="14907" y="8674"/>
                        </a:lnTo>
                        <a:lnTo>
                          <a:pt x="14952" y="8674"/>
                        </a:lnTo>
                        <a:lnTo>
                          <a:pt x="14996" y="8586"/>
                        </a:lnTo>
                        <a:lnTo>
                          <a:pt x="15086" y="8586"/>
                        </a:lnTo>
                        <a:lnTo>
                          <a:pt x="15086" y="8499"/>
                        </a:lnTo>
                        <a:lnTo>
                          <a:pt x="15175" y="8499"/>
                        </a:lnTo>
                        <a:lnTo>
                          <a:pt x="15220" y="8499"/>
                        </a:lnTo>
                        <a:lnTo>
                          <a:pt x="15310" y="8586"/>
                        </a:lnTo>
                        <a:lnTo>
                          <a:pt x="15354" y="8499"/>
                        </a:lnTo>
                        <a:lnTo>
                          <a:pt x="15399" y="8411"/>
                        </a:lnTo>
                        <a:lnTo>
                          <a:pt x="15533" y="8499"/>
                        </a:lnTo>
                        <a:lnTo>
                          <a:pt x="15668" y="8499"/>
                        </a:lnTo>
                        <a:lnTo>
                          <a:pt x="15757" y="8499"/>
                        </a:lnTo>
                        <a:lnTo>
                          <a:pt x="15847" y="8411"/>
                        </a:lnTo>
                        <a:lnTo>
                          <a:pt x="15936" y="8411"/>
                        </a:lnTo>
                        <a:lnTo>
                          <a:pt x="15981" y="8499"/>
                        </a:lnTo>
                        <a:lnTo>
                          <a:pt x="16026" y="8499"/>
                        </a:lnTo>
                        <a:lnTo>
                          <a:pt x="16115" y="8586"/>
                        </a:lnTo>
                        <a:lnTo>
                          <a:pt x="16115" y="8499"/>
                        </a:lnTo>
                        <a:lnTo>
                          <a:pt x="16205" y="8499"/>
                        </a:lnTo>
                        <a:lnTo>
                          <a:pt x="16294" y="8499"/>
                        </a:lnTo>
                        <a:lnTo>
                          <a:pt x="16384" y="8411"/>
                        </a:lnTo>
                        <a:lnTo>
                          <a:pt x="16384" y="8323"/>
                        </a:lnTo>
                        <a:lnTo>
                          <a:pt x="16384" y="8236"/>
                        </a:lnTo>
                        <a:lnTo>
                          <a:pt x="16339" y="8148"/>
                        </a:lnTo>
                        <a:lnTo>
                          <a:pt x="16250" y="8061"/>
                        </a:lnTo>
                        <a:lnTo>
                          <a:pt x="16160" y="7973"/>
                        </a:lnTo>
                        <a:lnTo>
                          <a:pt x="16071" y="7973"/>
                        </a:lnTo>
                        <a:lnTo>
                          <a:pt x="16026" y="7798"/>
                        </a:lnTo>
                        <a:lnTo>
                          <a:pt x="16026" y="7535"/>
                        </a:lnTo>
                        <a:lnTo>
                          <a:pt x="15981" y="7447"/>
                        </a:lnTo>
                        <a:lnTo>
                          <a:pt x="15847" y="7272"/>
                        </a:lnTo>
                        <a:lnTo>
                          <a:pt x="15757" y="7184"/>
                        </a:lnTo>
                        <a:lnTo>
                          <a:pt x="15623" y="7272"/>
                        </a:lnTo>
                        <a:lnTo>
                          <a:pt x="15533" y="7184"/>
                        </a:lnTo>
                        <a:lnTo>
                          <a:pt x="15489" y="7097"/>
                        </a:lnTo>
                        <a:lnTo>
                          <a:pt x="15489" y="7009"/>
                        </a:lnTo>
                        <a:lnTo>
                          <a:pt x="15533" y="6834"/>
                        </a:lnTo>
                        <a:lnTo>
                          <a:pt x="15578" y="6746"/>
                        </a:lnTo>
                        <a:lnTo>
                          <a:pt x="15489" y="6308"/>
                        </a:lnTo>
                        <a:lnTo>
                          <a:pt x="15444" y="5870"/>
                        </a:lnTo>
                        <a:lnTo>
                          <a:pt x="15354" y="5520"/>
                        </a:lnTo>
                        <a:lnTo>
                          <a:pt x="15310" y="5345"/>
                        </a:lnTo>
                        <a:lnTo>
                          <a:pt x="15175" y="5345"/>
                        </a:lnTo>
                        <a:lnTo>
                          <a:pt x="15086" y="5257"/>
                        </a:lnTo>
                        <a:lnTo>
                          <a:pt x="14996" y="5345"/>
                        </a:lnTo>
                        <a:lnTo>
                          <a:pt x="14907" y="5432"/>
                        </a:lnTo>
                        <a:lnTo>
                          <a:pt x="14817" y="5520"/>
                        </a:lnTo>
                        <a:lnTo>
                          <a:pt x="14728" y="5607"/>
                        </a:lnTo>
                        <a:lnTo>
                          <a:pt x="14638" y="5695"/>
                        </a:lnTo>
                        <a:lnTo>
                          <a:pt x="14593" y="5695"/>
                        </a:lnTo>
                        <a:lnTo>
                          <a:pt x="14549" y="5607"/>
                        </a:lnTo>
                        <a:lnTo>
                          <a:pt x="14504" y="5432"/>
                        </a:lnTo>
                        <a:lnTo>
                          <a:pt x="14325" y="5345"/>
                        </a:lnTo>
                        <a:lnTo>
                          <a:pt x="14280" y="5432"/>
                        </a:lnTo>
                        <a:lnTo>
                          <a:pt x="14235" y="5520"/>
                        </a:lnTo>
                        <a:lnTo>
                          <a:pt x="14191" y="5607"/>
                        </a:lnTo>
                        <a:lnTo>
                          <a:pt x="14101" y="5695"/>
                        </a:lnTo>
                        <a:lnTo>
                          <a:pt x="14011" y="5695"/>
                        </a:lnTo>
                        <a:lnTo>
                          <a:pt x="13967" y="5695"/>
                        </a:lnTo>
                        <a:lnTo>
                          <a:pt x="13922" y="5695"/>
                        </a:lnTo>
                        <a:lnTo>
                          <a:pt x="13743" y="5695"/>
                        </a:lnTo>
                        <a:lnTo>
                          <a:pt x="13653" y="5520"/>
                        </a:lnTo>
                        <a:lnTo>
                          <a:pt x="13519" y="5607"/>
                        </a:lnTo>
                        <a:lnTo>
                          <a:pt x="13430" y="5432"/>
                        </a:lnTo>
                        <a:lnTo>
                          <a:pt x="13385" y="5257"/>
                        </a:lnTo>
                        <a:lnTo>
                          <a:pt x="13385" y="5169"/>
                        </a:lnTo>
                        <a:lnTo>
                          <a:pt x="13385" y="4644"/>
                        </a:lnTo>
                        <a:lnTo>
                          <a:pt x="13340" y="4468"/>
                        </a:lnTo>
                        <a:lnTo>
                          <a:pt x="13385" y="4118"/>
                        </a:lnTo>
                        <a:lnTo>
                          <a:pt x="13385" y="3943"/>
                        </a:lnTo>
                        <a:lnTo>
                          <a:pt x="13474" y="3680"/>
                        </a:lnTo>
                        <a:lnTo>
                          <a:pt x="13519" y="3505"/>
                        </a:lnTo>
                        <a:lnTo>
                          <a:pt x="13474" y="3505"/>
                        </a:lnTo>
                        <a:lnTo>
                          <a:pt x="13385" y="3592"/>
                        </a:lnTo>
                        <a:lnTo>
                          <a:pt x="13295" y="3680"/>
                        </a:lnTo>
                        <a:lnTo>
                          <a:pt x="13116" y="3680"/>
                        </a:lnTo>
                        <a:lnTo>
                          <a:pt x="13027" y="3680"/>
                        </a:lnTo>
                        <a:lnTo>
                          <a:pt x="12892" y="3767"/>
                        </a:lnTo>
                        <a:lnTo>
                          <a:pt x="12803" y="3767"/>
                        </a:lnTo>
                        <a:lnTo>
                          <a:pt x="12624" y="3943"/>
                        </a:lnTo>
                        <a:lnTo>
                          <a:pt x="12534" y="4118"/>
                        </a:lnTo>
                        <a:lnTo>
                          <a:pt x="12310" y="4381"/>
                        </a:lnTo>
                        <a:lnTo>
                          <a:pt x="12131" y="4468"/>
                        </a:lnTo>
                        <a:lnTo>
                          <a:pt x="11997" y="4468"/>
                        </a:lnTo>
                        <a:lnTo>
                          <a:pt x="11863" y="4381"/>
                        </a:lnTo>
                        <a:lnTo>
                          <a:pt x="11684" y="4468"/>
                        </a:lnTo>
                        <a:lnTo>
                          <a:pt x="11505" y="4556"/>
                        </a:lnTo>
                        <a:lnTo>
                          <a:pt x="11370" y="4556"/>
                        </a:lnTo>
                        <a:lnTo>
                          <a:pt x="11236" y="4556"/>
                        </a:lnTo>
                        <a:lnTo>
                          <a:pt x="11146" y="4556"/>
                        </a:lnTo>
                        <a:lnTo>
                          <a:pt x="11102" y="4644"/>
                        </a:lnTo>
                        <a:lnTo>
                          <a:pt x="11012" y="4731"/>
                        </a:lnTo>
                        <a:lnTo>
                          <a:pt x="10878" y="4731"/>
                        </a:lnTo>
                        <a:lnTo>
                          <a:pt x="10744" y="4906"/>
                        </a:lnTo>
                        <a:lnTo>
                          <a:pt x="10699" y="4906"/>
                        </a:lnTo>
                        <a:lnTo>
                          <a:pt x="10609" y="4819"/>
                        </a:lnTo>
                        <a:lnTo>
                          <a:pt x="10475" y="4906"/>
                        </a:lnTo>
                        <a:lnTo>
                          <a:pt x="10296" y="5169"/>
                        </a:lnTo>
                        <a:lnTo>
                          <a:pt x="10072" y="5607"/>
                        </a:lnTo>
                        <a:lnTo>
                          <a:pt x="9938" y="5783"/>
                        </a:lnTo>
                        <a:lnTo>
                          <a:pt x="9848" y="5783"/>
                        </a:lnTo>
                        <a:lnTo>
                          <a:pt x="9804" y="5870"/>
                        </a:lnTo>
                        <a:lnTo>
                          <a:pt x="9759" y="6133"/>
                        </a:lnTo>
                        <a:lnTo>
                          <a:pt x="9669" y="6221"/>
                        </a:lnTo>
                        <a:lnTo>
                          <a:pt x="9535" y="6484"/>
                        </a:lnTo>
                        <a:lnTo>
                          <a:pt x="9490" y="6659"/>
                        </a:lnTo>
                        <a:lnTo>
                          <a:pt x="9401" y="6834"/>
                        </a:lnTo>
                        <a:lnTo>
                          <a:pt x="9356" y="6746"/>
                        </a:lnTo>
                        <a:lnTo>
                          <a:pt x="9311" y="6571"/>
                        </a:lnTo>
                        <a:lnTo>
                          <a:pt x="9177" y="6484"/>
                        </a:lnTo>
                        <a:lnTo>
                          <a:pt x="9087" y="6484"/>
                        </a:lnTo>
                        <a:lnTo>
                          <a:pt x="8953" y="6659"/>
                        </a:lnTo>
                        <a:lnTo>
                          <a:pt x="8863" y="6746"/>
                        </a:lnTo>
                        <a:lnTo>
                          <a:pt x="8729" y="6659"/>
                        </a:lnTo>
                        <a:lnTo>
                          <a:pt x="8640" y="6484"/>
                        </a:lnTo>
                        <a:lnTo>
                          <a:pt x="8640" y="6396"/>
                        </a:lnTo>
                        <a:lnTo>
                          <a:pt x="8550" y="6308"/>
                        </a:lnTo>
                        <a:lnTo>
                          <a:pt x="8461" y="6133"/>
                        </a:lnTo>
                        <a:lnTo>
                          <a:pt x="8371" y="6221"/>
                        </a:lnTo>
                        <a:lnTo>
                          <a:pt x="8237" y="6308"/>
                        </a:lnTo>
                        <a:lnTo>
                          <a:pt x="8192" y="6308"/>
                        </a:lnTo>
                        <a:lnTo>
                          <a:pt x="8102" y="6396"/>
                        </a:lnTo>
                        <a:lnTo>
                          <a:pt x="8058" y="6484"/>
                        </a:lnTo>
                        <a:lnTo>
                          <a:pt x="7968" y="6484"/>
                        </a:lnTo>
                        <a:lnTo>
                          <a:pt x="7879" y="6484"/>
                        </a:lnTo>
                        <a:lnTo>
                          <a:pt x="7744" y="6571"/>
                        </a:lnTo>
                        <a:lnTo>
                          <a:pt x="7700" y="6571"/>
                        </a:lnTo>
                        <a:lnTo>
                          <a:pt x="7610" y="6571"/>
                        </a:lnTo>
                        <a:lnTo>
                          <a:pt x="7565" y="6484"/>
                        </a:lnTo>
                        <a:lnTo>
                          <a:pt x="7521" y="6308"/>
                        </a:lnTo>
                        <a:lnTo>
                          <a:pt x="7521" y="6221"/>
                        </a:lnTo>
                        <a:lnTo>
                          <a:pt x="7521" y="6045"/>
                        </a:lnTo>
                        <a:lnTo>
                          <a:pt x="7476" y="5958"/>
                        </a:lnTo>
                        <a:lnTo>
                          <a:pt x="7386" y="5870"/>
                        </a:lnTo>
                        <a:lnTo>
                          <a:pt x="7386" y="5695"/>
                        </a:lnTo>
                        <a:lnTo>
                          <a:pt x="7341" y="5695"/>
                        </a:lnTo>
                        <a:lnTo>
                          <a:pt x="7252" y="5695"/>
                        </a:lnTo>
                        <a:lnTo>
                          <a:pt x="7207" y="5520"/>
                        </a:lnTo>
                        <a:lnTo>
                          <a:pt x="7118" y="5257"/>
                        </a:lnTo>
                        <a:lnTo>
                          <a:pt x="7028" y="5082"/>
                        </a:lnTo>
                        <a:lnTo>
                          <a:pt x="6983" y="4906"/>
                        </a:lnTo>
                        <a:lnTo>
                          <a:pt x="6983" y="4731"/>
                        </a:lnTo>
                        <a:lnTo>
                          <a:pt x="6939" y="4644"/>
                        </a:lnTo>
                        <a:lnTo>
                          <a:pt x="6804" y="4556"/>
                        </a:lnTo>
                        <a:lnTo>
                          <a:pt x="6760" y="4381"/>
                        </a:lnTo>
                        <a:lnTo>
                          <a:pt x="6715" y="4381"/>
                        </a:lnTo>
                        <a:lnTo>
                          <a:pt x="6625" y="4468"/>
                        </a:lnTo>
                        <a:lnTo>
                          <a:pt x="6625" y="4293"/>
                        </a:lnTo>
                        <a:lnTo>
                          <a:pt x="6536" y="4206"/>
                        </a:lnTo>
                        <a:lnTo>
                          <a:pt x="6446" y="4206"/>
                        </a:lnTo>
                        <a:lnTo>
                          <a:pt x="6401" y="4118"/>
                        </a:lnTo>
                        <a:lnTo>
                          <a:pt x="6312" y="4118"/>
                        </a:lnTo>
                        <a:lnTo>
                          <a:pt x="6133" y="4030"/>
                        </a:lnTo>
                        <a:lnTo>
                          <a:pt x="6043" y="4030"/>
                        </a:lnTo>
                        <a:lnTo>
                          <a:pt x="5819" y="4030"/>
                        </a:lnTo>
                        <a:lnTo>
                          <a:pt x="5775" y="4030"/>
                        </a:lnTo>
                        <a:close/>
                      </a:path>
                    </a:pathLst>
                  </a:custGeom>
                  <a:solidFill>
                    <a:srgbClr val="0070C0"/>
                  </a:solidFill>
                  <a:ln w="952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marL="0" marR="0" lvl="0" indent="0" defTabSz="121917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153" name="Michigan1">
                    <a:extLst>
                      <a:ext uri="{FF2B5EF4-FFF2-40B4-BE49-F238E27FC236}">
                        <a16:creationId xmlns:a16="http://schemas.microsoft.com/office/drawing/2014/main" id="{9BAED906-A0B1-E86B-ED1C-41815EB75D10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18803445" y="2733789"/>
                    <a:ext cx="11070" cy="333"/>
                  </a:xfrm>
                  <a:custGeom>
                    <a:avLst/>
                    <a:gdLst>
                      <a:gd name="T0" fmla="*/ 1 w 16384"/>
                      <a:gd name="T1" fmla="*/ 0 h 16384"/>
                      <a:gd name="T2" fmla="*/ 1 w 16384"/>
                      <a:gd name="T3" fmla="*/ 0 h 16384"/>
                      <a:gd name="T4" fmla="*/ 1 w 16384"/>
                      <a:gd name="T5" fmla="*/ 0 h 16384"/>
                      <a:gd name="T6" fmla="*/ 1 w 16384"/>
                      <a:gd name="T7" fmla="*/ 0 h 16384"/>
                      <a:gd name="T8" fmla="*/ 1 w 16384"/>
                      <a:gd name="T9" fmla="*/ 0 h 16384"/>
                      <a:gd name="T10" fmla="*/ 1 w 16384"/>
                      <a:gd name="T11" fmla="*/ 0 h 16384"/>
                      <a:gd name="T12" fmla="*/ 1 w 16384"/>
                      <a:gd name="T13" fmla="*/ 0 h 16384"/>
                      <a:gd name="T14" fmla="*/ 1 w 16384"/>
                      <a:gd name="T15" fmla="*/ 0 h 16384"/>
                      <a:gd name="T16" fmla="*/ 1 w 16384"/>
                      <a:gd name="T17" fmla="*/ 0 h 16384"/>
                      <a:gd name="T18" fmla="*/ 1 w 16384"/>
                      <a:gd name="T19" fmla="*/ 0 h 16384"/>
                      <a:gd name="T20" fmla="*/ 1 w 16384"/>
                      <a:gd name="T21" fmla="*/ 0 h 16384"/>
                      <a:gd name="T22" fmla="*/ 1 w 16384"/>
                      <a:gd name="T23" fmla="*/ 0 h 16384"/>
                      <a:gd name="T24" fmla="*/ 1 w 16384"/>
                      <a:gd name="T25" fmla="*/ 0 h 16384"/>
                      <a:gd name="T26" fmla="*/ 1 w 16384"/>
                      <a:gd name="T27" fmla="*/ 0 h 16384"/>
                      <a:gd name="T28" fmla="*/ 1 w 16384"/>
                      <a:gd name="T29" fmla="*/ 0 h 16384"/>
                      <a:gd name="T30" fmla="*/ 1 w 16384"/>
                      <a:gd name="T31" fmla="*/ 0 h 16384"/>
                      <a:gd name="T32" fmla="*/ 1 w 16384"/>
                      <a:gd name="T33" fmla="*/ 0 h 16384"/>
                      <a:gd name="T34" fmla="*/ 1 w 16384"/>
                      <a:gd name="T35" fmla="*/ 0 h 16384"/>
                      <a:gd name="T36" fmla="*/ 1 w 16384"/>
                      <a:gd name="T37" fmla="*/ 0 h 16384"/>
                      <a:gd name="T38" fmla="*/ 1 w 16384"/>
                      <a:gd name="T39" fmla="*/ 0 h 16384"/>
                      <a:gd name="T40" fmla="*/ 1 w 16384"/>
                      <a:gd name="T41" fmla="*/ 0 h 16384"/>
                      <a:gd name="T42" fmla="*/ 1 w 16384"/>
                      <a:gd name="T43" fmla="*/ 0 h 16384"/>
                      <a:gd name="T44" fmla="*/ 1 w 16384"/>
                      <a:gd name="T45" fmla="*/ 0 h 16384"/>
                      <a:gd name="T46" fmla="*/ 1 w 16384"/>
                      <a:gd name="T47" fmla="*/ 0 h 16384"/>
                      <a:gd name="T48" fmla="*/ 1 w 16384"/>
                      <a:gd name="T49" fmla="*/ 0 h 16384"/>
                      <a:gd name="T50" fmla="*/ 1 w 16384"/>
                      <a:gd name="T51" fmla="*/ 0 h 16384"/>
                      <a:gd name="T52" fmla="*/ 1 w 16384"/>
                      <a:gd name="T53" fmla="*/ 0 h 16384"/>
                      <a:gd name="T54" fmla="*/ 1 w 16384"/>
                      <a:gd name="T55" fmla="*/ 0 h 16384"/>
                      <a:gd name="T56" fmla="*/ 1 w 16384"/>
                      <a:gd name="T57" fmla="*/ 0 h 16384"/>
                      <a:gd name="T58" fmla="*/ 1 w 16384"/>
                      <a:gd name="T59" fmla="*/ 0 h 16384"/>
                      <a:gd name="T60" fmla="*/ 1 w 16384"/>
                      <a:gd name="T61" fmla="*/ 0 h 16384"/>
                      <a:gd name="T62" fmla="*/ 1 w 16384"/>
                      <a:gd name="T63" fmla="*/ 0 h 16384"/>
                      <a:gd name="T64" fmla="*/ 1 w 16384"/>
                      <a:gd name="T65" fmla="*/ 0 h 16384"/>
                      <a:gd name="T66" fmla="*/ 1 w 16384"/>
                      <a:gd name="T67" fmla="*/ 0 h 16384"/>
                      <a:gd name="T68" fmla="*/ 1 w 16384"/>
                      <a:gd name="T69" fmla="*/ 0 h 16384"/>
                      <a:gd name="T70" fmla="*/ 1 w 16384"/>
                      <a:gd name="T71" fmla="*/ 0 h 16384"/>
                      <a:gd name="T72" fmla="*/ 1 w 16384"/>
                      <a:gd name="T73" fmla="*/ 0 h 16384"/>
                      <a:gd name="T74" fmla="*/ 1 w 16384"/>
                      <a:gd name="T75" fmla="*/ 0 h 16384"/>
                      <a:gd name="T76" fmla="*/ 1 w 16384"/>
                      <a:gd name="T77" fmla="*/ 0 h 16384"/>
                      <a:gd name="T78" fmla="*/ 1 w 16384"/>
                      <a:gd name="T79" fmla="*/ 0 h 16384"/>
                      <a:gd name="T80" fmla="*/ 1 w 16384"/>
                      <a:gd name="T81" fmla="*/ 0 h 16384"/>
                      <a:gd name="T82" fmla="*/ 1 w 16384"/>
                      <a:gd name="T83" fmla="*/ 0 h 16384"/>
                      <a:gd name="T84" fmla="*/ 1 w 16384"/>
                      <a:gd name="T85" fmla="*/ 0 h 16384"/>
                      <a:gd name="T86" fmla="*/ 1 w 16384"/>
                      <a:gd name="T87" fmla="*/ 0 h 16384"/>
                      <a:gd name="T88" fmla="*/ 1 w 16384"/>
                      <a:gd name="T89" fmla="*/ 0 h 16384"/>
                      <a:gd name="T90" fmla="*/ 1 w 16384"/>
                      <a:gd name="T91" fmla="*/ 0 h 16384"/>
                      <a:gd name="T92" fmla="*/ 1 w 16384"/>
                      <a:gd name="T93" fmla="*/ 0 h 16384"/>
                      <a:gd name="T94" fmla="*/ 1 w 16384"/>
                      <a:gd name="T95" fmla="*/ 0 h 16384"/>
                      <a:gd name="T96" fmla="*/ 1 w 16384"/>
                      <a:gd name="T97" fmla="*/ 0 h 16384"/>
                      <a:gd name="T98" fmla="*/ 1 w 16384"/>
                      <a:gd name="T99" fmla="*/ 0 h 16384"/>
                      <a:gd name="T100" fmla="*/ 1 w 16384"/>
                      <a:gd name="T101" fmla="*/ 0 h 16384"/>
                      <a:gd name="T102" fmla="*/ 1 w 16384"/>
                      <a:gd name="T103" fmla="*/ 0 h 16384"/>
                      <a:gd name="T104" fmla="*/ 1 w 16384"/>
                      <a:gd name="T105" fmla="*/ 0 h 16384"/>
                      <a:gd name="T106" fmla="*/ 1 w 16384"/>
                      <a:gd name="T107" fmla="*/ 0 h 16384"/>
                      <a:gd name="T108" fmla="*/ 1 w 16384"/>
                      <a:gd name="T109" fmla="*/ 0 h 16384"/>
                      <a:gd name="T110" fmla="*/ 1 w 16384"/>
                      <a:gd name="T111" fmla="*/ 0 h 16384"/>
                      <a:gd name="T112" fmla="*/ 1 w 16384"/>
                      <a:gd name="T113" fmla="*/ 0 h 16384"/>
                      <a:gd name="T114" fmla="*/ 1 w 16384"/>
                      <a:gd name="T115" fmla="*/ 0 h 16384"/>
                      <a:gd name="T116" fmla="*/ 1 w 16384"/>
                      <a:gd name="T117" fmla="*/ 0 h 16384"/>
                      <a:gd name="T118" fmla="*/ 1 w 16384"/>
                      <a:gd name="T119" fmla="*/ 0 h 16384"/>
                      <a:gd name="T120" fmla="*/ 1 w 16384"/>
                      <a:gd name="T121" fmla="*/ 0 h 16384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60000 65536"/>
                      <a:gd name="T130" fmla="*/ 0 60000 65536"/>
                      <a:gd name="T131" fmla="*/ 0 60000 65536"/>
                      <a:gd name="T132" fmla="*/ 0 60000 65536"/>
                      <a:gd name="T133" fmla="*/ 0 60000 65536"/>
                      <a:gd name="T134" fmla="*/ 0 60000 65536"/>
                      <a:gd name="T135" fmla="*/ 0 60000 65536"/>
                      <a:gd name="T136" fmla="*/ 0 60000 65536"/>
                      <a:gd name="T137" fmla="*/ 0 60000 65536"/>
                      <a:gd name="T138" fmla="*/ 0 60000 65536"/>
                      <a:gd name="T139" fmla="*/ 0 60000 65536"/>
                      <a:gd name="T140" fmla="*/ 0 60000 65536"/>
                      <a:gd name="T141" fmla="*/ 0 60000 65536"/>
                      <a:gd name="T142" fmla="*/ 0 60000 65536"/>
                      <a:gd name="T143" fmla="*/ 0 60000 65536"/>
                      <a:gd name="T144" fmla="*/ 0 60000 65536"/>
                      <a:gd name="T145" fmla="*/ 0 60000 65536"/>
                      <a:gd name="T146" fmla="*/ 0 60000 65536"/>
                      <a:gd name="T147" fmla="*/ 0 60000 65536"/>
                      <a:gd name="T148" fmla="*/ 0 60000 65536"/>
                      <a:gd name="T149" fmla="*/ 0 60000 65536"/>
                      <a:gd name="T150" fmla="*/ 0 60000 65536"/>
                      <a:gd name="T151" fmla="*/ 0 60000 65536"/>
                      <a:gd name="T152" fmla="*/ 0 60000 65536"/>
                      <a:gd name="T153" fmla="*/ 0 60000 65536"/>
                      <a:gd name="T154" fmla="*/ 0 60000 65536"/>
                      <a:gd name="T155" fmla="*/ 0 60000 65536"/>
                      <a:gd name="T156" fmla="*/ 0 60000 65536"/>
                      <a:gd name="T157" fmla="*/ 0 60000 65536"/>
                      <a:gd name="T158" fmla="*/ 0 60000 65536"/>
                      <a:gd name="T159" fmla="*/ 0 60000 65536"/>
                      <a:gd name="T160" fmla="*/ 0 60000 65536"/>
                      <a:gd name="T161" fmla="*/ 0 60000 65536"/>
                      <a:gd name="T162" fmla="*/ 0 60000 65536"/>
                      <a:gd name="T163" fmla="*/ 0 60000 65536"/>
                      <a:gd name="T164" fmla="*/ 0 60000 65536"/>
                      <a:gd name="T165" fmla="*/ 0 60000 65536"/>
                      <a:gd name="T166" fmla="*/ 0 60000 65536"/>
                      <a:gd name="T167" fmla="*/ 0 60000 65536"/>
                      <a:gd name="T168" fmla="*/ 0 60000 65536"/>
                      <a:gd name="T169" fmla="*/ 0 60000 65536"/>
                      <a:gd name="T170" fmla="*/ 0 60000 65536"/>
                      <a:gd name="T171" fmla="*/ 0 60000 65536"/>
                      <a:gd name="T172" fmla="*/ 0 60000 65536"/>
                      <a:gd name="T173" fmla="*/ 0 60000 65536"/>
                      <a:gd name="T174" fmla="*/ 0 60000 65536"/>
                      <a:gd name="T175" fmla="*/ 0 60000 65536"/>
                      <a:gd name="T176" fmla="*/ 0 60000 65536"/>
                      <a:gd name="T177" fmla="*/ 0 60000 65536"/>
                      <a:gd name="T178" fmla="*/ 0 60000 65536"/>
                      <a:gd name="T179" fmla="*/ 0 60000 65536"/>
                      <a:gd name="T180" fmla="*/ 0 60000 65536"/>
                      <a:gd name="T181" fmla="*/ 0 60000 65536"/>
                      <a:gd name="T182" fmla="*/ 0 60000 65536"/>
                      <a:gd name="T183" fmla="*/ 0 w 16384"/>
                      <a:gd name="T184" fmla="*/ 0 h 16384"/>
                      <a:gd name="T185" fmla="*/ 16384 w 16384"/>
                      <a:gd name="T186" fmla="*/ 16384 h 16384"/>
                    </a:gdLst>
                    <a:ahLst/>
                    <a:cxnLst>
                      <a:cxn ang="T122">
                        <a:pos x="T0" y="T1"/>
                      </a:cxn>
                      <a:cxn ang="T123">
                        <a:pos x="T2" y="T3"/>
                      </a:cxn>
                      <a:cxn ang="T124">
                        <a:pos x="T4" y="T5"/>
                      </a:cxn>
                      <a:cxn ang="T125">
                        <a:pos x="T6" y="T7"/>
                      </a:cxn>
                      <a:cxn ang="T126">
                        <a:pos x="T8" y="T9"/>
                      </a:cxn>
                      <a:cxn ang="T127">
                        <a:pos x="T10" y="T11"/>
                      </a:cxn>
                      <a:cxn ang="T128">
                        <a:pos x="T12" y="T13"/>
                      </a:cxn>
                      <a:cxn ang="T129">
                        <a:pos x="T14" y="T15"/>
                      </a:cxn>
                      <a:cxn ang="T130">
                        <a:pos x="T16" y="T17"/>
                      </a:cxn>
                      <a:cxn ang="T131">
                        <a:pos x="T18" y="T19"/>
                      </a:cxn>
                      <a:cxn ang="T132">
                        <a:pos x="T20" y="T21"/>
                      </a:cxn>
                      <a:cxn ang="T133">
                        <a:pos x="T22" y="T23"/>
                      </a:cxn>
                      <a:cxn ang="T134">
                        <a:pos x="T24" y="T25"/>
                      </a:cxn>
                      <a:cxn ang="T135">
                        <a:pos x="T26" y="T27"/>
                      </a:cxn>
                      <a:cxn ang="T136">
                        <a:pos x="T28" y="T29"/>
                      </a:cxn>
                      <a:cxn ang="T137">
                        <a:pos x="T30" y="T31"/>
                      </a:cxn>
                      <a:cxn ang="T138">
                        <a:pos x="T32" y="T33"/>
                      </a:cxn>
                      <a:cxn ang="T139">
                        <a:pos x="T34" y="T35"/>
                      </a:cxn>
                      <a:cxn ang="T140">
                        <a:pos x="T36" y="T37"/>
                      </a:cxn>
                      <a:cxn ang="T141">
                        <a:pos x="T38" y="T39"/>
                      </a:cxn>
                      <a:cxn ang="T142">
                        <a:pos x="T40" y="T41"/>
                      </a:cxn>
                      <a:cxn ang="T143">
                        <a:pos x="T42" y="T43"/>
                      </a:cxn>
                      <a:cxn ang="T144">
                        <a:pos x="T44" y="T45"/>
                      </a:cxn>
                      <a:cxn ang="T145">
                        <a:pos x="T46" y="T47"/>
                      </a:cxn>
                      <a:cxn ang="T146">
                        <a:pos x="T48" y="T49"/>
                      </a:cxn>
                      <a:cxn ang="T147">
                        <a:pos x="T50" y="T51"/>
                      </a:cxn>
                      <a:cxn ang="T148">
                        <a:pos x="T52" y="T53"/>
                      </a:cxn>
                      <a:cxn ang="T149">
                        <a:pos x="T54" y="T55"/>
                      </a:cxn>
                      <a:cxn ang="T150">
                        <a:pos x="T56" y="T57"/>
                      </a:cxn>
                      <a:cxn ang="T151">
                        <a:pos x="T58" y="T59"/>
                      </a:cxn>
                      <a:cxn ang="T152">
                        <a:pos x="T60" y="T61"/>
                      </a:cxn>
                      <a:cxn ang="T153">
                        <a:pos x="T62" y="T63"/>
                      </a:cxn>
                      <a:cxn ang="T154">
                        <a:pos x="T64" y="T65"/>
                      </a:cxn>
                      <a:cxn ang="T155">
                        <a:pos x="T66" y="T67"/>
                      </a:cxn>
                      <a:cxn ang="T156">
                        <a:pos x="T68" y="T69"/>
                      </a:cxn>
                      <a:cxn ang="T157">
                        <a:pos x="T70" y="T71"/>
                      </a:cxn>
                      <a:cxn ang="T158">
                        <a:pos x="T72" y="T73"/>
                      </a:cxn>
                      <a:cxn ang="T159">
                        <a:pos x="T74" y="T75"/>
                      </a:cxn>
                      <a:cxn ang="T160">
                        <a:pos x="T76" y="T77"/>
                      </a:cxn>
                      <a:cxn ang="T161">
                        <a:pos x="T78" y="T79"/>
                      </a:cxn>
                      <a:cxn ang="T162">
                        <a:pos x="T80" y="T81"/>
                      </a:cxn>
                      <a:cxn ang="T163">
                        <a:pos x="T82" y="T83"/>
                      </a:cxn>
                      <a:cxn ang="T164">
                        <a:pos x="T84" y="T85"/>
                      </a:cxn>
                      <a:cxn ang="T165">
                        <a:pos x="T86" y="T87"/>
                      </a:cxn>
                      <a:cxn ang="T166">
                        <a:pos x="T88" y="T89"/>
                      </a:cxn>
                      <a:cxn ang="T167">
                        <a:pos x="T90" y="T91"/>
                      </a:cxn>
                      <a:cxn ang="T168">
                        <a:pos x="T92" y="T93"/>
                      </a:cxn>
                      <a:cxn ang="T169">
                        <a:pos x="T94" y="T95"/>
                      </a:cxn>
                      <a:cxn ang="T170">
                        <a:pos x="T96" y="T97"/>
                      </a:cxn>
                      <a:cxn ang="T171">
                        <a:pos x="T98" y="T99"/>
                      </a:cxn>
                      <a:cxn ang="T172">
                        <a:pos x="T100" y="T101"/>
                      </a:cxn>
                      <a:cxn ang="T173">
                        <a:pos x="T102" y="T103"/>
                      </a:cxn>
                      <a:cxn ang="T174">
                        <a:pos x="T104" y="T105"/>
                      </a:cxn>
                      <a:cxn ang="T175">
                        <a:pos x="T106" y="T107"/>
                      </a:cxn>
                      <a:cxn ang="T176">
                        <a:pos x="T108" y="T109"/>
                      </a:cxn>
                      <a:cxn ang="T177">
                        <a:pos x="T110" y="T111"/>
                      </a:cxn>
                      <a:cxn ang="T178">
                        <a:pos x="T112" y="T113"/>
                      </a:cxn>
                      <a:cxn ang="T179">
                        <a:pos x="T114" y="T115"/>
                      </a:cxn>
                      <a:cxn ang="T180">
                        <a:pos x="T116" y="T117"/>
                      </a:cxn>
                      <a:cxn ang="T181">
                        <a:pos x="T118" y="T119"/>
                      </a:cxn>
                      <a:cxn ang="T182">
                        <a:pos x="T120" y="T121"/>
                      </a:cxn>
                    </a:cxnLst>
                    <a:rect l="T183" t="T184" r="T185" b="T186"/>
                    <a:pathLst>
                      <a:path w="16384" h="16384">
                        <a:moveTo>
                          <a:pt x="11122" y="8291"/>
                        </a:moveTo>
                        <a:lnTo>
                          <a:pt x="11056" y="8291"/>
                        </a:lnTo>
                        <a:lnTo>
                          <a:pt x="10989" y="8143"/>
                        </a:lnTo>
                        <a:lnTo>
                          <a:pt x="10923" y="8093"/>
                        </a:lnTo>
                        <a:lnTo>
                          <a:pt x="10656" y="8093"/>
                        </a:lnTo>
                        <a:lnTo>
                          <a:pt x="10456" y="8093"/>
                        </a:lnTo>
                        <a:lnTo>
                          <a:pt x="10323" y="7995"/>
                        </a:lnTo>
                        <a:lnTo>
                          <a:pt x="10190" y="7896"/>
                        </a:lnTo>
                        <a:lnTo>
                          <a:pt x="10123" y="7797"/>
                        </a:lnTo>
                        <a:lnTo>
                          <a:pt x="9990" y="7600"/>
                        </a:lnTo>
                        <a:lnTo>
                          <a:pt x="10057" y="7402"/>
                        </a:lnTo>
                        <a:lnTo>
                          <a:pt x="10057" y="7205"/>
                        </a:lnTo>
                        <a:lnTo>
                          <a:pt x="10057" y="7057"/>
                        </a:lnTo>
                        <a:lnTo>
                          <a:pt x="10057" y="7008"/>
                        </a:lnTo>
                        <a:lnTo>
                          <a:pt x="10123" y="6860"/>
                        </a:lnTo>
                        <a:lnTo>
                          <a:pt x="10257" y="6712"/>
                        </a:lnTo>
                        <a:lnTo>
                          <a:pt x="10456" y="6712"/>
                        </a:lnTo>
                        <a:lnTo>
                          <a:pt x="10656" y="6613"/>
                        </a:lnTo>
                        <a:lnTo>
                          <a:pt x="10789" y="6662"/>
                        </a:lnTo>
                        <a:lnTo>
                          <a:pt x="10856" y="6613"/>
                        </a:lnTo>
                        <a:lnTo>
                          <a:pt x="10923" y="6514"/>
                        </a:lnTo>
                        <a:lnTo>
                          <a:pt x="10923" y="6415"/>
                        </a:lnTo>
                        <a:lnTo>
                          <a:pt x="11122" y="6366"/>
                        </a:lnTo>
                        <a:lnTo>
                          <a:pt x="11189" y="6317"/>
                        </a:lnTo>
                        <a:lnTo>
                          <a:pt x="11189" y="6169"/>
                        </a:lnTo>
                        <a:lnTo>
                          <a:pt x="11189" y="5971"/>
                        </a:lnTo>
                        <a:lnTo>
                          <a:pt x="11189" y="5823"/>
                        </a:lnTo>
                        <a:lnTo>
                          <a:pt x="11256" y="5725"/>
                        </a:lnTo>
                        <a:lnTo>
                          <a:pt x="11322" y="5527"/>
                        </a:lnTo>
                        <a:lnTo>
                          <a:pt x="11389" y="5478"/>
                        </a:lnTo>
                        <a:lnTo>
                          <a:pt x="11589" y="5527"/>
                        </a:lnTo>
                        <a:lnTo>
                          <a:pt x="11722" y="5478"/>
                        </a:lnTo>
                        <a:lnTo>
                          <a:pt x="11722" y="5330"/>
                        </a:lnTo>
                        <a:lnTo>
                          <a:pt x="11855" y="5231"/>
                        </a:lnTo>
                        <a:lnTo>
                          <a:pt x="11922" y="5182"/>
                        </a:lnTo>
                        <a:lnTo>
                          <a:pt x="11922" y="5083"/>
                        </a:lnTo>
                        <a:lnTo>
                          <a:pt x="11922" y="4935"/>
                        </a:lnTo>
                        <a:lnTo>
                          <a:pt x="11922" y="4639"/>
                        </a:lnTo>
                        <a:lnTo>
                          <a:pt x="11922" y="4491"/>
                        </a:lnTo>
                        <a:lnTo>
                          <a:pt x="11922" y="4441"/>
                        </a:lnTo>
                        <a:lnTo>
                          <a:pt x="11922" y="4244"/>
                        </a:lnTo>
                        <a:lnTo>
                          <a:pt x="11855" y="3899"/>
                        </a:lnTo>
                        <a:lnTo>
                          <a:pt x="11922" y="3800"/>
                        </a:lnTo>
                        <a:lnTo>
                          <a:pt x="11922" y="3652"/>
                        </a:lnTo>
                        <a:lnTo>
                          <a:pt x="11788" y="3454"/>
                        </a:lnTo>
                        <a:lnTo>
                          <a:pt x="11722" y="3356"/>
                        </a:lnTo>
                        <a:lnTo>
                          <a:pt x="11589" y="3208"/>
                        </a:lnTo>
                        <a:lnTo>
                          <a:pt x="11522" y="3158"/>
                        </a:lnTo>
                        <a:lnTo>
                          <a:pt x="11322" y="3010"/>
                        </a:lnTo>
                        <a:lnTo>
                          <a:pt x="11189" y="2862"/>
                        </a:lnTo>
                        <a:lnTo>
                          <a:pt x="11056" y="2714"/>
                        </a:lnTo>
                        <a:lnTo>
                          <a:pt x="11056" y="2566"/>
                        </a:lnTo>
                        <a:lnTo>
                          <a:pt x="11122" y="2467"/>
                        </a:lnTo>
                        <a:lnTo>
                          <a:pt x="11122" y="2369"/>
                        </a:lnTo>
                        <a:lnTo>
                          <a:pt x="11322" y="2369"/>
                        </a:lnTo>
                        <a:lnTo>
                          <a:pt x="11655" y="2467"/>
                        </a:lnTo>
                        <a:lnTo>
                          <a:pt x="11722" y="2418"/>
                        </a:lnTo>
                        <a:lnTo>
                          <a:pt x="11522" y="2270"/>
                        </a:lnTo>
                        <a:lnTo>
                          <a:pt x="11455" y="2073"/>
                        </a:lnTo>
                        <a:lnTo>
                          <a:pt x="11322" y="1974"/>
                        </a:lnTo>
                        <a:lnTo>
                          <a:pt x="11189" y="1875"/>
                        </a:lnTo>
                        <a:lnTo>
                          <a:pt x="11122" y="1826"/>
                        </a:lnTo>
                        <a:lnTo>
                          <a:pt x="11056" y="1727"/>
                        </a:lnTo>
                        <a:lnTo>
                          <a:pt x="11056" y="1579"/>
                        </a:lnTo>
                        <a:lnTo>
                          <a:pt x="10989" y="1480"/>
                        </a:lnTo>
                        <a:lnTo>
                          <a:pt x="10789" y="1382"/>
                        </a:lnTo>
                        <a:lnTo>
                          <a:pt x="10656" y="1283"/>
                        </a:lnTo>
                        <a:lnTo>
                          <a:pt x="10590" y="1283"/>
                        </a:lnTo>
                        <a:lnTo>
                          <a:pt x="10190" y="1234"/>
                        </a:lnTo>
                        <a:lnTo>
                          <a:pt x="9990" y="1184"/>
                        </a:lnTo>
                        <a:lnTo>
                          <a:pt x="9790" y="1135"/>
                        </a:lnTo>
                        <a:lnTo>
                          <a:pt x="9524" y="1135"/>
                        </a:lnTo>
                        <a:lnTo>
                          <a:pt x="9058" y="938"/>
                        </a:lnTo>
                        <a:lnTo>
                          <a:pt x="8925" y="888"/>
                        </a:lnTo>
                        <a:lnTo>
                          <a:pt x="8725" y="888"/>
                        </a:lnTo>
                        <a:lnTo>
                          <a:pt x="8525" y="888"/>
                        </a:lnTo>
                        <a:lnTo>
                          <a:pt x="8392" y="938"/>
                        </a:lnTo>
                        <a:lnTo>
                          <a:pt x="8259" y="888"/>
                        </a:lnTo>
                        <a:lnTo>
                          <a:pt x="8192" y="790"/>
                        </a:lnTo>
                        <a:lnTo>
                          <a:pt x="8059" y="642"/>
                        </a:lnTo>
                        <a:lnTo>
                          <a:pt x="7992" y="543"/>
                        </a:lnTo>
                        <a:lnTo>
                          <a:pt x="7792" y="493"/>
                        </a:lnTo>
                        <a:lnTo>
                          <a:pt x="7659" y="395"/>
                        </a:lnTo>
                        <a:lnTo>
                          <a:pt x="7526" y="395"/>
                        </a:lnTo>
                        <a:lnTo>
                          <a:pt x="7459" y="395"/>
                        </a:lnTo>
                        <a:lnTo>
                          <a:pt x="7193" y="444"/>
                        </a:lnTo>
                        <a:lnTo>
                          <a:pt x="6993" y="444"/>
                        </a:lnTo>
                        <a:lnTo>
                          <a:pt x="6793" y="395"/>
                        </a:lnTo>
                        <a:lnTo>
                          <a:pt x="6460" y="247"/>
                        </a:lnTo>
                        <a:lnTo>
                          <a:pt x="6061" y="148"/>
                        </a:lnTo>
                        <a:lnTo>
                          <a:pt x="5861" y="49"/>
                        </a:lnTo>
                        <a:lnTo>
                          <a:pt x="5728" y="0"/>
                        </a:lnTo>
                        <a:lnTo>
                          <a:pt x="5728" y="49"/>
                        </a:lnTo>
                        <a:lnTo>
                          <a:pt x="5661" y="49"/>
                        </a:lnTo>
                        <a:lnTo>
                          <a:pt x="5661" y="99"/>
                        </a:lnTo>
                        <a:lnTo>
                          <a:pt x="5528" y="197"/>
                        </a:lnTo>
                        <a:lnTo>
                          <a:pt x="5461" y="247"/>
                        </a:lnTo>
                        <a:lnTo>
                          <a:pt x="5262" y="247"/>
                        </a:lnTo>
                        <a:lnTo>
                          <a:pt x="5062" y="197"/>
                        </a:lnTo>
                        <a:lnTo>
                          <a:pt x="4929" y="247"/>
                        </a:lnTo>
                        <a:lnTo>
                          <a:pt x="4929" y="296"/>
                        </a:lnTo>
                        <a:lnTo>
                          <a:pt x="4995" y="395"/>
                        </a:lnTo>
                        <a:lnTo>
                          <a:pt x="5062" y="444"/>
                        </a:lnTo>
                        <a:lnTo>
                          <a:pt x="4995" y="493"/>
                        </a:lnTo>
                        <a:lnTo>
                          <a:pt x="4862" y="592"/>
                        </a:lnTo>
                        <a:lnTo>
                          <a:pt x="4729" y="691"/>
                        </a:lnTo>
                        <a:lnTo>
                          <a:pt x="4596" y="839"/>
                        </a:lnTo>
                        <a:lnTo>
                          <a:pt x="4529" y="938"/>
                        </a:lnTo>
                        <a:lnTo>
                          <a:pt x="4529" y="1036"/>
                        </a:lnTo>
                        <a:lnTo>
                          <a:pt x="4596" y="1184"/>
                        </a:lnTo>
                        <a:lnTo>
                          <a:pt x="4662" y="1332"/>
                        </a:lnTo>
                        <a:lnTo>
                          <a:pt x="4729" y="1382"/>
                        </a:lnTo>
                        <a:lnTo>
                          <a:pt x="4862" y="1480"/>
                        </a:lnTo>
                        <a:lnTo>
                          <a:pt x="5062" y="1530"/>
                        </a:lnTo>
                        <a:lnTo>
                          <a:pt x="5262" y="1579"/>
                        </a:lnTo>
                        <a:lnTo>
                          <a:pt x="5262" y="1629"/>
                        </a:lnTo>
                        <a:lnTo>
                          <a:pt x="5195" y="1678"/>
                        </a:lnTo>
                        <a:lnTo>
                          <a:pt x="5062" y="1727"/>
                        </a:lnTo>
                        <a:lnTo>
                          <a:pt x="4862" y="1727"/>
                        </a:lnTo>
                        <a:lnTo>
                          <a:pt x="4596" y="1727"/>
                        </a:lnTo>
                        <a:lnTo>
                          <a:pt x="4462" y="1777"/>
                        </a:lnTo>
                        <a:lnTo>
                          <a:pt x="4329" y="1826"/>
                        </a:lnTo>
                        <a:lnTo>
                          <a:pt x="4196" y="1925"/>
                        </a:lnTo>
                        <a:lnTo>
                          <a:pt x="4129" y="2023"/>
                        </a:lnTo>
                        <a:lnTo>
                          <a:pt x="4063" y="2073"/>
                        </a:lnTo>
                        <a:lnTo>
                          <a:pt x="3929" y="2122"/>
                        </a:lnTo>
                        <a:lnTo>
                          <a:pt x="3730" y="2171"/>
                        </a:lnTo>
                        <a:lnTo>
                          <a:pt x="3663" y="2369"/>
                        </a:lnTo>
                        <a:lnTo>
                          <a:pt x="3730" y="2467"/>
                        </a:lnTo>
                        <a:lnTo>
                          <a:pt x="3796" y="2813"/>
                        </a:lnTo>
                        <a:lnTo>
                          <a:pt x="3863" y="3060"/>
                        </a:lnTo>
                        <a:lnTo>
                          <a:pt x="3863" y="3257"/>
                        </a:lnTo>
                        <a:lnTo>
                          <a:pt x="3796" y="3603"/>
                        </a:lnTo>
                        <a:lnTo>
                          <a:pt x="3730" y="3849"/>
                        </a:lnTo>
                        <a:lnTo>
                          <a:pt x="3663" y="3997"/>
                        </a:lnTo>
                        <a:lnTo>
                          <a:pt x="3530" y="4145"/>
                        </a:lnTo>
                        <a:lnTo>
                          <a:pt x="3397" y="4244"/>
                        </a:lnTo>
                        <a:lnTo>
                          <a:pt x="3330" y="4293"/>
                        </a:lnTo>
                        <a:lnTo>
                          <a:pt x="3330" y="4244"/>
                        </a:lnTo>
                        <a:lnTo>
                          <a:pt x="3263" y="4145"/>
                        </a:lnTo>
                        <a:lnTo>
                          <a:pt x="3330" y="3997"/>
                        </a:lnTo>
                        <a:lnTo>
                          <a:pt x="3463" y="3948"/>
                        </a:lnTo>
                        <a:lnTo>
                          <a:pt x="3530" y="3800"/>
                        </a:lnTo>
                        <a:lnTo>
                          <a:pt x="3463" y="3553"/>
                        </a:lnTo>
                        <a:lnTo>
                          <a:pt x="3463" y="3454"/>
                        </a:lnTo>
                        <a:lnTo>
                          <a:pt x="3463" y="3356"/>
                        </a:lnTo>
                        <a:lnTo>
                          <a:pt x="3397" y="3356"/>
                        </a:lnTo>
                        <a:lnTo>
                          <a:pt x="3330" y="3405"/>
                        </a:lnTo>
                        <a:lnTo>
                          <a:pt x="3263" y="3504"/>
                        </a:lnTo>
                        <a:lnTo>
                          <a:pt x="3263" y="3800"/>
                        </a:lnTo>
                        <a:lnTo>
                          <a:pt x="3197" y="3948"/>
                        </a:lnTo>
                        <a:lnTo>
                          <a:pt x="3130" y="4195"/>
                        </a:lnTo>
                        <a:lnTo>
                          <a:pt x="2997" y="4195"/>
                        </a:lnTo>
                        <a:lnTo>
                          <a:pt x="2997" y="4145"/>
                        </a:lnTo>
                        <a:lnTo>
                          <a:pt x="2997" y="3948"/>
                        </a:lnTo>
                        <a:lnTo>
                          <a:pt x="2997" y="3701"/>
                        </a:lnTo>
                        <a:lnTo>
                          <a:pt x="3064" y="3504"/>
                        </a:lnTo>
                        <a:lnTo>
                          <a:pt x="2997" y="3405"/>
                        </a:lnTo>
                        <a:lnTo>
                          <a:pt x="2997" y="3356"/>
                        </a:lnTo>
                        <a:lnTo>
                          <a:pt x="3130" y="3208"/>
                        </a:lnTo>
                        <a:lnTo>
                          <a:pt x="3064" y="3109"/>
                        </a:lnTo>
                        <a:lnTo>
                          <a:pt x="2997" y="2912"/>
                        </a:lnTo>
                        <a:lnTo>
                          <a:pt x="2930" y="2813"/>
                        </a:lnTo>
                        <a:lnTo>
                          <a:pt x="3130" y="2764"/>
                        </a:lnTo>
                        <a:lnTo>
                          <a:pt x="3197" y="2665"/>
                        </a:lnTo>
                        <a:lnTo>
                          <a:pt x="3130" y="2517"/>
                        </a:lnTo>
                        <a:lnTo>
                          <a:pt x="2997" y="2566"/>
                        </a:lnTo>
                        <a:lnTo>
                          <a:pt x="2864" y="2714"/>
                        </a:lnTo>
                        <a:lnTo>
                          <a:pt x="2731" y="2764"/>
                        </a:lnTo>
                        <a:lnTo>
                          <a:pt x="2664" y="3060"/>
                        </a:lnTo>
                        <a:lnTo>
                          <a:pt x="2398" y="3257"/>
                        </a:lnTo>
                        <a:lnTo>
                          <a:pt x="2331" y="3553"/>
                        </a:lnTo>
                        <a:lnTo>
                          <a:pt x="2131" y="3652"/>
                        </a:lnTo>
                        <a:lnTo>
                          <a:pt x="1998" y="3603"/>
                        </a:lnTo>
                        <a:lnTo>
                          <a:pt x="1798" y="3553"/>
                        </a:lnTo>
                        <a:lnTo>
                          <a:pt x="1732" y="3652"/>
                        </a:lnTo>
                        <a:lnTo>
                          <a:pt x="1732" y="3751"/>
                        </a:lnTo>
                        <a:lnTo>
                          <a:pt x="1598" y="3849"/>
                        </a:lnTo>
                        <a:lnTo>
                          <a:pt x="1532" y="3849"/>
                        </a:lnTo>
                        <a:lnTo>
                          <a:pt x="1399" y="3849"/>
                        </a:lnTo>
                        <a:lnTo>
                          <a:pt x="1332" y="3899"/>
                        </a:lnTo>
                        <a:lnTo>
                          <a:pt x="1332" y="3948"/>
                        </a:lnTo>
                        <a:lnTo>
                          <a:pt x="1399" y="4145"/>
                        </a:lnTo>
                        <a:lnTo>
                          <a:pt x="1399" y="4343"/>
                        </a:lnTo>
                        <a:lnTo>
                          <a:pt x="1332" y="4441"/>
                        </a:lnTo>
                        <a:lnTo>
                          <a:pt x="1265" y="4540"/>
                        </a:lnTo>
                        <a:lnTo>
                          <a:pt x="1066" y="4589"/>
                        </a:lnTo>
                        <a:lnTo>
                          <a:pt x="866" y="4688"/>
                        </a:lnTo>
                        <a:lnTo>
                          <a:pt x="799" y="4738"/>
                        </a:lnTo>
                        <a:lnTo>
                          <a:pt x="733" y="4787"/>
                        </a:lnTo>
                        <a:lnTo>
                          <a:pt x="799" y="4935"/>
                        </a:lnTo>
                        <a:lnTo>
                          <a:pt x="866" y="5132"/>
                        </a:lnTo>
                        <a:lnTo>
                          <a:pt x="866" y="5231"/>
                        </a:lnTo>
                        <a:lnTo>
                          <a:pt x="866" y="5428"/>
                        </a:lnTo>
                        <a:lnTo>
                          <a:pt x="866" y="5527"/>
                        </a:lnTo>
                        <a:lnTo>
                          <a:pt x="866" y="5823"/>
                        </a:lnTo>
                        <a:lnTo>
                          <a:pt x="866" y="6070"/>
                        </a:lnTo>
                        <a:lnTo>
                          <a:pt x="666" y="6366"/>
                        </a:lnTo>
                        <a:lnTo>
                          <a:pt x="599" y="6613"/>
                        </a:lnTo>
                        <a:lnTo>
                          <a:pt x="533" y="6810"/>
                        </a:lnTo>
                        <a:lnTo>
                          <a:pt x="400" y="6958"/>
                        </a:lnTo>
                        <a:lnTo>
                          <a:pt x="333" y="7057"/>
                        </a:lnTo>
                        <a:lnTo>
                          <a:pt x="266" y="7156"/>
                        </a:lnTo>
                        <a:lnTo>
                          <a:pt x="67" y="7254"/>
                        </a:lnTo>
                        <a:lnTo>
                          <a:pt x="67" y="7304"/>
                        </a:lnTo>
                        <a:lnTo>
                          <a:pt x="67" y="7402"/>
                        </a:lnTo>
                        <a:lnTo>
                          <a:pt x="400" y="7748"/>
                        </a:lnTo>
                        <a:lnTo>
                          <a:pt x="466" y="8044"/>
                        </a:lnTo>
                        <a:lnTo>
                          <a:pt x="533" y="8241"/>
                        </a:lnTo>
                        <a:lnTo>
                          <a:pt x="466" y="8439"/>
                        </a:lnTo>
                        <a:lnTo>
                          <a:pt x="466" y="8537"/>
                        </a:lnTo>
                        <a:lnTo>
                          <a:pt x="266" y="8784"/>
                        </a:lnTo>
                        <a:lnTo>
                          <a:pt x="200" y="8883"/>
                        </a:lnTo>
                        <a:lnTo>
                          <a:pt x="266" y="9031"/>
                        </a:lnTo>
                        <a:lnTo>
                          <a:pt x="400" y="9179"/>
                        </a:lnTo>
                        <a:lnTo>
                          <a:pt x="533" y="9376"/>
                        </a:lnTo>
                        <a:lnTo>
                          <a:pt x="599" y="9475"/>
                        </a:lnTo>
                        <a:lnTo>
                          <a:pt x="599" y="9623"/>
                        </a:lnTo>
                        <a:lnTo>
                          <a:pt x="599" y="9722"/>
                        </a:lnTo>
                        <a:lnTo>
                          <a:pt x="999" y="10215"/>
                        </a:lnTo>
                        <a:lnTo>
                          <a:pt x="1265" y="10511"/>
                        </a:lnTo>
                        <a:lnTo>
                          <a:pt x="1465" y="10808"/>
                        </a:lnTo>
                        <a:lnTo>
                          <a:pt x="1532" y="10906"/>
                        </a:lnTo>
                        <a:lnTo>
                          <a:pt x="1665" y="11202"/>
                        </a:lnTo>
                        <a:lnTo>
                          <a:pt x="1732" y="11548"/>
                        </a:lnTo>
                        <a:lnTo>
                          <a:pt x="1798" y="11646"/>
                        </a:lnTo>
                        <a:lnTo>
                          <a:pt x="1798" y="11943"/>
                        </a:lnTo>
                        <a:lnTo>
                          <a:pt x="1931" y="12140"/>
                        </a:lnTo>
                        <a:lnTo>
                          <a:pt x="1931" y="12288"/>
                        </a:lnTo>
                        <a:lnTo>
                          <a:pt x="1931" y="12387"/>
                        </a:lnTo>
                        <a:lnTo>
                          <a:pt x="1931" y="12584"/>
                        </a:lnTo>
                        <a:lnTo>
                          <a:pt x="2065" y="12683"/>
                        </a:lnTo>
                        <a:lnTo>
                          <a:pt x="2131" y="12732"/>
                        </a:lnTo>
                        <a:lnTo>
                          <a:pt x="2065" y="12781"/>
                        </a:lnTo>
                        <a:lnTo>
                          <a:pt x="1865" y="12781"/>
                        </a:lnTo>
                        <a:lnTo>
                          <a:pt x="1865" y="12831"/>
                        </a:lnTo>
                        <a:lnTo>
                          <a:pt x="1931" y="13028"/>
                        </a:lnTo>
                        <a:lnTo>
                          <a:pt x="1931" y="13176"/>
                        </a:lnTo>
                        <a:lnTo>
                          <a:pt x="1865" y="13472"/>
                        </a:lnTo>
                        <a:lnTo>
                          <a:pt x="1798" y="13670"/>
                        </a:lnTo>
                        <a:lnTo>
                          <a:pt x="1798" y="13867"/>
                        </a:lnTo>
                        <a:lnTo>
                          <a:pt x="1732" y="14163"/>
                        </a:lnTo>
                        <a:lnTo>
                          <a:pt x="1532" y="14410"/>
                        </a:lnTo>
                        <a:lnTo>
                          <a:pt x="1465" y="14459"/>
                        </a:lnTo>
                        <a:lnTo>
                          <a:pt x="1265" y="14755"/>
                        </a:lnTo>
                        <a:lnTo>
                          <a:pt x="999" y="15200"/>
                        </a:lnTo>
                        <a:lnTo>
                          <a:pt x="866" y="15446"/>
                        </a:lnTo>
                        <a:lnTo>
                          <a:pt x="799" y="15693"/>
                        </a:lnTo>
                        <a:lnTo>
                          <a:pt x="733" y="15792"/>
                        </a:lnTo>
                        <a:lnTo>
                          <a:pt x="666" y="15940"/>
                        </a:lnTo>
                        <a:lnTo>
                          <a:pt x="466" y="16039"/>
                        </a:lnTo>
                        <a:lnTo>
                          <a:pt x="266" y="16088"/>
                        </a:lnTo>
                        <a:lnTo>
                          <a:pt x="200" y="16236"/>
                        </a:lnTo>
                        <a:lnTo>
                          <a:pt x="0" y="16384"/>
                        </a:lnTo>
                        <a:lnTo>
                          <a:pt x="1199" y="16335"/>
                        </a:lnTo>
                        <a:lnTo>
                          <a:pt x="2264" y="16236"/>
                        </a:lnTo>
                        <a:lnTo>
                          <a:pt x="2997" y="16187"/>
                        </a:lnTo>
                        <a:lnTo>
                          <a:pt x="4196" y="16088"/>
                        </a:lnTo>
                        <a:lnTo>
                          <a:pt x="4529" y="16039"/>
                        </a:lnTo>
                        <a:lnTo>
                          <a:pt x="5994" y="15891"/>
                        </a:lnTo>
                        <a:lnTo>
                          <a:pt x="6327" y="15891"/>
                        </a:lnTo>
                        <a:lnTo>
                          <a:pt x="7859" y="15742"/>
                        </a:lnTo>
                        <a:lnTo>
                          <a:pt x="7992" y="15742"/>
                        </a:lnTo>
                        <a:lnTo>
                          <a:pt x="8059" y="15989"/>
                        </a:lnTo>
                        <a:lnTo>
                          <a:pt x="9591" y="15792"/>
                        </a:lnTo>
                        <a:lnTo>
                          <a:pt x="9724" y="15792"/>
                        </a:lnTo>
                        <a:lnTo>
                          <a:pt x="11589" y="15545"/>
                        </a:lnTo>
                        <a:lnTo>
                          <a:pt x="12055" y="15496"/>
                        </a:lnTo>
                        <a:lnTo>
                          <a:pt x="13320" y="15348"/>
                        </a:lnTo>
                        <a:lnTo>
                          <a:pt x="13320" y="15249"/>
                        </a:lnTo>
                        <a:lnTo>
                          <a:pt x="13320" y="15101"/>
                        </a:lnTo>
                        <a:lnTo>
                          <a:pt x="13387" y="14953"/>
                        </a:lnTo>
                        <a:lnTo>
                          <a:pt x="13520" y="14805"/>
                        </a:lnTo>
                        <a:lnTo>
                          <a:pt x="13587" y="14755"/>
                        </a:lnTo>
                        <a:lnTo>
                          <a:pt x="13653" y="14657"/>
                        </a:lnTo>
                        <a:lnTo>
                          <a:pt x="13720" y="14509"/>
                        </a:lnTo>
                        <a:lnTo>
                          <a:pt x="13920" y="14410"/>
                        </a:lnTo>
                        <a:lnTo>
                          <a:pt x="13986" y="14361"/>
                        </a:lnTo>
                        <a:lnTo>
                          <a:pt x="14053" y="14262"/>
                        </a:lnTo>
                        <a:lnTo>
                          <a:pt x="14120" y="14213"/>
                        </a:lnTo>
                        <a:lnTo>
                          <a:pt x="14186" y="14163"/>
                        </a:lnTo>
                        <a:lnTo>
                          <a:pt x="14253" y="14065"/>
                        </a:lnTo>
                        <a:lnTo>
                          <a:pt x="14186" y="13966"/>
                        </a:lnTo>
                        <a:lnTo>
                          <a:pt x="14120" y="13768"/>
                        </a:lnTo>
                        <a:lnTo>
                          <a:pt x="14120" y="13670"/>
                        </a:lnTo>
                        <a:lnTo>
                          <a:pt x="14186" y="13522"/>
                        </a:lnTo>
                        <a:lnTo>
                          <a:pt x="14186" y="13423"/>
                        </a:lnTo>
                        <a:lnTo>
                          <a:pt x="14186" y="13275"/>
                        </a:lnTo>
                        <a:lnTo>
                          <a:pt x="14253" y="13028"/>
                        </a:lnTo>
                        <a:lnTo>
                          <a:pt x="14386" y="12979"/>
                        </a:lnTo>
                        <a:lnTo>
                          <a:pt x="14586" y="12880"/>
                        </a:lnTo>
                        <a:lnTo>
                          <a:pt x="14786" y="12781"/>
                        </a:lnTo>
                        <a:lnTo>
                          <a:pt x="14919" y="12683"/>
                        </a:lnTo>
                        <a:lnTo>
                          <a:pt x="15052" y="12584"/>
                        </a:lnTo>
                        <a:lnTo>
                          <a:pt x="15119" y="12436"/>
                        </a:lnTo>
                        <a:lnTo>
                          <a:pt x="15119" y="12337"/>
                        </a:lnTo>
                        <a:lnTo>
                          <a:pt x="15052" y="12239"/>
                        </a:lnTo>
                        <a:lnTo>
                          <a:pt x="15052" y="12140"/>
                        </a:lnTo>
                        <a:lnTo>
                          <a:pt x="15052" y="12041"/>
                        </a:lnTo>
                        <a:lnTo>
                          <a:pt x="15252" y="11893"/>
                        </a:lnTo>
                        <a:lnTo>
                          <a:pt x="15252" y="11795"/>
                        </a:lnTo>
                        <a:lnTo>
                          <a:pt x="15252" y="11745"/>
                        </a:lnTo>
                        <a:lnTo>
                          <a:pt x="15185" y="11646"/>
                        </a:lnTo>
                        <a:lnTo>
                          <a:pt x="15185" y="11597"/>
                        </a:lnTo>
                        <a:lnTo>
                          <a:pt x="15318" y="11498"/>
                        </a:lnTo>
                        <a:lnTo>
                          <a:pt x="15518" y="11449"/>
                        </a:lnTo>
                        <a:lnTo>
                          <a:pt x="15585" y="11400"/>
                        </a:lnTo>
                        <a:lnTo>
                          <a:pt x="15651" y="11400"/>
                        </a:lnTo>
                        <a:lnTo>
                          <a:pt x="15785" y="11449"/>
                        </a:lnTo>
                        <a:lnTo>
                          <a:pt x="15851" y="11548"/>
                        </a:lnTo>
                        <a:lnTo>
                          <a:pt x="15718" y="11646"/>
                        </a:lnTo>
                        <a:lnTo>
                          <a:pt x="15718" y="11696"/>
                        </a:lnTo>
                        <a:lnTo>
                          <a:pt x="15851" y="11795"/>
                        </a:lnTo>
                        <a:lnTo>
                          <a:pt x="15918" y="11795"/>
                        </a:lnTo>
                        <a:lnTo>
                          <a:pt x="15984" y="11844"/>
                        </a:lnTo>
                        <a:lnTo>
                          <a:pt x="16051" y="11795"/>
                        </a:lnTo>
                        <a:lnTo>
                          <a:pt x="16184" y="11646"/>
                        </a:lnTo>
                        <a:lnTo>
                          <a:pt x="16251" y="11350"/>
                        </a:lnTo>
                        <a:lnTo>
                          <a:pt x="16251" y="11104"/>
                        </a:lnTo>
                        <a:lnTo>
                          <a:pt x="16184" y="10808"/>
                        </a:lnTo>
                        <a:lnTo>
                          <a:pt x="16184" y="10561"/>
                        </a:lnTo>
                        <a:lnTo>
                          <a:pt x="16184" y="10363"/>
                        </a:lnTo>
                        <a:lnTo>
                          <a:pt x="16251" y="10215"/>
                        </a:lnTo>
                        <a:lnTo>
                          <a:pt x="16384" y="10067"/>
                        </a:lnTo>
                        <a:lnTo>
                          <a:pt x="16251" y="9919"/>
                        </a:lnTo>
                        <a:lnTo>
                          <a:pt x="16118" y="9672"/>
                        </a:lnTo>
                        <a:lnTo>
                          <a:pt x="16051" y="9376"/>
                        </a:lnTo>
                        <a:lnTo>
                          <a:pt x="15984" y="9327"/>
                        </a:lnTo>
                        <a:lnTo>
                          <a:pt x="15918" y="9278"/>
                        </a:lnTo>
                        <a:lnTo>
                          <a:pt x="15851" y="8982"/>
                        </a:lnTo>
                        <a:lnTo>
                          <a:pt x="15718" y="8735"/>
                        </a:lnTo>
                        <a:lnTo>
                          <a:pt x="15718" y="8488"/>
                        </a:lnTo>
                        <a:lnTo>
                          <a:pt x="15585" y="8291"/>
                        </a:lnTo>
                        <a:lnTo>
                          <a:pt x="15452" y="8093"/>
                        </a:lnTo>
                        <a:lnTo>
                          <a:pt x="15318" y="7896"/>
                        </a:lnTo>
                        <a:lnTo>
                          <a:pt x="15252" y="7649"/>
                        </a:lnTo>
                        <a:lnTo>
                          <a:pt x="15252" y="7402"/>
                        </a:lnTo>
                        <a:lnTo>
                          <a:pt x="15185" y="7254"/>
                        </a:lnTo>
                        <a:lnTo>
                          <a:pt x="15119" y="6958"/>
                        </a:lnTo>
                        <a:lnTo>
                          <a:pt x="14852" y="6712"/>
                        </a:lnTo>
                        <a:lnTo>
                          <a:pt x="14719" y="6613"/>
                        </a:lnTo>
                        <a:lnTo>
                          <a:pt x="14652" y="6465"/>
                        </a:lnTo>
                        <a:lnTo>
                          <a:pt x="14586" y="6366"/>
                        </a:lnTo>
                        <a:lnTo>
                          <a:pt x="14386" y="6267"/>
                        </a:lnTo>
                        <a:lnTo>
                          <a:pt x="14186" y="6218"/>
                        </a:lnTo>
                        <a:lnTo>
                          <a:pt x="13920" y="6169"/>
                        </a:lnTo>
                        <a:lnTo>
                          <a:pt x="13787" y="6119"/>
                        </a:lnTo>
                        <a:lnTo>
                          <a:pt x="13653" y="6119"/>
                        </a:lnTo>
                        <a:lnTo>
                          <a:pt x="13520" y="6119"/>
                        </a:lnTo>
                        <a:lnTo>
                          <a:pt x="13387" y="6169"/>
                        </a:lnTo>
                        <a:lnTo>
                          <a:pt x="13254" y="6218"/>
                        </a:lnTo>
                        <a:lnTo>
                          <a:pt x="13187" y="6366"/>
                        </a:lnTo>
                        <a:lnTo>
                          <a:pt x="12854" y="6465"/>
                        </a:lnTo>
                        <a:lnTo>
                          <a:pt x="12588" y="6563"/>
                        </a:lnTo>
                        <a:lnTo>
                          <a:pt x="12455" y="6662"/>
                        </a:lnTo>
                        <a:lnTo>
                          <a:pt x="12255" y="6860"/>
                        </a:lnTo>
                        <a:lnTo>
                          <a:pt x="12188" y="7057"/>
                        </a:lnTo>
                        <a:lnTo>
                          <a:pt x="12055" y="7205"/>
                        </a:lnTo>
                        <a:lnTo>
                          <a:pt x="11922" y="7501"/>
                        </a:lnTo>
                        <a:lnTo>
                          <a:pt x="11922" y="7600"/>
                        </a:lnTo>
                        <a:lnTo>
                          <a:pt x="11855" y="7649"/>
                        </a:lnTo>
                        <a:lnTo>
                          <a:pt x="11788" y="7699"/>
                        </a:lnTo>
                        <a:lnTo>
                          <a:pt x="11655" y="7699"/>
                        </a:lnTo>
                        <a:lnTo>
                          <a:pt x="11589" y="7748"/>
                        </a:lnTo>
                        <a:lnTo>
                          <a:pt x="11522" y="7896"/>
                        </a:lnTo>
                        <a:lnTo>
                          <a:pt x="11322" y="8044"/>
                        </a:lnTo>
                        <a:lnTo>
                          <a:pt x="11256" y="8241"/>
                        </a:lnTo>
                        <a:lnTo>
                          <a:pt x="11122" y="8291"/>
                        </a:lnTo>
                        <a:close/>
                      </a:path>
                    </a:pathLst>
                  </a:custGeom>
                  <a:solidFill>
                    <a:srgbClr val="0070C0"/>
                  </a:solidFill>
                  <a:ln w="952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marL="0" marR="0" lvl="0" indent="0" defTabSz="121917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</a:endParaRPr>
                  </a:p>
                </p:txBody>
              </p:sp>
            </p:grpSp>
            <p:sp>
              <p:nvSpPr>
                <p:cNvPr id="41" name="Minnesota">
                  <a:extLst>
                    <a:ext uri="{FF2B5EF4-FFF2-40B4-BE49-F238E27FC236}">
                      <a16:creationId xmlns:a16="http://schemas.microsoft.com/office/drawing/2014/main" id="{D4B871E9-1D51-C926-8C11-DFEEB717A45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5287625" y="1552575"/>
                  <a:ext cx="3924300" cy="4171950"/>
                </a:xfrm>
                <a:custGeom>
                  <a:avLst/>
                  <a:gdLst>
                    <a:gd name="T0" fmla="*/ 2147483647 w 16384"/>
                    <a:gd name="T1" fmla="*/ 2147483647 h 16384"/>
                    <a:gd name="T2" fmla="*/ 2147483647 w 16384"/>
                    <a:gd name="T3" fmla="*/ 2147483647 h 16384"/>
                    <a:gd name="T4" fmla="*/ 2147483647 w 16384"/>
                    <a:gd name="T5" fmla="*/ 2147483647 h 16384"/>
                    <a:gd name="T6" fmla="*/ 2147483647 w 16384"/>
                    <a:gd name="T7" fmla="*/ 2147483647 h 16384"/>
                    <a:gd name="T8" fmla="*/ 2147483647 w 16384"/>
                    <a:gd name="T9" fmla="*/ 2147483647 h 16384"/>
                    <a:gd name="T10" fmla="*/ 2147483647 w 16384"/>
                    <a:gd name="T11" fmla="*/ 2147483647 h 16384"/>
                    <a:gd name="T12" fmla="*/ 2147483647 w 16384"/>
                    <a:gd name="T13" fmla="*/ 2147483647 h 16384"/>
                    <a:gd name="T14" fmla="*/ 2147483647 w 16384"/>
                    <a:gd name="T15" fmla="*/ 2147483647 h 16384"/>
                    <a:gd name="T16" fmla="*/ 2147483647 w 16384"/>
                    <a:gd name="T17" fmla="*/ 2147483647 h 16384"/>
                    <a:gd name="T18" fmla="*/ 2147483647 w 16384"/>
                    <a:gd name="T19" fmla="*/ 2147483647 h 16384"/>
                    <a:gd name="T20" fmla="*/ 2147483647 w 16384"/>
                    <a:gd name="T21" fmla="*/ 2147483647 h 16384"/>
                    <a:gd name="T22" fmla="*/ 2147483647 w 16384"/>
                    <a:gd name="T23" fmla="*/ 2147483647 h 16384"/>
                    <a:gd name="T24" fmla="*/ 2147483647 w 16384"/>
                    <a:gd name="T25" fmla="*/ 2147483647 h 16384"/>
                    <a:gd name="T26" fmla="*/ 2147483647 w 16384"/>
                    <a:gd name="T27" fmla="*/ 2147483647 h 16384"/>
                    <a:gd name="T28" fmla="*/ 2147483647 w 16384"/>
                    <a:gd name="T29" fmla="*/ 2147483647 h 16384"/>
                    <a:gd name="T30" fmla="*/ 2147483647 w 16384"/>
                    <a:gd name="T31" fmla="*/ 2147483647 h 16384"/>
                    <a:gd name="T32" fmla="*/ 2147483647 w 16384"/>
                    <a:gd name="T33" fmla="*/ 2147483647 h 16384"/>
                    <a:gd name="T34" fmla="*/ 2147483647 w 16384"/>
                    <a:gd name="T35" fmla="*/ 2147483647 h 16384"/>
                    <a:gd name="T36" fmla="*/ 2147483647 w 16384"/>
                    <a:gd name="T37" fmla="*/ 2147483647 h 16384"/>
                    <a:gd name="T38" fmla="*/ 2147483647 w 16384"/>
                    <a:gd name="T39" fmla="*/ 2147483647 h 16384"/>
                    <a:gd name="T40" fmla="*/ 2147483647 w 16384"/>
                    <a:gd name="T41" fmla="*/ 2147483647 h 16384"/>
                    <a:gd name="T42" fmla="*/ 2147483647 w 16384"/>
                    <a:gd name="T43" fmla="*/ 2147483647 h 16384"/>
                    <a:gd name="T44" fmla="*/ 2147483647 w 16384"/>
                    <a:gd name="T45" fmla="*/ 2147483647 h 16384"/>
                    <a:gd name="T46" fmla="*/ 2147483647 w 16384"/>
                    <a:gd name="T47" fmla="*/ 2147483647 h 16384"/>
                    <a:gd name="T48" fmla="*/ 2147483647 w 16384"/>
                    <a:gd name="T49" fmla="*/ 2147483647 h 16384"/>
                    <a:gd name="T50" fmla="*/ 2147483647 w 16384"/>
                    <a:gd name="T51" fmla="*/ 2147483647 h 16384"/>
                    <a:gd name="T52" fmla="*/ 2147483647 w 16384"/>
                    <a:gd name="T53" fmla="*/ 2147483647 h 16384"/>
                    <a:gd name="T54" fmla="*/ 2147483647 w 16384"/>
                    <a:gd name="T55" fmla="*/ 2147483647 h 16384"/>
                    <a:gd name="T56" fmla="*/ 2147483647 w 16384"/>
                    <a:gd name="T57" fmla="*/ 2147483647 h 16384"/>
                    <a:gd name="T58" fmla="*/ 2147483647 w 16384"/>
                    <a:gd name="T59" fmla="*/ 2147483647 h 16384"/>
                    <a:gd name="T60" fmla="*/ 2147483647 w 16384"/>
                    <a:gd name="T61" fmla="*/ 2147483647 h 16384"/>
                    <a:gd name="T62" fmla="*/ 2147483647 w 16384"/>
                    <a:gd name="T63" fmla="*/ 2147483647 h 16384"/>
                    <a:gd name="T64" fmla="*/ 2147483647 w 16384"/>
                    <a:gd name="T65" fmla="*/ 2147483647 h 16384"/>
                    <a:gd name="T66" fmla="*/ 2147483647 w 16384"/>
                    <a:gd name="T67" fmla="*/ 2147483647 h 16384"/>
                    <a:gd name="T68" fmla="*/ 2147483647 w 16384"/>
                    <a:gd name="T69" fmla="*/ 2147483647 h 16384"/>
                    <a:gd name="T70" fmla="*/ 2147483647 w 16384"/>
                    <a:gd name="T71" fmla="*/ 2147483647 h 16384"/>
                    <a:gd name="T72" fmla="*/ 2147483647 w 16384"/>
                    <a:gd name="T73" fmla="*/ 2147483647 h 16384"/>
                    <a:gd name="T74" fmla="*/ 2147483647 w 16384"/>
                    <a:gd name="T75" fmla="*/ 2147483647 h 16384"/>
                    <a:gd name="T76" fmla="*/ 2147483647 w 16384"/>
                    <a:gd name="T77" fmla="*/ 2147483647 h 16384"/>
                    <a:gd name="T78" fmla="*/ 2147483647 w 16384"/>
                    <a:gd name="T79" fmla="*/ 2147483647 h 16384"/>
                    <a:gd name="T80" fmla="*/ 2147483647 w 16384"/>
                    <a:gd name="T81" fmla="*/ 2147483647 h 16384"/>
                    <a:gd name="T82" fmla="*/ 2147483647 w 16384"/>
                    <a:gd name="T83" fmla="*/ 2147483647 h 16384"/>
                    <a:gd name="T84" fmla="*/ 2147483647 w 16384"/>
                    <a:gd name="T85" fmla="*/ 2147483647 h 16384"/>
                    <a:gd name="T86" fmla="*/ 2147483647 w 16384"/>
                    <a:gd name="T87" fmla="*/ 2147483647 h 16384"/>
                    <a:gd name="T88" fmla="*/ 2147483647 w 16384"/>
                    <a:gd name="T89" fmla="*/ 2147483647 h 16384"/>
                    <a:gd name="T90" fmla="*/ 2147483647 w 16384"/>
                    <a:gd name="T91" fmla="*/ 2147483647 h 16384"/>
                    <a:gd name="T92" fmla="*/ 2147483647 w 16384"/>
                    <a:gd name="T93" fmla="*/ 2147483647 h 16384"/>
                    <a:gd name="T94" fmla="*/ 2147483647 w 16384"/>
                    <a:gd name="T95" fmla="*/ 2147483647 h 16384"/>
                    <a:gd name="T96" fmla="*/ 2147483647 w 16384"/>
                    <a:gd name="T97" fmla="*/ 2147483647 h 16384"/>
                    <a:gd name="T98" fmla="*/ 2147483647 w 16384"/>
                    <a:gd name="T99" fmla="*/ 2147483647 h 16384"/>
                    <a:gd name="T100" fmla="*/ 2147483647 w 16384"/>
                    <a:gd name="T101" fmla="*/ 2147483647 h 16384"/>
                    <a:gd name="T102" fmla="*/ 2147483647 w 16384"/>
                    <a:gd name="T103" fmla="*/ 2147483647 h 16384"/>
                    <a:gd name="T104" fmla="*/ 2147483647 w 16384"/>
                    <a:gd name="T105" fmla="*/ 2147483647 h 16384"/>
                    <a:gd name="T106" fmla="*/ 2147483647 w 16384"/>
                    <a:gd name="T107" fmla="*/ 2147483647 h 16384"/>
                    <a:gd name="T108" fmla="*/ 2147483647 w 16384"/>
                    <a:gd name="T109" fmla="*/ 2147483647 h 16384"/>
                    <a:gd name="T110" fmla="*/ 2147483647 w 16384"/>
                    <a:gd name="T111" fmla="*/ 2147483647 h 16384"/>
                    <a:gd name="T112" fmla="*/ 2147483647 w 16384"/>
                    <a:gd name="T113" fmla="*/ 2147483647 h 16384"/>
                    <a:gd name="T114" fmla="*/ 2147483647 w 16384"/>
                    <a:gd name="T115" fmla="*/ 2147483647 h 16384"/>
                    <a:gd name="T116" fmla="*/ 2147483647 w 16384"/>
                    <a:gd name="T117" fmla="*/ 2147483647 h 16384"/>
                    <a:gd name="T118" fmla="*/ 2147483647 w 16384"/>
                    <a:gd name="T119" fmla="*/ 2147483647 h 16384"/>
                    <a:gd name="T120" fmla="*/ 2147483647 w 16384"/>
                    <a:gd name="T121" fmla="*/ 2147483647 h 16384"/>
                    <a:gd name="T122" fmla="*/ 2147483647 w 16384"/>
                    <a:gd name="T123" fmla="*/ 2147483647 h 16384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60000 65536"/>
                    <a:gd name="T178" fmla="*/ 0 60000 65536"/>
                    <a:gd name="T179" fmla="*/ 0 60000 65536"/>
                    <a:gd name="T180" fmla="*/ 0 60000 65536"/>
                    <a:gd name="T181" fmla="*/ 0 60000 65536"/>
                    <a:gd name="T182" fmla="*/ 0 60000 65536"/>
                    <a:gd name="T183" fmla="*/ 0 60000 65536"/>
                    <a:gd name="T184" fmla="*/ 0 60000 65536"/>
                    <a:gd name="T185" fmla="*/ 0 60000 65536"/>
                    <a:gd name="T186" fmla="*/ 0 w 16384"/>
                    <a:gd name="T187" fmla="*/ 0 h 16384"/>
                    <a:gd name="T188" fmla="*/ 16384 w 16384"/>
                    <a:gd name="T189" fmla="*/ 16384 h 16384"/>
                  </a:gdLst>
                  <a:ahLst/>
                  <a:cxnLst>
                    <a:cxn ang="T124">
                      <a:pos x="T0" y="T1"/>
                    </a:cxn>
                    <a:cxn ang="T125">
                      <a:pos x="T2" y="T3"/>
                    </a:cxn>
                    <a:cxn ang="T126">
                      <a:pos x="T4" y="T5"/>
                    </a:cxn>
                    <a:cxn ang="T127">
                      <a:pos x="T6" y="T7"/>
                    </a:cxn>
                    <a:cxn ang="T128">
                      <a:pos x="T8" y="T9"/>
                    </a:cxn>
                    <a:cxn ang="T129">
                      <a:pos x="T10" y="T11"/>
                    </a:cxn>
                    <a:cxn ang="T130">
                      <a:pos x="T12" y="T13"/>
                    </a:cxn>
                    <a:cxn ang="T131">
                      <a:pos x="T14" y="T15"/>
                    </a:cxn>
                    <a:cxn ang="T132">
                      <a:pos x="T16" y="T17"/>
                    </a:cxn>
                    <a:cxn ang="T133">
                      <a:pos x="T18" y="T19"/>
                    </a:cxn>
                    <a:cxn ang="T134">
                      <a:pos x="T20" y="T21"/>
                    </a:cxn>
                    <a:cxn ang="T135">
                      <a:pos x="T22" y="T23"/>
                    </a:cxn>
                    <a:cxn ang="T136">
                      <a:pos x="T24" y="T25"/>
                    </a:cxn>
                    <a:cxn ang="T137">
                      <a:pos x="T26" y="T27"/>
                    </a:cxn>
                    <a:cxn ang="T138">
                      <a:pos x="T28" y="T29"/>
                    </a:cxn>
                    <a:cxn ang="T139">
                      <a:pos x="T30" y="T31"/>
                    </a:cxn>
                    <a:cxn ang="T140">
                      <a:pos x="T32" y="T33"/>
                    </a:cxn>
                    <a:cxn ang="T141">
                      <a:pos x="T34" y="T35"/>
                    </a:cxn>
                    <a:cxn ang="T142">
                      <a:pos x="T36" y="T37"/>
                    </a:cxn>
                    <a:cxn ang="T143">
                      <a:pos x="T38" y="T39"/>
                    </a:cxn>
                    <a:cxn ang="T144">
                      <a:pos x="T40" y="T41"/>
                    </a:cxn>
                    <a:cxn ang="T145">
                      <a:pos x="T42" y="T43"/>
                    </a:cxn>
                    <a:cxn ang="T146">
                      <a:pos x="T44" y="T45"/>
                    </a:cxn>
                    <a:cxn ang="T147">
                      <a:pos x="T46" y="T47"/>
                    </a:cxn>
                    <a:cxn ang="T148">
                      <a:pos x="T48" y="T49"/>
                    </a:cxn>
                    <a:cxn ang="T149">
                      <a:pos x="T50" y="T51"/>
                    </a:cxn>
                    <a:cxn ang="T150">
                      <a:pos x="T52" y="T53"/>
                    </a:cxn>
                    <a:cxn ang="T151">
                      <a:pos x="T54" y="T55"/>
                    </a:cxn>
                    <a:cxn ang="T152">
                      <a:pos x="T56" y="T57"/>
                    </a:cxn>
                    <a:cxn ang="T153">
                      <a:pos x="T58" y="T59"/>
                    </a:cxn>
                    <a:cxn ang="T154">
                      <a:pos x="T60" y="T61"/>
                    </a:cxn>
                    <a:cxn ang="T155">
                      <a:pos x="T62" y="T63"/>
                    </a:cxn>
                    <a:cxn ang="T156">
                      <a:pos x="T64" y="T65"/>
                    </a:cxn>
                    <a:cxn ang="T157">
                      <a:pos x="T66" y="T67"/>
                    </a:cxn>
                    <a:cxn ang="T158">
                      <a:pos x="T68" y="T69"/>
                    </a:cxn>
                    <a:cxn ang="T159">
                      <a:pos x="T70" y="T71"/>
                    </a:cxn>
                    <a:cxn ang="T160">
                      <a:pos x="T72" y="T73"/>
                    </a:cxn>
                    <a:cxn ang="T161">
                      <a:pos x="T74" y="T75"/>
                    </a:cxn>
                    <a:cxn ang="T162">
                      <a:pos x="T76" y="T77"/>
                    </a:cxn>
                    <a:cxn ang="T163">
                      <a:pos x="T78" y="T79"/>
                    </a:cxn>
                    <a:cxn ang="T164">
                      <a:pos x="T80" y="T81"/>
                    </a:cxn>
                    <a:cxn ang="T165">
                      <a:pos x="T82" y="T83"/>
                    </a:cxn>
                    <a:cxn ang="T166">
                      <a:pos x="T84" y="T85"/>
                    </a:cxn>
                    <a:cxn ang="T167">
                      <a:pos x="T86" y="T87"/>
                    </a:cxn>
                    <a:cxn ang="T168">
                      <a:pos x="T88" y="T89"/>
                    </a:cxn>
                    <a:cxn ang="T169">
                      <a:pos x="T90" y="T91"/>
                    </a:cxn>
                    <a:cxn ang="T170">
                      <a:pos x="T92" y="T93"/>
                    </a:cxn>
                    <a:cxn ang="T171">
                      <a:pos x="T94" y="T95"/>
                    </a:cxn>
                    <a:cxn ang="T172">
                      <a:pos x="T96" y="T97"/>
                    </a:cxn>
                    <a:cxn ang="T173">
                      <a:pos x="T98" y="T99"/>
                    </a:cxn>
                    <a:cxn ang="T174">
                      <a:pos x="T100" y="T101"/>
                    </a:cxn>
                    <a:cxn ang="T175">
                      <a:pos x="T102" y="T103"/>
                    </a:cxn>
                    <a:cxn ang="T176">
                      <a:pos x="T104" y="T105"/>
                    </a:cxn>
                    <a:cxn ang="T177">
                      <a:pos x="T106" y="T107"/>
                    </a:cxn>
                    <a:cxn ang="T178">
                      <a:pos x="T108" y="T109"/>
                    </a:cxn>
                    <a:cxn ang="T179">
                      <a:pos x="T110" y="T111"/>
                    </a:cxn>
                    <a:cxn ang="T180">
                      <a:pos x="T112" y="T113"/>
                    </a:cxn>
                    <a:cxn ang="T181">
                      <a:pos x="T114" y="T115"/>
                    </a:cxn>
                    <a:cxn ang="T182">
                      <a:pos x="T116" y="T117"/>
                    </a:cxn>
                    <a:cxn ang="T183">
                      <a:pos x="T118" y="T119"/>
                    </a:cxn>
                    <a:cxn ang="T184">
                      <a:pos x="T120" y="T121"/>
                    </a:cxn>
                    <a:cxn ang="T185">
                      <a:pos x="T122" y="T123"/>
                    </a:cxn>
                  </a:cxnLst>
                  <a:rect l="T186" t="T187" r="T188" b="T189"/>
                  <a:pathLst>
                    <a:path w="16384" h="16384">
                      <a:moveTo>
                        <a:pt x="9457" y="10042"/>
                      </a:moveTo>
                      <a:lnTo>
                        <a:pt x="9535" y="9971"/>
                      </a:lnTo>
                      <a:lnTo>
                        <a:pt x="9574" y="9901"/>
                      </a:lnTo>
                      <a:lnTo>
                        <a:pt x="9612" y="9725"/>
                      </a:lnTo>
                      <a:lnTo>
                        <a:pt x="9651" y="9654"/>
                      </a:lnTo>
                      <a:lnTo>
                        <a:pt x="9690" y="9584"/>
                      </a:lnTo>
                      <a:lnTo>
                        <a:pt x="9768" y="9513"/>
                      </a:lnTo>
                      <a:lnTo>
                        <a:pt x="10002" y="9408"/>
                      </a:lnTo>
                      <a:lnTo>
                        <a:pt x="10118" y="9337"/>
                      </a:lnTo>
                      <a:lnTo>
                        <a:pt x="10235" y="9302"/>
                      </a:lnTo>
                      <a:lnTo>
                        <a:pt x="10313" y="9196"/>
                      </a:lnTo>
                      <a:lnTo>
                        <a:pt x="10469" y="9196"/>
                      </a:lnTo>
                      <a:lnTo>
                        <a:pt x="10546" y="9090"/>
                      </a:lnTo>
                      <a:lnTo>
                        <a:pt x="10585" y="9055"/>
                      </a:lnTo>
                      <a:lnTo>
                        <a:pt x="10624" y="8809"/>
                      </a:lnTo>
                      <a:lnTo>
                        <a:pt x="10585" y="8069"/>
                      </a:lnTo>
                      <a:lnTo>
                        <a:pt x="10546" y="7434"/>
                      </a:lnTo>
                      <a:lnTo>
                        <a:pt x="10624" y="7399"/>
                      </a:lnTo>
                      <a:lnTo>
                        <a:pt x="10702" y="7399"/>
                      </a:lnTo>
                      <a:lnTo>
                        <a:pt x="10741" y="7258"/>
                      </a:lnTo>
                      <a:lnTo>
                        <a:pt x="10858" y="7188"/>
                      </a:lnTo>
                      <a:lnTo>
                        <a:pt x="10936" y="7117"/>
                      </a:lnTo>
                      <a:lnTo>
                        <a:pt x="11013" y="6976"/>
                      </a:lnTo>
                      <a:lnTo>
                        <a:pt x="11169" y="6906"/>
                      </a:lnTo>
                      <a:lnTo>
                        <a:pt x="11364" y="6800"/>
                      </a:lnTo>
                      <a:lnTo>
                        <a:pt x="11519" y="6659"/>
                      </a:lnTo>
                      <a:lnTo>
                        <a:pt x="11597" y="6589"/>
                      </a:lnTo>
                      <a:lnTo>
                        <a:pt x="11714" y="6483"/>
                      </a:lnTo>
                      <a:lnTo>
                        <a:pt x="11986" y="6307"/>
                      </a:lnTo>
                      <a:lnTo>
                        <a:pt x="12142" y="6166"/>
                      </a:lnTo>
                      <a:lnTo>
                        <a:pt x="12414" y="5955"/>
                      </a:lnTo>
                      <a:lnTo>
                        <a:pt x="12648" y="5743"/>
                      </a:lnTo>
                      <a:lnTo>
                        <a:pt x="12959" y="5391"/>
                      </a:lnTo>
                      <a:lnTo>
                        <a:pt x="13076" y="5250"/>
                      </a:lnTo>
                      <a:lnTo>
                        <a:pt x="13232" y="5109"/>
                      </a:lnTo>
                      <a:lnTo>
                        <a:pt x="13348" y="5003"/>
                      </a:lnTo>
                      <a:lnTo>
                        <a:pt x="13543" y="4827"/>
                      </a:lnTo>
                      <a:lnTo>
                        <a:pt x="13660" y="4721"/>
                      </a:lnTo>
                      <a:lnTo>
                        <a:pt x="13854" y="4651"/>
                      </a:lnTo>
                      <a:lnTo>
                        <a:pt x="14282" y="4369"/>
                      </a:lnTo>
                      <a:lnTo>
                        <a:pt x="14555" y="4228"/>
                      </a:lnTo>
                      <a:lnTo>
                        <a:pt x="14866" y="4122"/>
                      </a:lnTo>
                      <a:lnTo>
                        <a:pt x="15100" y="4052"/>
                      </a:lnTo>
                      <a:lnTo>
                        <a:pt x="15411" y="3911"/>
                      </a:lnTo>
                      <a:lnTo>
                        <a:pt x="15645" y="3805"/>
                      </a:lnTo>
                      <a:lnTo>
                        <a:pt x="15761" y="3770"/>
                      </a:lnTo>
                      <a:lnTo>
                        <a:pt x="15995" y="3629"/>
                      </a:lnTo>
                      <a:lnTo>
                        <a:pt x="16150" y="3488"/>
                      </a:lnTo>
                      <a:lnTo>
                        <a:pt x="16384" y="3383"/>
                      </a:lnTo>
                      <a:lnTo>
                        <a:pt x="16189" y="3383"/>
                      </a:lnTo>
                      <a:lnTo>
                        <a:pt x="15917" y="3383"/>
                      </a:lnTo>
                      <a:lnTo>
                        <a:pt x="15800" y="3383"/>
                      </a:lnTo>
                      <a:lnTo>
                        <a:pt x="15722" y="3418"/>
                      </a:lnTo>
                      <a:lnTo>
                        <a:pt x="15606" y="3453"/>
                      </a:lnTo>
                      <a:lnTo>
                        <a:pt x="15450" y="3418"/>
                      </a:lnTo>
                      <a:lnTo>
                        <a:pt x="15333" y="3347"/>
                      </a:lnTo>
                      <a:lnTo>
                        <a:pt x="15255" y="3277"/>
                      </a:lnTo>
                      <a:lnTo>
                        <a:pt x="15178" y="3242"/>
                      </a:lnTo>
                      <a:lnTo>
                        <a:pt x="15139" y="3171"/>
                      </a:lnTo>
                      <a:lnTo>
                        <a:pt x="15022" y="3171"/>
                      </a:lnTo>
                      <a:lnTo>
                        <a:pt x="14866" y="3171"/>
                      </a:lnTo>
                      <a:lnTo>
                        <a:pt x="14749" y="3206"/>
                      </a:lnTo>
                      <a:lnTo>
                        <a:pt x="14594" y="3206"/>
                      </a:lnTo>
                      <a:lnTo>
                        <a:pt x="14360" y="3206"/>
                      </a:lnTo>
                      <a:lnTo>
                        <a:pt x="14205" y="3242"/>
                      </a:lnTo>
                      <a:lnTo>
                        <a:pt x="14049" y="3171"/>
                      </a:lnTo>
                      <a:lnTo>
                        <a:pt x="14010" y="3171"/>
                      </a:lnTo>
                      <a:lnTo>
                        <a:pt x="13932" y="3206"/>
                      </a:lnTo>
                      <a:lnTo>
                        <a:pt x="13815" y="3242"/>
                      </a:lnTo>
                      <a:lnTo>
                        <a:pt x="13699" y="3277"/>
                      </a:lnTo>
                      <a:lnTo>
                        <a:pt x="13660" y="3206"/>
                      </a:lnTo>
                      <a:lnTo>
                        <a:pt x="13660" y="3171"/>
                      </a:lnTo>
                      <a:lnTo>
                        <a:pt x="13621" y="3101"/>
                      </a:lnTo>
                      <a:lnTo>
                        <a:pt x="13504" y="3030"/>
                      </a:lnTo>
                      <a:lnTo>
                        <a:pt x="13465" y="2889"/>
                      </a:lnTo>
                      <a:lnTo>
                        <a:pt x="13465" y="2854"/>
                      </a:lnTo>
                      <a:lnTo>
                        <a:pt x="13387" y="2854"/>
                      </a:lnTo>
                      <a:lnTo>
                        <a:pt x="13310" y="2889"/>
                      </a:lnTo>
                      <a:lnTo>
                        <a:pt x="13232" y="2924"/>
                      </a:lnTo>
                      <a:lnTo>
                        <a:pt x="13115" y="2995"/>
                      </a:lnTo>
                      <a:lnTo>
                        <a:pt x="13076" y="3030"/>
                      </a:lnTo>
                      <a:lnTo>
                        <a:pt x="12959" y="3065"/>
                      </a:lnTo>
                      <a:lnTo>
                        <a:pt x="12765" y="3206"/>
                      </a:lnTo>
                      <a:lnTo>
                        <a:pt x="12648" y="3312"/>
                      </a:lnTo>
                      <a:lnTo>
                        <a:pt x="12492" y="3383"/>
                      </a:lnTo>
                      <a:lnTo>
                        <a:pt x="12298" y="3453"/>
                      </a:lnTo>
                      <a:lnTo>
                        <a:pt x="12181" y="3418"/>
                      </a:lnTo>
                      <a:lnTo>
                        <a:pt x="12103" y="3418"/>
                      </a:lnTo>
                      <a:lnTo>
                        <a:pt x="12025" y="3453"/>
                      </a:lnTo>
                      <a:lnTo>
                        <a:pt x="11947" y="3418"/>
                      </a:lnTo>
                      <a:lnTo>
                        <a:pt x="11947" y="3347"/>
                      </a:lnTo>
                      <a:lnTo>
                        <a:pt x="11831" y="3347"/>
                      </a:lnTo>
                      <a:lnTo>
                        <a:pt x="11714" y="3312"/>
                      </a:lnTo>
                      <a:lnTo>
                        <a:pt x="11675" y="3277"/>
                      </a:lnTo>
                      <a:lnTo>
                        <a:pt x="11675" y="3171"/>
                      </a:lnTo>
                      <a:lnTo>
                        <a:pt x="11636" y="3101"/>
                      </a:lnTo>
                      <a:lnTo>
                        <a:pt x="11597" y="3065"/>
                      </a:lnTo>
                      <a:lnTo>
                        <a:pt x="11519" y="3065"/>
                      </a:lnTo>
                      <a:lnTo>
                        <a:pt x="11480" y="3101"/>
                      </a:lnTo>
                      <a:lnTo>
                        <a:pt x="11325" y="3065"/>
                      </a:lnTo>
                      <a:lnTo>
                        <a:pt x="11247" y="2995"/>
                      </a:lnTo>
                      <a:lnTo>
                        <a:pt x="11208" y="2995"/>
                      </a:lnTo>
                      <a:lnTo>
                        <a:pt x="11130" y="2995"/>
                      </a:lnTo>
                      <a:lnTo>
                        <a:pt x="11052" y="2960"/>
                      </a:lnTo>
                      <a:lnTo>
                        <a:pt x="11013" y="2889"/>
                      </a:lnTo>
                      <a:lnTo>
                        <a:pt x="11013" y="2784"/>
                      </a:lnTo>
                      <a:lnTo>
                        <a:pt x="10975" y="2748"/>
                      </a:lnTo>
                      <a:lnTo>
                        <a:pt x="10936" y="2713"/>
                      </a:lnTo>
                      <a:lnTo>
                        <a:pt x="10897" y="2678"/>
                      </a:lnTo>
                      <a:lnTo>
                        <a:pt x="10858" y="2678"/>
                      </a:lnTo>
                      <a:lnTo>
                        <a:pt x="10819" y="2678"/>
                      </a:lnTo>
                      <a:lnTo>
                        <a:pt x="10663" y="2678"/>
                      </a:lnTo>
                      <a:lnTo>
                        <a:pt x="10546" y="2713"/>
                      </a:lnTo>
                      <a:lnTo>
                        <a:pt x="10430" y="2713"/>
                      </a:lnTo>
                      <a:lnTo>
                        <a:pt x="10391" y="2748"/>
                      </a:lnTo>
                      <a:lnTo>
                        <a:pt x="10391" y="2819"/>
                      </a:lnTo>
                      <a:lnTo>
                        <a:pt x="10391" y="2995"/>
                      </a:lnTo>
                      <a:lnTo>
                        <a:pt x="10235" y="3065"/>
                      </a:lnTo>
                      <a:lnTo>
                        <a:pt x="10118" y="2889"/>
                      </a:lnTo>
                      <a:lnTo>
                        <a:pt x="10041" y="2748"/>
                      </a:lnTo>
                      <a:lnTo>
                        <a:pt x="10002" y="2678"/>
                      </a:lnTo>
                      <a:lnTo>
                        <a:pt x="10041" y="2572"/>
                      </a:lnTo>
                      <a:lnTo>
                        <a:pt x="9924" y="2466"/>
                      </a:lnTo>
                      <a:lnTo>
                        <a:pt x="9846" y="2466"/>
                      </a:lnTo>
                      <a:lnTo>
                        <a:pt x="9768" y="2431"/>
                      </a:lnTo>
                      <a:lnTo>
                        <a:pt x="9651" y="2466"/>
                      </a:lnTo>
                      <a:lnTo>
                        <a:pt x="9535" y="2466"/>
                      </a:lnTo>
                      <a:lnTo>
                        <a:pt x="9535" y="2396"/>
                      </a:lnTo>
                      <a:lnTo>
                        <a:pt x="9574" y="2325"/>
                      </a:lnTo>
                      <a:lnTo>
                        <a:pt x="9690" y="2325"/>
                      </a:lnTo>
                      <a:lnTo>
                        <a:pt x="9651" y="2149"/>
                      </a:lnTo>
                      <a:lnTo>
                        <a:pt x="9574" y="2149"/>
                      </a:lnTo>
                      <a:lnTo>
                        <a:pt x="9496" y="2185"/>
                      </a:lnTo>
                      <a:lnTo>
                        <a:pt x="9418" y="2149"/>
                      </a:lnTo>
                      <a:lnTo>
                        <a:pt x="9301" y="2114"/>
                      </a:lnTo>
                      <a:lnTo>
                        <a:pt x="9107" y="2079"/>
                      </a:lnTo>
                      <a:lnTo>
                        <a:pt x="8990" y="2008"/>
                      </a:lnTo>
                      <a:lnTo>
                        <a:pt x="8951" y="1973"/>
                      </a:lnTo>
                      <a:lnTo>
                        <a:pt x="8834" y="1973"/>
                      </a:lnTo>
                      <a:lnTo>
                        <a:pt x="8717" y="2008"/>
                      </a:lnTo>
                      <a:lnTo>
                        <a:pt x="8484" y="1973"/>
                      </a:lnTo>
                      <a:lnTo>
                        <a:pt x="8367" y="1973"/>
                      </a:lnTo>
                      <a:lnTo>
                        <a:pt x="8289" y="1973"/>
                      </a:lnTo>
                      <a:lnTo>
                        <a:pt x="8017" y="2079"/>
                      </a:lnTo>
                      <a:lnTo>
                        <a:pt x="7939" y="2114"/>
                      </a:lnTo>
                      <a:lnTo>
                        <a:pt x="7900" y="2220"/>
                      </a:lnTo>
                      <a:lnTo>
                        <a:pt x="7239" y="2361"/>
                      </a:lnTo>
                      <a:lnTo>
                        <a:pt x="7200" y="2290"/>
                      </a:lnTo>
                      <a:lnTo>
                        <a:pt x="7200" y="2114"/>
                      </a:lnTo>
                      <a:lnTo>
                        <a:pt x="7161" y="2044"/>
                      </a:lnTo>
                      <a:lnTo>
                        <a:pt x="7083" y="2008"/>
                      </a:lnTo>
                      <a:lnTo>
                        <a:pt x="6421" y="1973"/>
                      </a:lnTo>
                      <a:lnTo>
                        <a:pt x="6266" y="2008"/>
                      </a:lnTo>
                      <a:lnTo>
                        <a:pt x="6227" y="1867"/>
                      </a:lnTo>
                      <a:lnTo>
                        <a:pt x="6149" y="1832"/>
                      </a:lnTo>
                      <a:lnTo>
                        <a:pt x="6071" y="1832"/>
                      </a:lnTo>
                      <a:lnTo>
                        <a:pt x="5993" y="1832"/>
                      </a:lnTo>
                      <a:lnTo>
                        <a:pt x="5915" y="1867"/>
                      </a:lnTo>
                      <a:lnTo>
                        <a:pt x="5838" y="1867"/>
                      </a:lnTo>
                      <a:lnTo>
                        <a:pt x="5643" y="1832"/>
                      </a:lnTo>
                      <a:lnTo>
                        <a:pt x="5487" y="1762"/>
                      </a:lnTo>
                      <a:lnTo>
                        <a:pt x="5332" y="1691"/>
                      </a:lnTo>
                      <a:lnTo>
                        <a:pt x="5332" y="1621"/>
                      </a:lnTo>
                      <a:lnTo>
                        <a:pt x="5293" y="1515"/>
                      </a:lnTo>
                      <a:lnTo>
                        <a:pt x="5332" y="1445"/>
                      </a:lnTo>
                      <a:lnTo>
                        <a:pt x="5332" y="1339"/>
                      </a:lnTo>
                      <a:lnTo>
                        <a:pt x="5332" y="1233"/>
                      </a:lnTo>
                      <a:lnTo>
                        <a:pt x="5293" y="1092"/>
                      </a:lnTo>
                      <a:lnTo>
                        <a:pt x="5215" y="881"/>
                      </a:lnTo>
                      <a:lnTo>
                        <a:pt x="5215" y="705"/>
                      </a:lnTo>
                      <a:lnTo>
                        <a:pt x="5137" y="564"/>
                      </a:lnTo>
                      <a:lnTo>
                        <a:pt x="5059" y="352"/>
                      </a:lnTo>
                      <a:lnTo>
                        <a:pt x="5059" y="211"/>
                      </a:lnTo>
                      <a:lnTo>
                        <a:pt x="5059" y="106"/>
                      </a:lnTo>
                      <a:lnTo>
                        <a:pt x="4981" y="106"/>
                      </a:lnTo>
                      <a:lnTo>
                        <a:pt x="4904" y="70"/>
                      </a:lnTo>
                      <a:lnTo>
                        <a:pt x="4826" y="35"/>
                      </a:lnTo>
                      <a:lnTo>
                        <a:pt x="4787" y="0"/>
                      </a:lnTo>
                      <a:lnTo>
                        <a:pt x="4670" y="0"/>
                      </a:lnTo>
                      <a:lnTo>
                        <a:pt x="4592" y="35"/>
                      </a:lnTo>
                      <a:lnTo>
                        <a:pt x="4514" y="35"/>
                      </a:lnTo>
                      <a:lnTo>
                        <a:pt x="4398" y="0"/>
                      </a:lnTo>
                      <a:lnTo>
                        <a:pt x="4320" y="0"/>
                      </a:lnTo>
                      <a:lnTo>
                        <a:pt x="4320" y="1022"/>
                      </a:lnTo>
                      <a:lnTo>
                        <a:pt x="4047" y="1022"/>
                      </a:lnTo>
                      <a:lnTo>
                        <a:pt x="1790" y="1022"/>
                      </a:lnTo>
                      <a:lnTo>
                        <a:pt x="0" y="1022"/>
                      </a:lnTo>
                      <a:lnTo>
                        <a:pt x="0" y="1198"/>
                      </a:lnTo>
                      <a:lnTo>
                        <a:pt x="78" y="1304"/>
                      </a:lnTo>
                      <a:lnTo>
                        <a:pt x="78" y="1374"/>
                      </a:lnTo>
                      <a:lnTo>
                        <a:pt x="78" y="1550"/>
                      </a:lnTo>
                      <a:lnTo>
                        <a:pt x="156" y="1726"/>
                      </a:lnTo>
                      <a:lnTo>
                        <a:pt x="195" y="1762"/>
                      </a:lnTo>
                      <a:lnTo>
                        <a:pt x="234" y="1867"/>
                      </a:lnTo>
                      <a:lnTo>
                        <a:pt x="272" y="1938"/>
                      </a:lnTo>
                      <a:lnTo>
                        <a:pt x="234" y="2044"/>
                      </a:lnTo>
                      <a:lnTo>
                        <a:pt x="156" y="2114"/>
                      </a:lnTo>
                      <a:lnTo>
                        <a:pt x="117" y="2185"/>
                      </a:lnTo>
                      <a:lnTo>
                        <a:pt x="117" y="2220"/>
                      </a:lnTo>
                      <a:lnTo>
                        <a:pt x="156" y="2290"/>
                      </a:lnTo>
                      <a:lnTo>
                        <a:pt x="156" y="2361"/>
                      </a:lnTo>
                      <a:lnTo>
                        <a:pt x="156" y="2537"/>
                      </a:lnTo>
                      <a:lnTo>
                        <a:pt x="156" y="2643"/>
                      </a:lnTo>
                      <a:lnTo>
                        <a:pt x="117" y="2784"/>
                      </a:lnTo>
                      <a:lnTo>
                        <a:pt x="156" y="2889"/>
                      </a:lnTo>
                      <a:lnTo>
                        <a:pt x="156" y="3030"/>
                      </a:lnTo>
                      <a:lnTo>
                        <a:pt x="156" y="3136"/>
                      </a:lnTo>
                      <a:lnTo>
                        <a:pt x="156" y="3242"/>
                      </a:lnTo>
                      <a:lnTo>
                        <a:pt x="117" y="3312"/>
                      </a:lnTo>
                      <a:lnTo>
                        <a:pt x="156" y="3418"/>
                      </a:lnTo>
                      <a:lnTo>
                        <a:pt x="272" y="3629"/>
                      </a:lnTo>
                      <a:lnTo>
                        <a:pt x="311" y="3700"/>
                      </a:lnTo>
                      <a:lnTo>
                        <a:pt x="311" y="3805"/>
                      </a:lnTo>
                      <a:lnTo>
                        <a:pt x="311" y="3911"/>
                      </a:lnTo>
                      <a:lnTo>
                        <a:pt x="350" y="3981"/>
                      </a:lnTo>
                      <a:lnTo>
                        <a:pt x="389" y="4122"/>
                      </a:lnTo>
                      <a:lnTo>
                        <a:pt x="467" y="4193"/>
                      </a:lnTo>
                      <a:lnTo>
                        <a:pt x="506" y="4334"/>
                      </a:lnTo>
                      <a:lnTo>
                        <a:pt x="584" y="4440"/>
                      </a:lnTo>
                      <a:lnTo>
                        <a:pt x="623" y="4580"/>
                      </a:lnTo>
                      <a:lnTo>
                        <a:pt x="662" y="4721"/>
                      </a:lnTo>
                      <a:lnTo>
                        <a:pt x="701" y="4792"/>
                      </a:lnTo>
                      <a:lnTo>
                        <a:pt x="739" y="4898"/>
                      </a:lnTo>
                      <a:lnTo>
                        <a:pt x="739" y="4968"/>
                      </a:lnTo>
                      <a:lnTo>
                        <a:pt x="739" y="5039"/>
                      </a:lnTo>
                      <a:lnTo>
                        <a:pt x="739" y="5109"/>
                      </a:lnTo>
                      <a:lnTo>
                        <a:pt x="739" y="5179"/>
                      </a:lnTo>
                      <a:lnTo>
                        <a:pt x="778" y="5215"/>
                      </a:lnTo>
                      <a:lnTo>
                        <a:pt x="739" y="5356"/>
                      </a:lnTo>
                      <a:lnTo>
                        <a:pt x="778" y="5497"/>
                      </a:lnTo>
                      <a:lnTo>
                        <a:pt x="778" y="5567"/>
                      </a:lnTo>
                      <a:lnTo>
                        <a:pt x="778" y="5673"/>
                      </a:lnTo>
                      <a:lnTo>
                        <a:pt x="739" y="5814"/>
                      </a:lnTo>
                      <a:lnTo>
                        <a:pt x="778" y="5919"/>
                      </a:lnTo>
                      <a:lnTo>
                        <a:pt x="778" y="5990"/>
                      </a:lnTo>
                      <a:lnTo>
                        <a:pt x="778" y="6166"/>
                      </a:lnTo>
                      <a:lnTo>
                        <a:pt x="778" y="6236"/>
                      </a:lnTo>
                      <a:lnTo>
                        <a:pt x="817" y="6342"/>
                      </a:lnTo>
                      <a:lnTo>
                        <a:pt x="778" y="6448"/>
                      </a:lnTo>
                      <a:lnTo>
                        <a:pt x="778" y="6483"/>
                      </a:lnTo>
                      <a:lnTo>
                        <a:pt x="778" y="6589"/>
                      </a:lnTo>
                      <a:lnTo>
                        <a:pt x="934" y="6800"/>
                      </a:lnTo>
                      <a:lnTo>
                        <a:pt x="895" y="6941"/>
                      </a:lnTo>
                      <a:lnTo>
                        <a:pt x="856" y="7153"/>
                      </a:lnTo>
                      <a:lnTo>
                        <a:pt x="856" y="7399"/>
                      </a:lnTo>
                      <a:lnTo>
                        <a:pt x="856" y="7505"/>
                      </a:lnTo>
                      <a:lnTo>
                        <a:pt x="856" y="7611"/>
                      </a:lnTo>
                      <a:lnTo>
                        <a:pt x="934" y="7787"/>
                      </a:lnTo>
                      <a:lnTo>
                        <a:pt x="973" y="8033"/>
                      </a:lnTo>
                      <a:lnTo>
                        <a:pt x="1012" y="8104"/>
                      </a:lnTo>
                      <a:lnTo>
                        <a:pt x="1051" y="8245"/>
                      </a:lnTo>
                      <a:lnTo>
                        <a:pt x="1168" y="8386"/>
                      </a:lnTo>
                      <a:lnTo>
                        <a:pt x="1245" y="8456"/>
                      </a:lnTo>
                      <a:lnTo>
                        <a:pt x="1284" y="8668"/>
                      </a:lnTo>
                      <a:lnTo>
                        <a:pt x="1284" y="8950"/>
                      </a:lnTo>
                      <a:lnTo>
                        <a:pt x="1323" y="9020"/>
                      </a:lnTo>
                      <a:lnTo>
                        <a:pt x="1362" y="9126"/>
                      </a:lnTo>
                      <a:lnTo>
                        <a:pt x="1362" y="9231"/>
                      </a:lnTo>
                      <a:lnTo>
                        <a:pt x="1323" y="9302"/>
                      </a:lnTo>
                      <a:lnTo>
                        <a:pt x="1284" y="9372"/>
                      </a:lnTo>
                      <a:lnTo>
                        <a:pt x="1284" y="9443"/>
                      </a:lnTo>
                      <a:lnTo>
                        <a:pt x="1323" y="9549"/>
                      </a:lnTo>
                      <a:lnTo>
                        <a:pt x="1323" y="9619"/>
                      </a:lnTo>
                      <a:lnTo>
                        <a:pt x="1323" y="9725"/>
                      </a:lnTo>
                      <a:lnTo>
                        <a:pt x="1284" y="9795"/>
                      </a:lnTo>
                      <a:lnTo>
                        <a:pt x="1245" y="9866"/>
                      </a:lnTo>
                      <a:lnTo>
                        <a:pt x="1090" y="10042"/>
                      </a:lnTo>
                      <a:lnTo>
                        <a:pt x="817" y="10253"/>
                      </a:lnTo>
                      <a:lnTo>
                        <a:pt x="739" y="10288"/>
                      </a:lnTo>
                      <a:lnTo>
                        <a:pt x="701" y="10359"/>
                      </a:lnTo>
                      <a:lnTo>
                        <a:pt x="701" y="10394"/>
                      </a:lnTo>
                      <a:lnTo>
                        <a:pt x="701" y="10500"/>
                      </a:lnTo>
                      <a:lnTo>
                        <a:pt x="739" y="10535"/>
                      </a:lnTo>
                      <a:lnTo>
                        <a:pt x="817" y="10606"/>
                      </a:lnTo>
                      <a:lnTo>
                        <a:pt x="934" y="10782"/>
                      </a:lnTo>
                      <a:lnTo>
                        <a:pt x="1012" y="10923"/>
                      </a:lnTo>
                      <a:lnTo>
                        <a:pt x="1245" y="11028"/>
                      </a:lnTo>
                      <a:lnTo>
                        <a:pt x="1401" y="11099"/>
                      </a:lnTo>
                      <a:lnTo>
                        <a:pt x="1518" y="11169"/>
                      </a:lnTo>
                      <a:lnTo>
                        <a:pt x="1557" y="11275"/>
                      </a:lnTo>
                      <a:lnTo>
                        <a:pt x="1557" y="11345"/>
                      </a:lnTo>
                      <a:lnTo>
                        <a:pt x="1557" y="11416"/>
                      </a:lnTo>
                      <a:lnTo>
                        <a:pt x="1557" y="12226"/>
                      </a:lnTo>
                      <a:lnTo>
                        <a:pt x="1557" y="12684"/>
                      </a:lnTo>
                      <a:lnTo>
                        <a:pt x="1557" y="13178"/>
                      </a:lnTo>
                      <a:lnTo>
                        <a:pt x="1557" y="13460"/>
                      </a:lnTo>
                      <a:lnTo>
                        <a:pt x="1557" y="14376"/>
                      </a:lnTo>
                      <a:lnTo>
                        <a:pt x="1557" y="14411"/>
                      </a:lnTo>
                      <a:lnTo>
                        <a:pt x="1557" y="15397"/>
                      </a:lnTo>
                      <a:lnTo>
                        <a:pt x="1557" y="16384"/>
                      </a:lnTo>
                      <a:lnTo>
                        <a:pt x="2413" y="16384"/>
                      </a:lnTo>
                      <a:lnTo>
                        <a:pt x="2841" y="16384"/>
                      </a:lnTo>
                      <a:lnTo>
                        <a:pt x="3736" y="16384"/>
                      </a:lnTo>
                      <a:lnTo>
                        <a:pt x="3892" y="16384"/>
                      </a:lnTo>
                      <a:lnTo>
                        <a:pt x="4981" y="16349"/>
                      </a:lnTo>
                      <a:lnTo>
                        <a:pt x="5098" y="16349"/>
                      </a:lnTo>
                      <a:lnTo>
                        <a:pt x="6032" y="16349"/>
                      </a:lnTo>
                      <a:lnTo>
                        <a:pt x="6460" y="16349"/>
                      </a:lnTo>
                      <a:lnTo>
                        <a:pt x="7122" y="16314"/>
                      </a:lnTo>
                      <a:lnTo>
                        <a:pt x="7861" y="16314"/>
                      </a:lnTo>
                      <a:lnTo>
                        <a:pt x="8173" y="16314"/>
                      </a:lnTo>
                      <a:lnTo>
                        <a:pt x="9184" y="16278"/>
                      </a:lnTo>
                      <a:lnTo>
                        <a:pt x="9262" y="16278"/>
                      </a:lnTo>
                      <a:lnTo>
                        <a:pt x="10352" y="16243"/>
                      </a:lnTo>
                      <a:lnTo>
                        <a:pt x="10546" y="16243"/>
                      </a:lnTo>
                      <a:lnTo>
                        <a:pt x="11403" y="16208"/>
                      </a:lnTo>
                      <a:lnTo>
                        <a:pt x="12220" y="16173"/>
                      </a:lnTo>
                      <a:lnTo>
                        <a:pt x="12492" y="16173"/>
                      </a:lnTo>
                      <a:lnTo>
                        <a:pt x="13348" y="16173"/>
                      </a:lnTo>
                      <a:lnTo>
                        <a:pt x="13348" y="16102"/>
                      </a:lnTo>
                      <a:lnTo>
                        <a:pt x="13348" y="16137"/>
                      </a:lnTo>
                      <a:lnTo>
                        <a:pt x="13271" y="15996"/>
                      </a:lnTo>
                      <a:lnTo>
                        <a:pt x="13271" y="15891"/>
                      </a:lnTo>
                      <a:lnTo>
                        <a:pt x="13310" y="15785"/>
                      </a:lnTo>
                      <a:lnTo>
                        <a:pt x="13193" y="15609"/>
                      </a:lnTo>
                      <a:lnTo>
                        <a:pt x="13232" y="15503"/>
                      </a:lnTo>
                      <a:lnTo>
                        <a:pt x="13271" y="15362"/>
                      </a:lnTo>
                      <a:lnTo>
                        <a:pt x="13271" y="15327"/>
                      </a:lnTo>
                      <a:lnTo>
                        <a:pt x="13193" y="15221"/>
                      </a:lnTo>
                      <a:lnTo>
                        <a:pt x="13154" y="15151"/>
                      </a:lnTo>
                      <a:lnTo>
                        <a:pt x="13076" y="15080"/>
                      </a:lnTo>
                      <a:lnTo>
                        <a:pt x="12998" y="14975"/>
                      </a:lnTo>
                      <a:lnTo>
                        <a:pt x="12881" y="14869"/>
                      </a:lnTo>
                      <a:lnTo>
                        <a:pt x="12765" y="14798"/>
                      </a:lnTo>
                      <a:lnTo>
                        <a:pt x="12648" y="14763"/>
                      </a:lnTo>
                      <a:lnTo>
                        <a:pt x="12531" y="14693"/>
                      </a:lnTo>
                      <a:lnTo>
                        <a:pt x="12414" y="14587"/>
                      </a:lnTo>
                      <a:lnTo>
                        <a:pt x="12259" y="14517"/>
                      </a:lnTo>
                      <a:lnTo>
                        <a:pt x="12142" y="14411"/>
                      </a:lnTo>
                      <a:lnTo>
                        <a:pt x="11947" y="14305"/>
                      </a:lnTo>
                      <a:lnTo>
                        <a:pt x="11870" y="14270"/>
                      </a:lnTo>
                      <a:lnTo>
                        <a:pt x="11792" y="14164"/>
                      </a:lnTo>
                      <a:lnTo>
                        <a:pt x="11753" y="14059"/>
                      </a:lnTo>
                      <a:lnTo>
                        <a:pt x="11714" y="13918"/>
                      </a:lnTo>
                      <a:lnTo>
                        <a:pt x="11597" y="13812"/>
                      </a:lnTo>
                      <a:lnTo>
                        <a:pt x="11442" y="13706"/>
                      </a:lnTo>
                      <a:lnTo>
                        <a:pt x="11247" y="13636"/>
                      </a:lnTo>
                      <a:lnTo>
                        <a:pt x="10897" y="13565"/>
                      </a:lnTo>
                      <a:lnTo>
                        <a:pt x="10819" y="13495"/>
                      </a:lnTo>
                      <a:lnTo>
                        <a:pt x="10741" y="13389"/>
                      </a:lnTo>
                      <a:lnTo>
                        <a:pt x="10702" y="13319"/>
                      </a:lnTo>
                      <a:lnTo>
                        <a:pt x="10663" y="13283"/>
                      </a:lnTo>
                      <a:lnTo>
                        <a:pt x="10469" y="13248"/>
                      </a:lnTo>
                      <a:lnTo>
                        <a:pt x="10274" y="13248"/>
                      </a:lnTo>
                      <a:lnTo>
                        <a:pt x="10118" y="13178"/>
                      </a:lnTo>
                      <a:lnTo>
                        <a:pt x="10041" y="13037"/>
                      </a:lnTo>
                      <a:lnTo>
                        <a:pt x="9924" y="12931"/>
                      </a:lnTo>
                      <a:lnTo>
                        <a:pt x="9807" y="12896"/>
                      </a:lnTo>
                      <a:lnTo>
                        <a:pt x="9651" y="12755"/>
                      </a:lnTo>
                      <a:lnTo>
                        <a:pt x="9651" y="12543"/>
                      </a:lnTo>
                      <a:lnTo>
                        <a:pt x="9729" y="12438"/>
                      </a:lnTo>
                      <a:lnTo>
                        <a:pt x="9690" y="12332"/>
                      </a:lnTo>
                      <a:lnTo>
                        <a:pt x="9729" y="12191"/>
                      </a:lnTo>
                      <a:lnTo>
                        <a:pt x="9651" y="11944"/>
                      </a:lnTo>
                      <a:lnTo>
                        <a:pt x="9612" y="11874"/>
                      </a:lnTo>
                      <a:lnTo>
                        <a:pt x="9651" y="11698"/>
                      </a:lnTo>
                      <a:lnTo>
                        <a:pt x="9651" y="11522"/>
                      </a:lnTo>
                      <a:lnTo>
                        <a:pt x="9690" y="11486"/>
                      </a:lnTo>
                      <a:lnTo>
                        <a:pt x="9651" y="11275"/>
                      </a:lnTo>
                      <a:lnTo>
                        <a:pt x="9690" y="11240"/>
                      </a:lnTo>
                      <a:lnTo>
                        <a:pt x="9690" y="11134"/>
                      </a:lnTo>
                      <a:lnTo>
                        <a:pt x="9729" y="11028"/>
                      </a:lnTo>
                      <a:lnTo>
                        <a:pt x="9846" y="10923"/>
                      </a:lnTo>
                      <a:lnTo>
                        <a:pt x="9885" y="10852"/>
                      </a:lnTo>
                      <a:lnTo>
                        <a:pt x="9846" y="10782"/>
                      </a:lnTo>
                      <a:lnTo>
                        <a:pt x="9690" y="10641"/>
                      </a:lnTo>
                      <a:lnTo>
                        <a:pt x="9612" y="10500"/>
                      </a:lnTo>
                      <a:lnTo>
                        <a:pt x="9340" y="10465"/>
                      </a:lnTo>
                      <a:lnTo>
                        <a:pt x="9262" y="10359"/>
                      </a:lnTo>
                      <a:lnTo>
                        <a:pt x="9340" y="10288"/>
                      </a:lnTo>
                      <a:lnTo>
                        <a:pt x="9379" y="10112"/>
                      </a:lnTo>
                      <a:lnTo>
                        <a:pt x="9457" y="10042"/>
                      </a:lnTo>
                      <a:close/>
                    </a:path>
                  </a:pathLst>
                </a:custGeom>
                <a:solidFill>
                  <a:srgbClr val="0070C0"/>
                </a:solidFill>
                <a:ln w="9525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defTabSz="121917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42" name="Mississippi">
                  <a:extLst>
                    <a:ext uri="{FF2B5EF4-FFF2-40B4-BE49-F238E27FC236}">
                      <a16:creationId xmlns:a16="http://schemas.microsoft.com/office/drawing/2014/main" id="{061E3AEA-EF89-5E29-F324-F1F861338B1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8393722" y="11658599"/>
                  <a:ext cx="2655584" cy="3505200"/>
                </a:xfrm>
                <a:custGeom>
                  <a:avLst/>
                  <a:gdLst>
                    <a:gd name="T0" fmla="*/ 2147483647 w 16384"/>
                    <a:gd name="T1" fmla="*/ 2147483647 h 16384"/>
                    <a:gd name="T2" fmla="*/ 2147483647 w 16384"/>
                    <a:gd name="T3" fmla="*/ 2147483647 h 16384"/>
                    <a:gd name="T4" fmla="*/ 2147483647 w 16384"/>
                    <a:gd name="T5" fmla="*/ 2147483647 h 16384"/>
                    <a:gd name="T6" fmla="*/ 2147483647 w 16384"/>
                    <a:gd name="T7" fmla="*/ 2147483647 h 16384"/>
                    <a:gd name="T8" fmla="*/ 2147483647 w 16384"/>
                    <a:gd name="T9" fmla="*/ 2147483647 h 16384"/>
                    <a:gd name="T10" fmla="*/ 2147483647 w 16384"/>
                    <a:gd name="T11" fmla="*/ 2147483647 h 16384"/>
                    <a:gd name="T12" fmla="*/ 2147483647 w 16384"/>
                    <a:gd name="T13" fmla="*/ 2147483647 h 16384"/>
                    <a:gd name="T14" fmla="*/ 2147483647 w 16384"/>
                    <a:gd name="T15" fmla="*/ 2147483647 h 16384"/>
                    <a:gd name="T16" fmla="*/ 2147483647 w 16384"/>
                    <a:gd name="T17" fmla="*/ 2147483647 h 16384"/>
                    <a:gd name="T18" fmla="*/ 2147483647 w 16384"/>
                    <a:gd name="T19" fmla="*/ 2147483647 h 16384"/>
                    <a:gd name="T20" fmla="*/ 2147483647 w 16384"/>
                    <a:gd name="T21" fmla="*/ 2147483647 h 16384"/>
                    <a:gd name="T22" fmla="*/ 2147483647 w 16384"/>
                    <a:gd name="T23" fmla="*/ 2147483647 h 16384"/>
                    <a:gd name="T24" fmla="*/ 2147483647 w 16384"/>
                    <a:gd name="T25" fmla="*/ 2147483647 h 16384"/>
                    <a:gd name="T26" fmla="*/ 2147483647 w 16384"/>
                    <a:gd name="T27" fmla="*/ 2147483647 h 16384"/>
                    <a:gd name="T28" fmla="*/ 2147483647 w 16384"/>
                    <a:gd name="T29" fmla="*/ 2147483647 h 16384"/>
                    <a:gd name="T30" fmla="*/ 2147483647 w 16384"/>
                    <a:gd name="T31" fmla="*/ 2147483647 h 16384"/>
                    <a:gd name="T32" fmla="*/ 2147483647 w 16384"/>
                    <a:gd name="T33" fmla="*/ 2147483647 h 16384"/>
                    <a:gd name="T34" fmla="*/ 2147483647 w 16384"/>
                    <a:gd name="T35" fmla="*/ 2147483647 h 16384"/>
                    <a:gd name="T36" fmla="*/ 2147483647 w 16384"/>
                    <a:gd name="T37" fmla="*/ 2147483647 h 16384"/>
                    <a:gd name="T38" fmla="*/ 2147483647 w 16384"/>
                    <a:gd name="T39" fmla="*/ 2147483647 h 16384"/>
                    <a:gd name="T40" fmla="*/ 2147483647 w 16384"/>
                    <a:gd name="T41" fmla="*/ 2147483647 h 16384"/>
                    <a:gd name="T42" fmla="*/ 2147483647 w 16384"/>
                    <a:gd name="T43" fmla="*/ 2147483647 h 16384"/>
                    <a:gd name="T44" fmla="*/ 2147483647 w 16384"/>
                    <a:gd name="T45" fmla="*/ 2147483647 h 16384"/>
                    <a:gd name="T46" fmla="*/ 2147483647 w 16384"/>
                    <a:gd name="T47" fmla="*/ 2147483647 h 16384"/>
                    <a:gd name="T48" fmla="*/ 2147483647 w 16384"/>
                    <a:gd name="T49" fmla="*/ 2147483647 h 16384"/>
                    <a:gd name="T50" fmla="*/ 2147483647 w 16384"/>
                    <a:gd name="T51" fmla="*/ 2147483647 h 16384"/>
                    <a:gd name="T52" fmla="*/ 2147483647 w 16384"/>
                    <a:gd name="T53" fmla="*/ 2147483647 h 16384"/>
                    <a:gd name="T54" fmla="*/ 2147483647 w 16384"/>
                    <a:gd name="T55" fmla="*/ 2147483647 h 16384"/>
                    <a:gd name="T56" fmla="*/ 2147483647 w 16384"/>
                    <a:gd name="T57" fmla="*/ 2147483647 h 16384"/>
                    <a:gd name="T58" fmla="*/ 2147483647 w 16384"/>
                    <a:gd name="T59" fmla="*/ 2147483647 h 16384"/>
                    <a:gd name="T60" fmla="*/ 2147483647 w 16384"/>
                    <a:gd name="T61" fmla="*/ 2147483647 h 16384"/>
                    <a:gd name="T62" fmla="*/ 2147483647 w 16384"/>
                    <a:gd name="T63" fmla="*/ 2147483647 h 16384"/>
                    <a:gd name="T64" fmla="*/ 2147483647 w 16384"/>
                    <a:gd name="T65" fmla="*/ 2147483647 h 16384"/>
                    <a:gd name="T66" fmla="*/ 2147483647 w 16384"/>
                    <a:gd name="T67" fmla="*/ 2147483647 h 16384"/>
                    <a:gd name="T68" fmla="*/ 2147483647 w 16384"/>
                    <a:gd name="T69" fmla="*/ 2147483647 h 16384"/>
                    <a:gd name="T70" fmla="*/ 2147483647 w 16384"/>
                    <a:gd name="T71" fmla="*/ 2147483647 h 16384"/>
                    <a:gd name="T72" fmla="*/ 2147483647 w 16384"/>
                    <a:gd name="T73" fmla="*/ 2147483647 h 16384"/>
                    <a:gd name="T74" fmla="*/ 2147483647 w 16384"/>
                    <a:gd name="T75" fmla="*/ 2147483647 h 16384"/>
                    <a:gd name="T76" fmla="*/ 2147483647 w 16384"/>
                    <a:gd name="T77" fmla="*/ 2147483647 h 16384"/>
                    <a:gd name="T78" fmla="*/ 2147483647 w 16384"/>
                    <a:gd name="T79" fmla="*/ 2147483647 h 16384"/>
                    <a:gd name="T80" fmla="*/ 2147483647 w 16384"/>
                    <a:gd name="T81" fmla="*/ 2147483647 h 16384"/>
                    <a:gd name="T82" fmla="*/ 2147483647 w 16384"/>
                    <a:gd name="T83" fmla="*/ 2147483647 h 16384"/>
                    <a:gd name="T84" fmla="*/ 2147483647 w 16384"/>
                    <a:gd name="T85" fmla="*/ 2147483647 h 16384"/>
                    <a:gd name="T86" fmla="*/ 2147483647 w 16384"/>
                    <a:gd name="T87" fmla="*/ 2147483647 h 16384"/>
                    <a:gd name="T88" fmla="*/ 2147483647 w 16384"/>
                    <a:gd name="T89" fmla="*/ 2147483647 h 16384"/>
                    <a:gd name="T90" fmla="*/ 2147483647 w 16384"/>
                    <a:gd name="T91" fmla="*/ 2147483647 h 16384"/>
                    <a:gd name="T92" fmla="*/ 2147483647 w 16384"/>
                    <a:gd name="T93" fmla="*/ 2147483647 h 16384"/>
                    <a:gd name="T94" fmla="*/ 2147483647 w 16384"/>
                    <a:gd name="T95" fmla="*/ 2147483647 h 16384"/>
                    <a:gd name="T96" fmla="*/ 2147483647 w 16384"/>
                    <a:gd name="T97" fmla="*/ 2147483647 h 16384"/>
                    <a:gd name="T98" fmla="*/ 2147483647 w 16384"/>
                    <a:gd name="T99" fmla="*/ 2147483647 h 16384"/>
                    <a:gd name="T100" fmla="*/ 2147483647 w 16384"/>
                    <a:gd name="T101" fmla="*/ 2147483647 h 16384"/>
                    <a:gd name="T102" fmla="*/ 2147483647 w 16384"/>
                    <a:gd name="T103" fmla="*/ 2147483647 h 16384"/>
                    <a:gd name="T104" fmla="*/ 2147483647 w 16384"/>
                    <a:gd name="T105" fmla="*/ 2147483647 h 16384"/>
                    <a:gd name="T106" fmla="*/ 2147483647 w 16384"/>
                    <a:gd name="T107" fmla="*/ 2147483647 h 16384"/>
                    <a:gd name="T108" fmla="*/ 2147483647 w 16384"/>
                    <a:gd name="T109" fmla="*/ 2147483647 h 16384"/>
                    <a:gd name="T110" fmla="*/ 2147483647 w 16384"/>
                    <a:gd name="T111" fmla="*/ 2147483647 h 16384"/>
                    <a:gd name="T112" fmla="*/ 2147483647 w 16384"/>
                    <a:gd name="T113" fmla="*/ 2147483647 h 16384"/>
                    <a:gd name="T114" fmla="*/ 2147483647 w 16384"/>
                    <a:gd name="T115" fmla="*/ 2147483647 h 16384"/>
                    <a:gd name="T116" fmla="*/ 2147483647 w 16384"/>
                    <a:gd name="T117" fmla="*/ 2147483647 h 16384"/>
                    <a:gd name="T118" fmla="*/ 2147483647 w 16384"/>
                    <a:gd name="T119" fmla="*/ 2147483647 h 16384"/>
                    <a:gd name="T120" fmla="*/ 2147483647 w 16384"/>
                    <a:gd name="T121" fmla="*/ 2147483647 h 16384"/>
                    <a:gd name="T122" fmla="*/ 2147483647 w 16384"/>
                    <a:gd name="T123" fmla="*/ 2147483647 h 16384"/>
                    <a:gd name="T124" fmla="*/ 2147483647 w 16384"/>
                    <a:gd name="T125" fmla="*/ 2147483647 h 16384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60000 65536"/>
                    <a:gd name="T178" fmla="*/ 0 60000 65536"/>
                    <a:gd name="T179" fmla="*/ 0 60000 65536"/>
                    <a:gd name="T180" fmla="*/ 0 60000 65536"/>
                    <a:gd name="T181" fmla="*/ 0 60000 65536"/>
                    <a:gd name="T182" fmla="*/ 0 60000 65536"/>
                    <a:gd name="T183" fmla="*/ 0 60000 65536"/>
                    <a:gd name="T184" fmla="*/ 0 60000 65536"/>
                    <a:gd name="T185" fmla="*/ 0 60000 65536"/>
                    <a:gd name="T186" fmla="*/ 0 60000 65536"/>
                    <a:gd name="T187" fmla="*/ 0 60000 65536"/>
                    <a:gd name="T188" fmla="*/ 0 60000 65536"/>
                    <a:gd name="T189" fmla="*/ 0 w 16384"/>
                    <a:gd name="T190" fmla="*/ 0 h 16384"/>
                    <a:gd name="T191" fmla="*/ 16384 w 16384"/>
                    <a:gd name="T192" fmla="*/ 16384 h 16384"/>
                  </a:gdLst>
                  <a:ahLst/>
                  <a:cxnLst>
                    <a:cxn ang="T126">
                      <a:pos x="T0" y="T1"/>
                    </a:cxn>
                    <a:cxn ang="T127">
                      <a:pos x="T2" y="T3"/>
                    </a:cxn>
                    <a:cxn ang="T128">
                      <a:pos x="T4" y="T5"/>
                    </a:cxn>
                    <a:cxn ang="T129">
                      <a:pos x="T6" y="T7"/>
                    </a:cxn>
                    <a:cxn ang="T130">
                      <a:pos x="T8" y="T9"/>
                    </a:cxn>
                    <a:cxn ang="T131">
                      <a:pos x="T10" y="T11"/>
                    </a:cxn>
                    <a:cxn ang="T132">
                      <a:pos x="T12" y="T13"/>
                    </a:cxn>
                    <a:cxn ang="T133">
                      <a:pos x="T14" y="T15"/>
                    </a:cxn>
                    <a:cxn ang="T134">
                      <a:pos x="T16" y="T17"/>
                    </a:cxn>
                    <a:cxn ang="T135">
                      <a:pos x="T18" y="T19"/>
                    </a:cxn>
                    <a:cxn ang="T136">
                      <a:pos x="T20" y="T21"/>
                    </a:cxn>
                    <a:cxn ang="T137">
                      <a:pos x="T22" y="T23"/>
                    </a:cxn>
                    <a:cxn ang="T138">
                      <a:pos x="T24" y="T25"/>
                    </a:cxn>
                    <a:cxn ang="T139">
                      <a:pos x="T26" y="T27"/>
                    </a:cxn>
                    <a:cxn ang="T140">
                      <a:pos x="T28" y="T29"/>
                    </a:cxn>
                    <a:cxn ang="T141">
                      <a:pos x="T30" y="T31"/>
                    </a:cxn>
                    <a:cxn ang="T142">
                      <a:pos x="T32" y="T33"/>
                    </a:cxn>
                    <a:cxn ang="T143">
                      <a:pos x="T34" y="T35"/>
                    </a:cxn>
                    <a:cxn ang="T144">
                      <a:pos x="T36" y="T37"/>
                    </a:cxn>
                    <a:cxn ang="T145">
                      <a:pos x="T38" y="T39"/>
                    </a:cxn>
                    <a:cxn ang="T146">
                      <a:pos x="T40" y="T41"/>
                    </a:cxn>
                    <a:cxn ang="T147">
                      <a:pos x="T42" y="T43"/>
                    </a:cxn>
                    <a:cxn ang="T148">
                      <a:pos x="T44" y="T45"/>
                    </a:cxn>
                    <a:cxn ang="T149">
                      <a:pos x="T46" y="T47"/>
                    </a:cxn>
                    <a:cxn ang="T150">
                      <a:pos x="T48" y="T49"/>
                    </a:cxn>
                    <a:cxn ang="T151">
                      <a:pos x="T50" y="T51"/>
                    </a:cxn>
                    <a:cxn ang="T152">
                      <a:pos x="T52" y="T53"/>
                    </a:cxn>
                    <a:cxn ang="T153">
                      <a:pos x="T54" y="T55"/>
                    </a:cxn>
                    <a:cxn ang="T154">
                      <a:pos x="T56" y="T57"/>
                    </a:cxn>
                    <a:cxn ang="T155">
                      <a:pos x="T58" y="T59"/>
                    </a:cxn>
                    <a:cxn ang="T156">
                      <a:pos x="T60" y="T61"/>
                    </a:cxn>
                    <a:cxn ang="T157">
                      <a:pos x="T62" y="T63"/>
                    </a:cxn>
                    <a:cxn ang="T158">
                      <a:pos x="T64" y="T65"/>
                    </a:cxn>
                    <a:cxn ang="T159">
                      <a:pos x="T66" y="T67"/>
                    </a:cxn>
                    <a:cxn ang="T160">
                      <a:pos x="T68" y="T69"/>
                    </a:cxn>
                    <a:cxn ang="T161">
                      <a:pos x="T70" y="T71"/>
                    </a:cxn>
                    <a:cxn ang="T162">
                      <a:pos x="T72" y="T73"/>
                    </a:cxn>
                    <a:cxn ang="T163">
                      <a:pos x="T74" y="T75"/>
                    </a:cxn>
                    <a:cxn ang="T164">
                      <a:pos x="T76" y="T77"/>
                    </a:cxn>
                    <a:cxn ang="T165">
                      <a:pos x="T78" y="T79"/>
                    </a:cxn>
                    <a:cxn ang="T166">
                      <a:pos x="T80" y="T81"/>
                    </a:cxn>
                    <a:cxn ang="T167">
                      <a:pos x="T82" y="T83"/>
                    </a:cxn>
                    <a:cxn ang="T168">
                      <a:pos x="T84" y="T85"/>
                    </a:cxn>
                    <a:cxn ang="T169">
                      <a:pos x="T86" y="T87"/>
                    </a:cxn>
                    <a:cxn ang="T170">
                      <a:pos x="T88" y="T89"/>
                    </a:cxn>
                    <a:cxn ang="T171">
                      <a:pos x="T90" y="T91"/>
                    </a:cxn>
                    <a:cxn ang="T172">
                      <a:pos x="T92" y="T93"/>
                    </a:cxn>
                    <a:cxn ang="T173">
                      <a:pos x="T94" y="T95"/>
                    </a:cxn>
                    <a:cxn ang="T174">
                      <a:pos x="T96" y="T97"/>
                    </a:cxn>
                    <a:cxn ang="T175">
                      <a:pos x="T98" y="T99"/>
                    </a:cxn>
                    <a:cxn ang="T176">
                      <a:pos x="T100" y="T101"/>
                    </a:cxn>
                    <a:cxn ang="T177">
                      <a:pos x="T102" y="T103"/>
                    </a:cxn>
                    <a:cxn ang="T178">
                      <a:pos x="T104" y="T105"/>
                    </a:cxn>
                    <a:cxn ang="T179">
                      <a:pos x="T106" y="T107"/>
                    </a:cxn>
                    <a:cxn ang="T180">
                      <a:pos x="T108" y="T109"/>
                    </a:cxn>
                    <a:cxn ang="T181">
                      <a:pos x="T110" y="T111"/>
                    </a:cxn>
                    <a:cxn ang="T182">
                      <a:pos x="T112" y="T113"/>
                    </a:cxn>
                    <a:cxn ang="T183">
                      <a:pos x="T114" y="T115"/>
                    </a:cxn>
                    <a:cxn ang="T184">
                      <a:pos x="T116" y="T117"/>
                    </a:cxn>
                    <a:cxn ang="T185">
                      <a:pos x="T118" y="T119"/>
                    </a:cxn>
                    <a:cxn ang="T186">
                      <a:pos x="T120" y="T121"/>
                    </a:cxn>
                    <a:cxn ang="T187">
                      <a:pos x="T122" y="T123"/>
                    </a:cxn>
                    <a:cxn ang="T188">
                      <a:pos x="T124" y="T125"/>
                    </a:cxn>
                  </a:cxnLst>
                  <a:rect l="T189" t="T190" r="T191" b="T192"/>
                  <a:pathLst>
                    <a:path w="16384" h="16384">
                      <a:moveTo>
                        <a:pt x="9383" y="13660"/>
                      </a:moveTo>
                      <a:lnTo>
                        <a:pt x="9527" y="13744"/>
                      </a:lnTo>
                      <a:lnTo>
                        <a:pt x="9527" y="13828"/>
                      </a:lnTo>
                      <a:lnTo>
                        <a:pt x="9383" y="14079"/>
                      </a:lnTo>
                      <a:lnTo>
                        <a:pt x="9311" y="14289"/>
                      </a:lnTo>
                      <a:lnTo>
                        <a:pt x="9166" y="14456"/>
                      </a:lnTo>
                      <a:lnTo>
                        <a:pt x="9166" y="14582"/>
                      </a:lnTo>
                      <a:lnTo>
                        <a:pt x="9094" y="14708"/>
                      </a:lnTo>
                      <a:lnTo>
                        <a:pt x="9094" y="14792"/>
                      </a:lnTo>
                      <a:lnTo>
                        <a:pt x="9239" y="14875"/>
                      </a:lnTo>
                      <a:lnTo>
                        <a:pt x="9383" y="15169"/>
                      </a:lnTo>
                      <a:lnTo>
                        <a:pt x="9455" y="15211"/>
                      </a:lnTo>
                      <a:lnTo>
                        <a:pt x="9816" y="15420"/>
                      </a:lnTo>
                      <a:lnTo>
                        <a:pt x="9888" y="15504"/>
                      </a:lnTo>
                      <a:lnTo>
                        <a:pt x="9960" y="15588"/>
                      </a:lnTo>
                      <a:lnTo>
                        <a:pt x="10032" y="15630"/>
                      </a:lnTo>
                      <a:lnTo>
                        <a:pt x="10105" y="15755"/>
                      </a:lnTo>
                      <a:lnTo>
                        <a:pt x="10249" y="15839"/>
                      </a:lnTo>
                      <a:lnTo>
                        <a:pt x="10249" y="16007"/>
                      </a:lnTo>
                      <a:lnTo>
                        <a:pt x="10249" y="16049"/>
                      </a:lnTo>
                      <a:lnTo>
                        <a:pt x="10393" y="16174"/>
                      </a:lnTo>
                      <a:lnTo>
                        <a:pt x="10393" y="16258"/>
                      </a:lnTo>
                      <a:lnTo>
                        <a:pt x="10538" y="16300"/>
                      </a:lnTo>
                      <a:lnTo>
                        <a:pt x="10682" y="16384"/>
                      </a:lnTo>
                      <a:lnTo>
                        <a:pt x="10971" y="16300"/>
                      </a:lnTo>
                      <a:lnTo>
                        <a:pt x="11115" y="16258"/>
                      </a:lnTo>
                      <a:lnTo>
                        <a:pt x="11187" y="16216"/>
                      </a:lnTo>
                      <a:lnTo>
                        <a:pt x="11259" y="16133"/>
                      </a:lnTo>
                      <a:lnTo>
                        <a:pt x="11332" y="16007"/>
                      </a:lnTo>
                      <a:lnTo>
                        <a:pt x="11404" y="15965"/>
                      </a:lnTo>
                      <a:lnTo>
                        <a:pt x="11693" y="15881"/>
                      </a:lnTo>
                      <a:lnTo>
                        <a:pt x="11620" y="15797"/>
                      </a:lnTo>
                      <a:lnTo>
                        <a:pt x="11620" y="15755"/>
                      </a:lnTo>
                      <a:lnTo>
                        <a:pt x="11620" y="15714"/>
                      </a:lnTo>
                      <a:lnTo>
                        <a:pt x="11693" y="15672"/>
                      </a:lnTo>
                      <a:lnTo>
                        <a:pt x="11837" y="15672"/>
                      </a:lnTo>
                      <a:lnTo>
                        <a:pt x="11909" y="15714"/>
                      </a:lnTo>
                      <a:lnTo>
                        <a:pt x="11909" y="15797"/>
                      </a:lnTo>
                      <a:lnTo>
                        <a:pt x="11981" y="15839"/>
                      </a:lnTo>
                      <a:lnTo>
                        <a:pt x="12053" y="15839"/>
                      </a:lnTo>
                      <a:lnTo>
                        <a:pt x="12486" y="15714"/>
                      </a:lnTo>
                      <a:lnTo>
                        <a:pt x="13136" y="15546"/>
                      </a:lnTo>
                      <a:lnTo>
                        <a:pt x="13353" y="15504"/>
                      </a:lnTo>
                      <a:lnTo>
                        <a:pt x="13641" y="15504"/>
                      </a:lnTo>
                      <a:lnTo>
                        <a:pt x="13858" y="15504"/>
                      </a:lnTo>
                      <a:lnTo>
                        <a:pt x="13930" y="15462"/>
                      </a:lnTo>
                      <a:lnTo>
                        <a:pt x="13930" y="15420"/>
                      </a:lnTo>
                      <a:lnTo>
                        <a:pt x="13858" y="15378"/>
                      </a:lnTo>
                      <a:lnTo>
                        <a:pt x="13858" y="15336"/>
                      </a:lnTo>
                      <a:lnTo>
                        <a:pt x="13930" y="15336"/>
                      </a:lnTo>
                      <a:lnTo>
                        <a:pt x="14074" y="15336"/>
                      </a:lnTo>
                      <a:lnTo>
                        <a:pt x="14147" y="15378"/>
                      </a:lnTo>
                      <a:lnTo>
                        <a:pt x="14291" y="15420"/>
                      </a:lnTo>
                      <a:lnTo>
                        <a:pt x="14363" y="15420"/>
                      </a:lnTo>
                      <a:lnTo>
                        <a:pt x="14363" y="15546"/>
                      </a:lnTo>
                      <a:lnTo>
                        <a:pt x="14507" y="15588"/>
                      </a:lnTo>
                      <a:lnTo>
                        <a:pt x="14580" y="15588"/>
                      </a:lnTo>
                      <a:lnTo>
                        <a:pt x="14868" y="15588"/>
                      </a:lnTo>
                      <a:lnTo>
                        <a:pt x="15085" y="15504"/>
                      </a:lnTo>
                      <a:lnTo>
                        <a:pt x="15301" y="15420"/>
                      </a:lnTo>
                      <a:lnTo>
                        <a:pt x="15374" y="15378"/>
                      </a:lnTo>
                      <a:lnTo>
                        <a:pt x="15446" y="15378"/>
                      </a:lnTo>
                      <a:lnTo>
                        <a:pt x="15518" y="15462"/>
                      </a:lnTo>
                      <a:lnTo>
                        <a:pt x="15662" y="15588"/>
                      </a:lnTo>
                      <a:lnTo>
                        <a:pt x="15807" y="15588"/>
                      </a:lnTo>
                      <a:lnTo>
                        <a:pt x="15951" y="15588"/>
                      </a:lnTo>
                      <a:lnTo>
                        <a:pt x="16095" y="15546"/>
                      </a:lnTo>
                      <a:lnTo>
                        <a:pt x="16312" y="15504"/>
                      </a:lnTo>
                      <a:lnTo>
                        <a:pt x="16312" y="15462"/>
                      </a:lnTo>
                      <a:lnTo>
                        <a:pt x="16312" y="15420"/>
                      </a:lnTo>
                      <a:lnTo>
                        <a:pt x="16384" y="15378"/>
                      </a:lnTo>
                      <a:lnTo>
                        <a:pt x="16167" y="14289"/>
                      </a:lnTo>
                      <a:lnTo>
                        <a:pt x="16023" y="13451"/>
                      </a:lnTo>
                      <a:lnTo>
                        <a:pt x="15879" y="13032"/>
                      </a:lnTo>
                      <a:lnTo>
                        <a:pt x="15662" y="11984"/>
                      </a:lnTo>
                      <a:lnTo>
                        <a:pt x="15446" y="11104"/>
                      </a:lnTo>
                      <a:lnTo>
                        <a:pt x="15374" y="10476"/>
                      </a:lnTo>
                      <a:lnTo>
                        <a:pt x="15374" y="9344"/>
                      </a:lnTo>
                      <a:lnTo>
                        <a:pt x="15374" y="9051"/>
                      </a:lnTo>
                      <a:lnTo>
                        <a:pt x="15446" y="8129"/>
                      </a:lnTo>
                      <a:lnTo>
                        <a:pt x="15446" y="6998"/>
                      </a:lnTo>
                      <a:lnTo>
                        <a:pt x="15518" y="6746"/>
                      </a:lnTo>
                      <a:lnTo>
                        <a:pt x="15518" y="5741"/>
                      </a:lnTo>
                      <a:lnTo>
                        <a:pt x="15590" y="4945"/>
                      </a:lnTo>
                      <a:lnTo>
                        <a:pt x="15590" y="4232"/>
                      </a:lnTo>
                      <a:lnTo>
                        <a:pt x="15662" y="3143"/>
                      </a:lnTo>
                      <a:lnTo>
                        <a:pt x="15662" y="3059"/>
                      </a:lnTo>
                      <a:lnTo>
                        <a:pt x="15662" y="2263"/>
                      </a:lnTo>
                      <a:lnTo>
                        <a:pt x="15662" y="1802"/>
                      </a:lnTo>
                      <a:lnTo>
                        <a:pt x="15662" y="1383"/>
                      </a:lnTo>
                      <a:lnTo>
                        <a:pt x="15734" y="335"/>
                      </a:lnTo>
                      <a:lnTo>
                        <a:pt x="15590" y="251"/>
                      </a:lnTo>
                      <a:lnTo>
                        <a:pt x="15446" y="168"/>
                      </a:lnTo>
                      <a:lnTo>
                        <a:pt x="15229" y="0"/>
                      </a:lnTo>
                      <a:lnTo>
                        <a:pt x="14435" y="42"/>
                      </a:lnTo>
                      <a:lnTo>
                        <a:pt x="14291" y="42"/>
                      </a:lnTo>
                      <a:lnTo>
                        <a:pt x="12414" y="126"/>
                      </a:lnTo>
                      <a:lnTo>
                        <a:pt x="12270" y="126"/>
                      </a:lnTo>
                      <a:lnTo>
                        <a:pt x="11404" y="210"/>
                      </a:lnTo>
                      <a:lnTo>
                        <a:pt x="10538" y="210"/>
                      </a:lnTo>
                      <a:lnTo>
                        <a:pt x="9816" y="251"/>
                      </a:lnTo>
                      <a:lnTo>
                        <a:pt x="8445" y="293"/>
                      </a:lnTo>
                      <a:lnTo>
                        <a:pt x="8084" y="335"/>
                      </a:lnTo>
                      <a:lnTo>
                        <a:pt x="5413" y="377"/>
                      </a:lnTo>
                      <a:lnTo>
                        <a:pt x="5558" y="503"/>
                      </a:lnTo>
                      <a:lnTo>
                        <a:pt x="5630" y="545"/>
                      </a:lnTo>
                      <a:lnTo>
                        <a:pt x="5630" y="587"/>
                      </a:lnTo>
                      <a:lnTo>
                        <a:pt x="5558" y="629"/>
                      </a:lnTo>
                      <a:lnTo>
                        <a:pt x="5485" y="754"/>
                      </a:lnTo>
                      <a:lnTo>
                        <a:pt x="5341" y="796"/>
                      </a:lnTo>
                      <a:lnTo>
                        <a:pt x="5197" y="880"/>
                      </a:lnTo>
                      <a:lnTo>
                        <a:pt x="4836" y="922"/>
                      </a:lnTo>
                      <a:lnTo>
                        <a:pt x="4836" y="964"/>
                      </a:lnTo>
                      <a:lnTo>
                        <a:pt x="4764" y="1048"/>
                      </a:lnTo>
                      <a:lnTo>
                        <a:pt x="4764" y="1089"/>
                      </a:lnTo>
                      <a:lnTo>
                        <a:pt x="4764" y="1173"/>
                      </a:lnTo>
                      <a:lnTo>
                        <a:pt x="4691" y="1215"/>
                      </a:lnTo>
                      <a:lnTo>
                        <a:pt x="4619" y="1257"/>
                      </a:lnTo>
                      <a:lnTo>
                        <a:pt x="4403" y="1215"/>
                      </a:lnTo>
                      <a:lnTo>
                        <a:pt x="4331" y="1215"/>
                      </a:lnTo>
                      <a:lnTo>
                        <a:pt x="4258" y="1299"/>
                      </a:lnTo>
                      <a:lnTo>
                        <a:pt x="4331" y="1299"/>
                      </a:lnTo>
                      <a:lnTo>
                        <a:pt x="4619" y="1383"/>
                      </a:lnTo>
                      <a:lnTo>
                        <a:pt x="4619" y="1425"/>
                      </a:lnTo>
                      <a:lnTo>
                        <a:pt x="4691" y="1509"/>
                      </a:lnTo>
                      <a:lnTo>
                        <a:pt x="4691" y="1550"/>
                      </a:lnTo>
                      <a:lnTo>
                        <a:pt x="4619" y="1550"/>
                      </a:lnTo>
                      <a:lnTo>
                        <a:pt x="4547" y="1550"/>
                      </a:lnTo>
                      <a:lnTo>
                        <a:pt x="4331" y="1467"/>
                      </a:lnTo>
                      <a:lnTo>
                        <a:pt x="4258" y="1509"/>
                      </a:lnTo>
                      <a:lnTo>
                        <a:pt x="4186" y="1634"/>
                      </a:lnTo>
                      <a:lnTo>
                        <a:pt x="4186" y="1718"/>
                      </a:lnTo>
                      <a:lnTo>
                        <a:pt x="4403" y="1802"/>
                      </a:lnTo>
                      <a:lnTo>
                        <a:pt x="4403" y="1886"/>
                      </a:lnTo>
                      <a:lnTo>
                        <a:pt x="4403" y="1928"/>
                      </a:lnTo>
                      <a:lnTo>
                        <a:pt x="4258" y="2011"/>
                      </a:lnTo>
                      <a:lnTo>
                        <a:pt x="4186" y="2053"/>
                      </a:lnTo>
                      <a:lnTo>
                        <a:pt x="4258" y="2305"/>
                      </a:lnTo>
                      <a:lnTo>
                        <a:pt x="4258" y="2388"/>
                      </a:lnTo>
                      <a:lnTo>
                        <a:pt x="4042" y="2430"/>
                      </a:lnTo>
                      <a:lnTo>
                        <a:pt x="3898" y="2514"/>
                      </a:lnTo>
                      <a:lnTo>
                        <a:pt x="3753" y="2514"/>
                      </a:lnTo>
                      <a:lnTo>
                        <a:pt x="3537" y="2514"/>
                      </a:lnTo>
                      <a:lnTo>
                        <a:pt x="3464" y="2514"/>
                      </a:lnTo>
                      <a:lnTo>
                        <a:pt x="3464" y="2598"/>
                      </a:lnTo>
                      <a:lnTo>
                        <a:pt x="3464" y="2682"/>
                      </a:lnTo>
                      <a:lnTo>
                        <a:pt x="3537" y="2766"/>
                      </a:lnTo>
                      <a:lnTo>
                        <a:pt x="3464" y="2807"/>
                      </a:lnTo>
                      <a:lnTo>
                        <a:pt x="3320" y="2807"/>
                      </a:lnTo>
                      <a:lnTo>
                        <a:pt x="3176" y="2849"/>
                      </a:lnTo>
                      <a:lnTo>
                        <a:pt x="3104" y="2933"/>
                      </a:lnTo>
                      <a:lnTo>
                        <a:pt x="3031" y="3017"/>
                      </a:lnTo>
                      <a:lnTo>
                        <a:pt x="2959" y="3017"/>
                      </a:lnTo>
                      <a:lnTo>
                        <a:pt x="2743" y="3017"/>
                      </a:lnTo>
                      <a:lnTo>
                        <a:pt x="2671" y="3059"/>
                      </a:lnTo>
                      <a:lnTo>
                        <a:pt x="2671" y="3101"/>
                      </a:lnTo>
                      <a:lnTo>
                        <a:pt x="2815" y="3143"/>
                      </a:lnTo>
                      <a:lnTo>
                        <a:pt x="3104" y="3185"/>
                      </a:lnTo>
                      <a:lnTo>
                        <a:pt x="3176" y="3227"/>
                      </a:lnTo>
                      <a:lnTo>
                        <a:pt x="3104" y="3310"/>
                      </a:lnTo>
                      <a:lnTo>
                        <a:pt x="2959" y="3310"/>
                      </a:lnTo>
                      <a:lnTo>
                        <a:pt x="2671" y="3268"/>
                      </a:lnTo>
                      <a:lnTo>
                        <a:pt x="2454" y="3268"/>
                      </a:lnTo>
                      <a:lnTo>
                        <a:pt x="2382" y="3310"/>
                      </a:lnTo>
                      <a:lnTo>
                        <a:pt x="2598" y="3436"/>
                      </a:lnTo>
                      <a:lnTo>
                        <a:pt x="2671" y="3478"/>
                      </a:lnTo>
                      <a:lnTo>
                        <a:pt x="2671" y="3604"/>
                      </a:lnTo>
                      <a:lnTo>
                        <a:pt x="2598" y="3687"/>
                      </a:lnTo>
                      <a:lnTo>
                        <a:pt x="2454" y="3771"/>
                      </a:lnTo>
                      <a:lnTo>
                        <a:pt x="2454" y="3855"/>
                      </a:lnTo>
                      <a:lnTo>
                        <a:pt x="2382" y="3897"/>
                      </a:lnTo>
                      <a:lnTo>
                        <a:pt x="2310" y="3897"/>
                      </a:lnTo>
                      <a:lnTo>
                        <a:pt x="2165" y="3813"/>
                      </a:lnTo>
                      <a:lnTo>
                        <a:pt x="2021" y="3813"/>
                      </a:lnTo>
                      <a:lnTo>
                        <a:pt x="1949" y="3813"/>
                      </a:lnTo>
                      <a:lnTo>
                        <a:pt x="1949" y="3897"/>
                      </a:lnTo>
                      <a:lnTo>
                        <a:pt x="2093" y="3981"/>
                      </a:lnTo>
                      <a:lnTo>
                        <a:pt x="2093" y="4106"/>
                      </a:lnTo>
                      <a:lnTo>
                        <a:pt x="2093" y="4190"/>
                      </a:lnTo>
                      <a:lnTo>
                        <a:pt x="2093" y="4232"/>
                      </a:lnTo>
                      <a:lnTo>
                        <a:pt x="2165" y="4400"/>
                      </a:lnTo>
                      <a:lnTo>
                        <a:pt x="2093" y="4484"/>
                      </a:lnTo>
                      <a:lnTo>
                        <a:pt x="1949" y="4567"/>
                      </a:lnTo>
                      <a:lnTo>
                        <a:pt x="1732" y="4651"/>
                      </a:lnTo>
                      <a:lnTo>
                        <a:pt x="1732" y="4735"/>
                      </a:lnTo>
                      <a:lnTo>
                        <a:pt x="2021" y="4777"/>
                      </a:lnTo>
                      <a:lnTo>
                        <a:pt x="2093" y="4861"/>
                      </a:lnTo>
                      <a:lnTo>
                        <a:pt x="2021" y="4903"/>
                      </a:lnTo>
                      <a:lnTo>
                        <a:pt x="1877" y="4945"/>
                      </a:lnTo>
                      <a:lnTo>
                        <a:pt x="1732" y="4903"/>
                      </a:lnTo>
                      <a:lnTo>
                        <a:pt x="1516" y="4777"/>
                      </a:lnTo>
                      <a:lnTo>
                        <a:pt x="1444" y="4777"/>
                      </a:lnTo>
                      <a:lnTo>
                        <a:pt x="1371" y="4819"/>
                      </a:lnTo>
                      <a:lnTo>
                        <a:pt x="1444" y="4903"/>
                      </a:lnTo>
                      <a:lnTo>
                        <a:pt x="1444" y="4986"/>
                      </a:lnTo>
                      <a:lnTo>
                        <a:pt x="1588" y="5070"/>
                      </a:lnTo>
                      <a:lnTo>
                        <a:pt x="1660" y="5154"/>
                      </a:lnTo>
                      <a:lnTo>
                        <a:pt x="1660" y="5196"/>
                      </a:lnTo>
                      <a:lnTo>
                        <a:pt x="1444" y="5238"/>
                      </a:lnTo>
                      <a:lnTo>
                        <a:pt x="1299" y="5322"/>
                      </a:lnTo>
                      <a:lnTo>
                        <a:pt x="1371" y="5405"/>
                      </a:lnTo>
                      <a:lnTo>
                        <a:pt x="1444" y="5447"/>
                      </a:lnTo>
                      <a:lnTo>
                        <a:pt x="1444" y="5489"/>
                      </a:lnTo>
                      <a:lnTo>
                        <a:pt x="1371" y="5573"/>
                      </a:lnTo>
                      <a:lnTo>
                        <a:pt x="1371" y="5657"/>
                      </a:lnTo>
                      <a:lnTo>
                        <a:pt x="1371" y="5699"/>
                      </a:lnTo>
                      <a:lnTo>
                        <a:pt x="1516" y="5699"/>
                      </a:lnTo>
                      <a:lnTo>
                        <a:pt x="1588" y="5615"/>
                      </a:lnTo>
                      <a:lnTo>
                        <a:pt x="1660" y="5573"/>
                      </a:lnTo>
                      <a:lnTo>
                        <a:pt x="1804" y="5531"/>
                      </a:lnTo>
                      <a:lnTo>
                        <a:pt x="1804" y="5573"/>
                      </a:lnTo>
                      <a:lnTo>
                        <a:pt x="1877" y="5657"/>
                      </a:lnTo>
                      <a:lnTo>
                        <a:pt x="1732" y="5699"/>
                      </a:lnTo>
                      <a:lnTo>
                        <a:pt x="1588" y="5783"/>
                      </a:lnTo>
                      <a:lnTo>
                        <a:pt x="1588" y="5866"/>
                      </a:lnTo>
                      <a:lnTo>
                        <a:pt x="1660" y="5908"/>
                      </a:lnTo>
                      <a:lnTo>
                        <a:pt x="1732" y="5908"/>
                      </a:lnTo>
                      <a:lnTo>
                        <a:pt x="1804" y="5866"/>
                      </a:lnTo>
                      <a:lnTo>
                        <a:pt x="1949" y="5741"/>
                      </a:lnTo>
                      <a:lnTo>
                        <a:pt x="2021" y="5741"/>
                      </a:lnTo>
                      <a:lnTo>
                        <a:pt x="2093" y="5741"/>
                      </a:lnTo>
                      <a:lnTo>
                        <a:pt x="2165" y="5783"/>
                      </a:lnTo>
                      <a:lnTo>
                        <a:pt x="2093" y="5866"/>
                      </a:lnTo>
                      <a:lnTo>
                        <a:pt x="1877" y="5950"/>
                      </a:lnTo>
                      <a:lnTo>
                        <a:pt x="1732" y="6034"/>
                      </a:lnTo>
                      <a:lnTo>
                        <a:pt x="1732" y="6076"/>
                      </a:lnTo>
                      <a:lnTo>
                        <a:pt x="1732" y="6160"/>
                      </a:lnTo>
                      <a:lnTo>
                        <a:pt x="1949" y="6369"/>
                      </a:lnTo>
                      <a:lnTo>
                        <a:pt x="2021" y="6369"/>
                      </a:lnTo>
                      <a:lnTo>
                        <a:pt x="2093" y="6369"/>
                      </a:lnTo>
                      <a:lnTo>
                        <a:pt x="2093" y="6285"/>
                      </a:lnTo>
                      <a:lnTo>
                        <a:pt x="2165" y="6244"/>
                      </a:lnTo>
                      <a:lnTo>
                        <a:pt x="2310" y="6244"/>
                      </a:lnTo>
                      <a:lnTo>
                        <a:pt x="2310" y="6285"/>
                      </a:lnTo>
                      <a:lnTo>
                        <a:pt x="2310" y="6327"/>
                      </a:lnTo>
                      <a:lnTo>
                        <a:pt x="2237" y="6411"/>
                      </a:lnTo>
                      <a:lnTo>
                        <a:pt x="2165" y="6495"/>
                      </a:lnTo>
                      <a:lnTo>
                        <a:pt x="2165" y="6579"/>
                      </a:lnTo>
                      <a:lnTo>
                        <a:pt x="2165" y="6663"/>
                      </a:lnTo>
                      <a:lnTo>
                        <a:pt x="1949" y="6704"/>
                      </a:lnTo>
                      <a:lnTo>
                        <a:pt x="1732" y="6746"/>
                      </a:lnTo>
                      <a:lnTo>
                        <a:pt x="1732" y="6788"/>
                      </a:lnTo>
                      <a:lnTo>
                        <a:pt x="1732" y="6830"/>
                      </a:lnTo>
                      <a:lnTo>
                        <a:pt x="1949" y="6956"/>
                      </a:lnTo>
                      <a:lnTo>
                        <a:pt x="1949" y="6998"/>
                      </a:lnTo>
                      <a:lnTo>
                        <a:pt x="1949" y="7082"/>
                      </a:lnTo>
                      <a:lnTo>
                        <a:pt x="1732" y="7207"/>
                      </a:lnTo>
                      <a:lnTo>
                        <a:pt x="1660" y="7249"/>
                      </a:lnTo>
                      <a:lnTo>
                        <a:pt x="1660" y="7291"/>
                      </a:lnTo>
                      <a:lnTo>
                        <a:pt x="1588" y="7459"/>
                      </a:lnTo>
                      <a:lnTo>
                        <a:pt x="1660" y="7543"/>
                      </a:lnTo>
                      <a:lnTo>
                        <a:pt x="1804" y="7543"/>
                      </a:lnTo>
                      <a:lnTo>
                        <a:pt x="1949" y="7501"/>
                      </a:lnTo>
                      <a:lnTo>
                        <a:pt x="2021" y="7375"/>
                      </a:lnTo>
                      <a:lnTo>
                        <a:pt x="2093" y="7375"/>
                      </a:lnTo>
                      <a:lnTo>
                        <a:pt x="2237" y="7417"/>
                      </a:lnTo>
                      <a:lnTo>
                        <a:pt x="2237" y="7501"/>
                      </a:lnTo>
                      <a:lnTo>
                        <a:pt x="2165" y="7584"/>
                      </a:lnTo>
                      <a:lnTo>
                        <a:pt x="1949" y="7794"/>
                      </a:lnTo>
                      <a:lnTo>
                        <a:pt x="1949" y="7920"/>
                      </a:lnTo>
                      <a:lnTo>
                        <a:pt x="2021" y="8003"/>
                      </a:lnTo>
                      <a:lnTo>
                        <a:pt x="2165" y="8045"/>
                      </a:lnTo>
                      <a:lnTo>
                        <a:pt x="2310" y="8045"/>
                      </a:lnTo>
                      <a:lnTo>
                        <a:pt x="2382" y="8087"/>
                      </a:lnTo>
                      <a:lnTo>
                        <a:pt x="2310" y="8171"/>
                      </a:lnTo>
                      <a:lnTo>
                        <a:pt x="2237" y="8213"/>
                      </a:lnTo>
                      <a:lnTo>
                        <a:pt x="2093" y="8255"/>
                      </a:lnTo>
                      <a:lnTo>
                        <a:pt x="2021" y="8339"/>
                      </a:lnTo>
                      <a:lnTo>
                        <a:pt x="2021" y="8548"/>
                      </a:lnTo>
                      <a:lnTo>
                        <a:pt x="2093" y="8506"/>
                      </a:lnTo>
                      <a:lnTo>
                        <a:pt x="2237" y="8464"/>
                      </a:lnTo>
                      <a:lnTo>
                        <a:pt x="2454" y="8422"/>
                      </a:lnTo>
                      <a:lnTo>
                        <a:pt x="2598" y="8422"/>
                      </a:lnTo>
                      <a:lnTo>
                        <a:pt x="2671" y="8464"/>
                      </a:lnTo>
                      <a:lnTo>
                        <a:pt x="2598" y="8548"/>
                      </a:lnTo>
                      <a:lnTo>
                        <a:pt x="2454" y="8632"/>
                      </a:lnTo>
                      <a:lnTo>
                        <a:pt x="2454" y="8674"/>
                      </a:lnTo>
                      <a:lnTo>
                        <a:pt x="2598" y="8716"/>
                      </a:lnTo>
                      <a:lnTo>
                        <a:pt x="2743" y="8841"/>
                      </a:lnTo>
                      <a:lnTo>
                        <a:pt x="2743" y="8883"/>
                      </a:lnTo>
                      <a:lnTo>
                        <a:pt x="2671" y="8925"/>
                      </a:lnTo>
                      <a:lnTo>
                        <a:pt x="2310" y="8800"/>
                      </a:lnTo>
                      <a:lnTo>
                        <a:pt x="2237" y="8800"/>
                      </a:lnTo>
                      <a:lnTo>
                        <a:pt x="2237" y="8883"/>
                      </a:lnTo>
                      <a:lnTo>
                        <a:pt x="2310" y="8967"/>
                      </a:lnTo>
                      <a:lnTo>
                        <a:pt x="2454" y="9009"/>
                      </a:lnTo>
                      <a:lnTo>
                        <a:pt x="2598" y="9009"/>
                      </a:lnTo>
                      <a:lnTo>
                        <a:pt x="2671" y="9051"/>
                      </a:lnTo>
                      <a:lnTo>
                        <a:pt x="2743" y="9261"/>
                      </a:lnTo>
                      <a:lnTo>
                        <a:pt x="2959" y="9344"/>
                      </a:lnTo>
                      <a:lnTo>
                        <a:pt x="3248" y="9386"/>
                      </a:lnTo>
                      <a:lnTo>
                        <a:pt x="3248" y="9428"/>
                      </a:lnTo>
                      <a:lnTo>
                        <a:pt x="3176" y="9512"/>
                      </a:lnTo>
                      <a:lnTo>
                        <a:pt x="3104" y="9638"/>
                      </a:lnTo>
                      <a:lnTo>
                        <a:pt x="3031" y="9763"/>
                      </a:lnTo>
                      <a:lnTo>
                        <a:pt x="2887" y="9805"/>
                      </a:lnTo>
                      <a:lnTo>
                        <a:pt x="2382" y="9847"/>
                      </a:lnTo>
                      <a:lnTo>
                        <a:pt x="2310" y="9847"/>
                      </a:lnTo>
                      <a:lnTo>
                        <a:pt x="2165" y="9847"/>
                      </a:lnTo>
                      <a:lnTo>
                        <a:pt x="2021" y="9889"/>
                      </a:lnTo>
                      <a:lnTo>
                        <a:pt x="2021" y="10015"/>
                      </a:lnTo>
                      <a:lnTo>
                        <a:pt x="2021" y="10099"/>
                      </a:lnTo>
                      <a:lnTo>
                        <a:pt x="2310" y="10099"/>
                      </a:lnTo>
                      <a:lnTo>
                        <a:pt x="2382" y="10140"/>
                      </a:lnTo>
                      <a:lnTo>
                        <a:pt x="2743" y="10015"/>
                      </a:lnTo>
                      <a:lnTo>
                        <a:pt x="2815" y="9889"/>
                      </a:lnTo>
                      <a:lnTo>
                        <a:pt x="2959" y="9931"/>
                      </a:lnTo>
                      <a:lnTo>
                        <a:pt x="3031" y="9973"/>
                      </a:lnTo>
                      <a:lnTo>
                        <a:pt x="3031" y="10057"/>
                      </a:lnTo>
                      <a:lnTo>
                        <a:pt x="2887" y="10140"/>
                      </a:lnTo>
                      <a:lnTo>
                        <a:pt x="2815" y="10182"/>
                      </a:lnTo>
                      <a:lnTo>
                        <a:pt x="2671" y="10266"/>
                      </a:lnTo>
                      <a:lnTo>
                        <a:pt x="2598" y="10308"/>
                      </a:lnTo>
                      <a:lnTo>
                        <a:pt x="2382" y="10308"/>
                      </a:lnTo>
                      <a:lnTo>
                        <a:pt x="2237" y="10308"/>
                      </a:lnTo>
                      <a:lnTo>
                        <a:pt x="2237" y="10350"/>
                      </a:lnTo>
                      <a:lnTo>
                        <a:pt x="2382" y="10434"/>
                      </a:lnTo>
                      <a:lnTo>
                        <a:pt x="2454" y="10476"/>
                      </a:lnTo>
                      <a:lnTo>
                        <a:pt x="2382" y="10560"/>
                      </a:lnTo>
                      <a:lnTo>
                        <a:pt x="2165" y="10601"/>
                      </a:lnTo>
                      <a:lnTo>
                        <a:pt x="2021" y="10769"/>
                      </a:lnTo>
                      <a:lnTo>
                        <a:pt x="1949" y="10853"/>
                      </a:lnTo>
                      <a:lnTo>
                        <a:pt x="1804" y="10937"/>
                      </a:lnTo>
                      <a:lnTo>
                        <a:pt x="1804" y="10979"/>
                      </a:lnTo>
                      <a:lnTo>
                        <a:pt x="1804" y="11020"/>
                      </a:lnTo>
                      <a:lnTo>
                        <a:pt x="1877" y="11104"/>
                      </a:lnTo>
                      <a:lnTo>
                        <a:pt x="1588" y="11104"/>
                      </a:lnTo>
                      <a:lnTo>
                        <a:pt x="1444" y="11062"/>
                      </a:lnTo>
                      <a:lnTo>
                        <a:pt x="1299" y="11104"/>
                      </a:lnTo>
                      <a:lnTo>
                        <a:pt x="1227" y="11146"/>
                      </a:lnTo>
                      <a:lnTo>
                        <a:pt x="1227" y="11272"/>
                      </a:lnTo>
                      <a:lnTo>
                        <a:pt x="1371" y="11314"/>
                      </a:lnTo>
                      <a:lnTo>
                        <a:pt x="1588" y="11356"/>
                      </a:lnTo>
                      <a:lnTo>
                        <a:pt x="1660" y="11398"/>
                      </a:lnTo>
                      <a:lnTo>
                        <a:pt x="1444" y="11439"/>
                      </a:lnTo>
                      <a:lnTo>
                        <a:pt x="1227" y="11439"/>
                      </a:lnTo>
                      <a:lnTo>
                        <a:pt x="1083" y="11523"/>
                      </a:lnTo>
                      <a:lnTo>
                        <a:pt x="1010" y="11607"/>
                      </a:lnTo>
                      <a:lnTo>
                        <a:pt x="1083" y="11733"/>
                      </a:lnTo>
                      <a:lnTo>
                        <a:pt x="1010" y="11817"/>
                      </a:lnTo>
                      <a:lnTo>
                        <a:pt x="722" y="11817"/>
                      </a:lnTo>
                      <a:lnTo>
                        <a:pt x="650" y="11858"/>
                      </a:lnTo>
                      <a:lnTo>
                        <a:pt x="577" y="11900"/>
                      </a:lnTo>
                      <a:lnTo>
                        <a:pt x="650" y="11942"/>
                      </a:lnTo>
                      <a:lnTo>
                        <a:pt x="938" y="11942"/>
                      </a:lnTo>
                      <a:lnTo>
                        <a:pt x="1010" y="11984"/>
                      </a:lnTo>
                      <a:lnTo>
                        <a:pt x="1010" y="12026"/>
                      </a:lnTo>
                      <a:lnTo>
                        <a:pt x="938" y="12110"/>
                      </a:lnTo>
                      <a:lnTo>
                        <a:pt x="577" y="12152"/>
                      </a:lnTo>
                      <a:lnTo>
                        <a:pt x="577" y="12361"/>
                      </a:lnTo>
                      <a:lnTo>
                        <a:pt x="650" y="12445"/>
                      </a:lnTo>
                      <a:lnTo>
                        <a:pt x="794" y="12529"/>
                      </a:lnTo>
                      <a:lnTo>
                        <a:pt x="794" y="12613"/>
                      </a:lnTo>
                      <a:lnTo>
                        <a:pt x="577" y="12613"/>
                      </a:lnTo>
                      <a:lnTo>
                        <a:pt x="361" y="12571"/>
                      </a:lnTo>
                      <a:lnTo>
                        <a:pt x="361" y="12655"/>
                      </a:lnTo>
                      <a:lnTo>
                        <a:pt x="361" y="12738"/>
                      </a:lnTo>
                      <a:lnTo>
                        <a:pt x="505" y="12864"/>
                      </a:lnTo>
                      <a:lnTo>
                        <a:pt x="505" y="13032"/>
                      </a:lnTo>
                      <a:lnTo>
                        <a:pt x="361" y="13074"/>
                      </a:lnTo>
                      <a:lnTo>
                        <a:pt x="144" y="13074"/>
                      </a:lnTo>
                      <a:lnTo>
                        <a:pt x="0" y="13116"/>
                      </a:lnTo>
                      <a:lnTo>
                        <a:pt x="72" y="13157"/>
                      </a:lnTo>
                      <a:lnTo>
                        <a:pt x="144" y="13283"/>
                      </a:lnTo>
                      <a:lnTo>
                        <a:pt x="144" y="13367"/>
                      </a:lnTo>
                      <a:lnTo>
                        <a:pt x="144" y="13493"/>
                      </a:lnTo>
                      <a:lnTo>
                        <a:pt x="144" y="13535"/>
                      </a:lnTo>
                      <a:lnTo>
                        <a:pt x="289" y="13660"/>
                      </a:lnTo>
                      <a:lnTo>
                        <a:pt x="361" y="13744"/>
                      </a:lnTo>
                      <a:lnTo>
                        <a:pt x="144" y="13912"/>
                      </a:lnTo>
                      <a:lnTo>
                        <a:pt x="72" y="13954"/>
                      </a:lnTo>
                      <a:lnTo>
                        <a:pt x="217" y="13996"/>
                      </a:lnTo>
                      <a:lnTo>
                        <a:pt x="2237" y="13912"/>
                      </a:lnTo>
                      <a:lnTo>
                        <a:pt x="2887" y="13912"/>
                      </a:lnTo>
                      <a:lnTo>
                        <a:pt x="3970" y="13870"/>
                      </a:lnTo>
                      <a:lnTo>
                        <a:pt x="5341" y="13828"/>
                      </a:lnTo>
                      <a:lnTo>
                        <a:pt x="5413" y="13828"/>
                      </a:lnTo>
                      <a:lnTo>
                        <a:pt x="6424" y="13786"/>
                      </a:lnTo>
                      <a:lnTo>
                        <a:pt x="6785" y="13786"/>
                      </a:lnTo>
                      <a:lnTo>
                        <a:pt x="8950" y="13702"/>
                      </a:lnTo>
                      <a:lnTo>
                        <a:pt x="9383" y="13660"/>
                      </a:lnTo>
                      <a:close/>
                    </a:path>
                  </a:pathLst>
                </a:custGeom>
                <a:solidFill>
                  <a:srgbClr val="00B050"/>
                </a:solidFill>
                <a:ln w="9525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defTabSz="121917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43" name="Missouri">
                  <a:extLst>
                    <a:ext uri="{FF2B5EF4-FFF2-40B4-BE49-F238E27FC236}">
                      <a16:creationId xmlns:a16="http://schemas.microsoft.com/office/drawing/2014/main" id="{95145778-2120-C7B7-9C80-3BD82C0415B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6011525" y="7743825"/>
                  <a:ext cx="3981450" cy="3276600"/>
                </a:xfrm>
                <a:custGeom>
                  <a:avLst/>
                  <a:gdLst>
                    <a:gd name="T0" fmla="*/ 2147483647 w 16384"/>
                    <a:gd name="T1" fmla="*/ 2147483647 h 16384"/>
                    <a:gd name="T2" fmla="*/ 2147483647 w 16384"/>
                    <a:gd name="T3" fmla="*/ 2147483647 h 16384"/>
                    <a:gd name="T4" fmla="*/ 2147483647 w 16384"/>
                    <a:gd name="T5" fmla="*/ 2147483647 h 16384"/>
                    <a:gd name="T6" fmla="*/ 2147483647 w 16384"/>
                    <a:gd name="T7" fmla="*/ 2147483647 h 16384"/>
                    <a:gd name="T8" fmla="*/ 2147483647 w 16384"/>
                    <a:gd name="T9" fmla="*/ 2147483647 h 16384"/>
                    <a:gd name="T10" fmla="*/ 2147483647 w 16384"/>
                    <a:gd name="T11" fmla="*/ 2147483647 h 16384"/>
                    <a:gd name="T12" fmla="*/ 2147483647 w 16384"/>
                    <a:gd name="T13" fmla="*/ 2147483647 h 16384"/>
                    <a:gd name="T14" fmla="*/ 2147483647 w 16384"/>
                    <a:gd name="T15" fmla="*/ 2147483647 h 16384"/>
                    <a:gd name="T16" fmla="*/ 2147483647 w 16384"/>
                    <a:gd name="T17" fmla="*/ 2147483647 h 16384"/>
                    <a:gd name="T18" fmla="*/ 2147483647 w 16384"/>
                    <a:gd name="T19" fmla="*/ 2147483647 h 16384"/>
                    <a:gd name="T20" fmla="*/ 2147483647 w 16384"/>
                    <a:gd name="T21" fmla="*/ 2147483647 h 16384"/>
                    <a:gd name="T22" fmla="*/ 2147483647 w 16384"/>
                    <a:gd name="T23" fmla="*/ 2147483647 h 16384"/>
                    <a:gd name="T24" fmla="*/ 2147483647 w 16384"/>
                    <a:gd name="T25" fmla="*/ 2147483647 h 16384"/>
                    <a:gd name="T26" fmla="*/ 2147483647 w 16384"/>
                    <a:gd name="T27" fmla="*/ 2147483647 h 16384"/>
                    <a:gd name="T28" fmla="*/ 2147483647 w 16384"/>
                    <a:gd name="T29" fmla="*/ 2147483647 h 16384"/>
                    <a:gd name="T30" fmla="*/ 2147483647 w 16384"/>
                    <a:gd name="T31" fmla="*/ 2147483647 h 16384"/>
                    <a:gd name="T32" fmla="*/ 2147483647 w 16384"/>
                    <a:gd name="T33" fmla="*/ 2147483647 h 16384"/>
                    <a:gd name="T34" fmla="*/ 2147483647 w 16384"/>
                    <a:gd name="T35" fmla="*/ 2147483647 h 16384"/>
                    <a:gd name="T36" fmla="*/ 2147483647 w 16384"/>
                    <a:gd name="T37" fmla="*/ 2147483647 h 16384"/>
                    <a:gd name="T38" fmla="*/ 2147483647 w 16384"/>
                    <a:gd name="T39" fmla="*/ 2147483647 h 16384"/>
                    <a:gd name="T40" fmla="*/ 2147483647 w 16384"/>
                    <a:gd name="T41" fmla="*/ 2147483647 h 16384"/>
                    <a:gd name="T42" fmla="*/ 2147483647 w 16384"/>
                    <a:gd name="T43" fmla="*/ 2147483647 h 16384"/>
                    <a:gd name="T44" fmla="*/ 2147483647 w 16384"/>
                    <a:gd name="T45" fmla="*/ 2147483647 h 16384"/>
                    <a:gd name="T46" fmla="*/ 2147483647 w 16384"/>
                    <a:gd name="T47" fmla="*/ 2147483647 h 16384"/>
                    <a:gd name="T48" fmla="*/ 2147483647 w 16384"/>
                    <a:gd name="T49" fmla="*/ 2147483647 h 16384"/>
                    <a:gd name="T50" fmla="*/ 2147483647 w 16384"/>
                    <a:gd name="T51" fmla="*/ 2147483647 h 16384"/>
                    <a:gd name="T52" fmla="*/ 2147483647 w 16384"/>
                    <a:gd name="T53" fmla="*/ 2147483647 h 16384"/>
                    <a:gd name="T54" fmla="*/ 2147483647 w 16384"/>
                    <a:gd name="T55" fmla="*/ 2147483647 h 16384"/>
                    <a:gd name="T56" fmla="*/ 2147483647 w 16384"/>
                    <a:gd name="T57" fmla="*/ 2147483647 h 16384"/>
                    <a:gd name="T58" fmla="*/ 2147483647 w 16384"/>
                    <a:gd name="T59" fmla="*/ 2147483647 h 16384"/>
                    <a:gd name="T60" fmla="*/ 2147483647 w 16384"/>
                    <a:gd name="T61" fmla="*/ 2147483647 h 16384"/>
                    <a:gd name="T62" fmla="*/ 2147483647 w 16384"/>
                    <a:gd name="T63" fmla="*/ 2147483647 h 16384"/>
                    <a:gd name="T64" fmla="*/ 2147483647 w 16384"/>
                    <a:gd name="T65" fmla="*/ 2147483647 h 16384"/>
                    <a:gd name="T66" fmla="*/ 2147483647 w 16384"/>
                    <a:gd name="T67" fmla="*/ 2147483647 h 16384"/>
                    <a:gd name="T68" fmla="*/ 2147483647 w 16384"/>
                    <a:gd name="T69" fmla="*/ 2147483647 h 16384"/>
                    <a:gd name="T70" fmla="*/ 2147483647 w 16384"/>
                    <a:gd name="T71" fmla="*/ 2147483647 h 16384"/>
                    <a:gd name="T72" fmla="*/ 2147483647 w 16384"/>
                    <a:gd name="T73" fmla="*/ 2147483647 h 16384"/>
                    <a:gd name="T74" fmla="*/ 2147483647 w 16384"/>
                    <a:gd name="T75" fmla="*/ 2147483647 h 16384"/>
                    <a:gd name="T76" fmla="*/ 2147483647 w 16384"/>
                    <a:gd name="T77" fmla="*/ 2147483647 h 16384"/>
                    <a:gd name="T78" fmla="*/ 2147483647 w 16384"/>
                    <a:gd name="T79" fmla="*/ 2147483647 h 16384"/>
                    <a:gd name="T80" fmla="*/ 2147483647 w 16384"/>
                    <a:gd name="T81" fmla="*/ 0 h 16384"/>
                    <a:gd name="T82" fmla="*/ 2147483647 w 16384"/>
                    <a:gd name="T83" fmla="*/ 2147483647 h 16384"/>
                    <a:gd name="T84" fmla="*/ 2147483647 w 16384"/>
                    <a:gd name="T85" fmla="*/ 2147483647 h 16384"/>
                    <a:gd name="T86" fmla="*/ 2147483647 w 16384"/>
                    <a:gd name="T87" fmla="*/ 2147483647 h 16384"/>
                    <a:gd name="T88" fmla="*/ 2147483647 w 16384"/>
                    <a:gd name="T89" fmla="*/ 2147483647 h 16384"/>
                    <a:gd name="T90" fmla="*/ 2147483647 w 16384"/>
                    <a:gd name="T91" fmla="*/ 2147483647 h 16384"/>
                    <a:gd name="T92" fmla="*/ 2147483647 w 16384"/>
                    <a:gd name="T93" fmla="*/ 2147483647 h 16384"/>
                    <a:gd name="T94" fmla="*/ 2147483647 w 16384"/>
                    <a:gd name="T95" fmla="*/ 2147483647 h 16384"/>
                    <a:gd name="T96" fmla="*/ 2147483647 w 16384"/>
                    <a:gd name="T97" fmla="*/ 2147483647 h 16384"/>
                    <a:gd name="T98" fmla="*/ 2147483647 w 16384"/>
                    <a:gd name="T99" fmla="*/ 2147483647 h 16384"/>
                    <a:gd name="T100" fmla="*/ 2147483647 w 16384"/>
                    <a:gd name="T101" fmla="*/ 2147483647 h 16384"/>
                    <a:gd name="T102" fmla="*/ 2147483647 w 16384"/>
                    <a:gd name="T103" fmla="*/ 2147483647 h 16384"/>
                    <a:gd name="T104" fmla="*/ 2147483647 w 16384"/>
                    <a:gd name="T105" fmla="*/ 2147483647 h 16384"/>
                    <a:gd name="T106" fmla="*/ 2147483647 w 16384"/>
                    <a:gd name="T107" fmla="*/ 2147483647 h 16384"/>
                    <a:gd name="T108" fmla="*/ 2147483647 w 16384"/>
                    <a:gd name="T109" fmla="*/ 2147483647 h 16384"/>
                    <a:gd name="T110" fmla="*/ 2147483647 w 16384"/>
                    <a:gd name="T111" fmla="*/ 2147483647 h 16384"/>
                    <a:gd name="T112" fmla="*/ 2147483647 w 16384"/>
                    <a:gd name="T113" fmla="*/ 2147483647 h 16384"/>
                    <a:gd name="T114" fmla="*/ 2147483647 w 16384"/>
                    <a:gd name="T115" fmla="*/ 2147483647 h 16384"/>
                    <a:gd name="T116" fmla="*/ 2147483647 w 16384"/>
                    <a:gd name="T117" fmla="*/ 2147483647 h 16384"/>
                    <a:gd name="T118" fmla="*/ 2147483647 w 16384"/>
                    <a:gd name="T119" fmla="*/ 2147483647 h 16384"/>
                    <a:gd name="T120" fmla="*/ 2147483647 w 16384"/>
                    <a:gd name="T121" fmla="*/ 2147483647 h 16384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60000 65536"/>
                    <a:gd name="T178" fmla="*/ 0 60000 65536"/>
                    <a:gd name="T179" fmla="*/ 0 60000 65536"/>
                    <a:gd name="T180" fmla="*/ 0 60000 65536"/>
                    <a:gd name="T181" fmla="*/ 0 60000 65536"/>
                    <a:gd name="T182" fmla="*/ 0 60000 65536"/>
                    <a:gd name="T183" fmla="*/ 0 w 16384"/>
                    <a:gd name="T184" fmla="*/ 0 h 16384"/>
                    <a:gd name="T185" fmla="*/ 16384 w 16384"/>
                    <a:gd name="T186" fmla="*/ 16384 h 16384"/>
                  </a:gdLst>
                  <a:ahLst/>
                  <a:cxnLst>
                    <a:cxn ang="T122">
                      <a:pos x="T0" y="T1"/>
                    </a:cxn>
                    <a:cxn ang="T123">
                      <a:pos x="T2" y="T3"/>
                    </a:cxn>
                    <a:cxn ang="T124">
                      <a:pos x="T4" y="T5"/>
                    </a:cxn>
                    <a:cxn ang="T125">
                      <a:pos x="T6" y="T7"/>
                    </a:cxn>
                    <a:cxn ang="T126">
                      <a:pos x="T8" y="T9"/>
                    </a:cxn>
                    <a:cxn ang="T127">
                      <a:pos x="T10" y="T11"/>
                    </a:cxn>
                    <a:cxn ang="T128">
                      <a:pos x="T12" y="T13"/>
                    </a:cxn>
                    <a:cxn ang="T129">
                      <a:pos x="T14" y="T15"/>
                    </a:cxn>
                    <a:cxn ang="T130">
                      <a:pos x="T16" y="T17"/>
                    </a:cxn>
                    <a:cxn ang="T131">
                      <a:pos x="T18" y="T19"/>
                    </a:cxn>
                    <a:cxn ang="T132">
                      <a:pos x="T20" y="T21"/>
                    </a:cxn>
                    <a:cxn ang="T133">
                      <a:pos x="T22" y="T23"/>
                    </a:cxn>
                    <a:cxn ang="T134">
                      <a:pos x="T24" y="T25"/>
                    </a:cxn>
                    <a:cxn ang="T135">
                      <a:pos x="T26" y="T27"/>
                    </a:cxn>
                    <a:cxn ang="T136">
                      <a:pos x="T28" y="T29"/>
                    </a:cxn>
                    <a:cxn ang="T137">
                      <a:pos x="T30" y="T31"/>
                    </a:cxn>
                    <a:cxn ang="T138">
                      <a:pos x="T32" y="T33"/>
                    </a:cxn>
                    <a:cxn ang="T139">
                      <a:pos x="T34" y="T35"/>
                    </a:cxn>
                    <a:cxn ang="T140">
                      <a:pos x="T36" y="T37"/>
                    </a:cxn>
                    <a:cxn ang="T141">
                      <a:pos x="T38" y="T39"/>
                    </a:cxn>
                    <a:cxn ang="T142">
                      <a:pos x="T40" y="T41"/>
                    </a:cxn>
                    <a:cxn ang="T143">
                      <a:pos x="T42" y="T43"/>
                    </a:cxn>
                    <a:cxn ang="T144">
                      <a:pos x="T44" y="T45"/>
                    </a:cxn>
                    <a:cxn ang="T145">
                      <a:pos x="T46" y="T47"/>
                    </a:cxn>
                    <a:cxn ang="T146">
                      <a:pos x="T48" y="T49"/>
                    </a:cxn>
                    <a:cxn ang="T147">
                      <a:pos x="T50" y="T51"/>
                    </a:cxn>
                    <a:cxn ang="T148">
                      <a:pos x="T52" y="T53"/>
                    </a:cxn>
                    <a:cxn ang="T149">
                      <a:pos x="T54" y="T55"/>
                    </a:cxn>
                    <a:cxn ang="T150">
                      <a:pos x="T56" y="T57"/>
                    </a:cxn>
                    <a:cxn ang="T151">
                      <a:pos x="T58" y="T59"/>
                    </a:cxn>
                    <a:cxn ang="T152">
                      <a:pos x="T60" y="T61"/>
                    </a:cxn>
                    <a:cxn ang="T153">
                      <a:pos x="T62" y="T63"/>
                    </a:cxn>
                    <a:cxn ang="T154">
                      <a:pos x="T64" y="T65"/>
                    </a:cxn>
                    <a:cxn ang="T155">
                      <a:pos x="T66" y="T67"/>
                    </a:cxn>
                    <a:cxn ang="T156">
                      <a:pos x="T68" y="T69"/>
                    </a:cxn>
                    <a:cxn ang="T157">
                      <a:pos x="T70" y="T71"/>
                    </a:cxn>
                    <a:cxn ang="T158">
                      <a:pos x="T72" y="T73"/>
                    </a:cxn>
                    <a:cxn ang="T159">
                      <a:pos x="T74" y="T75"/>
                    </a:cxn>
                    <a:cxn ang="T160">
                      <a:pos x="T76" y="T77"/>
                    </a:cxn>
                    <a:cxn ang="T161">
                      <a:pos x="T78" y="T79"/>
                    </a:cxn>
                    <a:cxn ang="T162">
                      <a:pos x="T80" y="T81"/>
                    </a:cxn>
                    <a:cxn ang="T163">
                      <a:pos x="T82" y="T83"/>
                    </a:cxn>
                    <a:cxn ang="T164">
                      <a:pos x="T84" y="T85"/>
                    </a:cxn>
                    <a:cxn ang="T165">
                      <a:pos x="T86" y="T87"/>
                    </a:cxn>
                    <a:cxn ang="T166">
                      <a:pos x="T88" y="T89"/>
                    </a:cxn>
                    <a:cxn ang="T167">
                      <a:pos x="T90" y="T91"/>
                    </a:cxn>
                    <a:cxn ang="T168">
                      <a:pos x="T92" y="T93"/>
                    </a:cxn>
                    <a:cxn ang="T169">
                      <a:pos x="T94" y="T95"/>
                    </a:cxn>
                    <a:cxn ang="T170">
                      <a:pos x="T96" y="T97"/>
                    </a:cxn>
                    <a:cxn ang="T171">
                      <a:pos x="T98" y="T99"/>
                    </a:cxn>
                    <a:cxn ang="T172">
                      <a:pos x="T100" y="T101"/>
                    </a:cxn>
                    <a:cxn ang="T173">
                      <a:pos x="T102" y="T103"/>
                    </a:cxn>
                    <a:cxn ang="T174">
                      <a:pos x="T104" y="T105"/>
                    </a:cxn>
                    <a:cxn ang="T175">
                      <a:pos x="T106" y="T107"/>
                    </a:cxn>
                    <a:cxn ang="T176">
                      <a:pos x="T108" y="T109"/>
                    </a:cxn>
                    <a:cxn ang="T177">
                      <a:pos x="T110" y="T111"/>
                    </a:cxn>
                    <a:cxn ang="T178">
                      <a:pos x="T112" y="T113"/>
                    </a:cxn>
                    <a:cxn ang="T179">
                      <a:pos x="T114" y="T115"/>
                    </a:cxn>
                    <a:cxn ang="T180">
                      <a:pos x="T116" y="T117"/>
                    </a:cxn>
                    <a:cxn ang="T181">
                      <a:pos x="T118" y="T119"/>
                    </a:cxn>
                    <a:cxn ang="T182">
                      <a:pos x="T120" y="T121"/>
                    </a:cxn>
                  </a:cxnLst>
                  <a:rect l="T183" t="T184" r="T185" b="T186"/>
                  <a:pathLst>
                    <a:path w="16384" h="16384">
                      <a:moveTo>
                        <a:pt x="10115" y="14768"/>
                      </a:moveTo>
                      <a:lnTo>
                        <a:pt x="10615" y="14768"/>
                      </a:lnTo>
                      <a:lnTo>
                        <a:pt x="10653" y="14768"/>
                      </a:lnTo>
                      <a:lnTo>
                        <a:pt x="10730" y="14768"/>
                      </a:lnTo>
                      <a:lnTo>
                        <a:pt x="11423" y="14723"/>
                      </a:lnTo>
                      <a:lnTo>
                        <a:pt x="12307" y="14633"/>
                      </a:lnTo>
                      <a:lnTo>
                        <a:pt x="12807" y="14588"/>
                      </a:lnTo>
                      <a:lnTo>
                        <a:pt x="13692" y="14544"/>
                      </a:lnTo>
                      <a:lnTo>
                        <a:pt x="13807" y="14544"/>
                      </a:lnTo>
                      <a:lnTo>
                        <a:pt x="13884" y="14678"/>
                      </a:lnTo>
                      <a:lnTo>
                        <a:pt x="13961" y="14858"/>
                      </a:lnTo>
                      <a:lnTo>
                        <a:pt x="13999" y="14903"/>
                      </a:lnTo>
                      <a:lnTo>
                        <a:pt x="14076" y="14948"/>
                      </a:lnTo>
                      <a:lnTo>
                        <a:pt x="14115" y="15082"/>
                      </a:lnTo>
                      <a:lnTo>
                        <a:pt x="14076" y="15352"/>
                      </a:lnTo>
                      <a:lnTo>
                        <a:pt x="13999" y="15396"/>
                      </a:lnTo>
                      <a:lnTo>
                        <a:pt x="13961" y="15576"/>
                      </a:lnTo>
                      <a:lnTo>
                        <a:pt x="13846" y="15666"/>
                      </a:lnTo>
                      <a:lnTo>
                        <a:pt x="13846" y="15711"/>
                      </a:lnTo>
                      <a:lnTo>
                        <a:pt x="13653" y="15935"/>
                      </a:lnTo>
                      <a:lnTo>
                        <a:pt x="13384" y="16339"/>
                      </a:lnTo>
                      <a:lnTo>
                        <a:pt x="13384" y="16384"/>
                      </a:lnTo>
                      <a:lnTo>
                        <a:pt x="13576" y="16384"/>
                      </a:lnTo>
                      <a:lnTo>
                        <a:pt x="14423" y="16339"/>
                      </a:lnTo>
                      <a:lnTo>
                        <a:pt x="14846" y="16294"/>
                      </a:lnTo>
                      <a:lnTo>
                        <a:pt x="14961" y="16294"/>
                      </a:lnTo>
                      <a:lnTo>
                        <a:pt x="15038" y="16249"/>
                      </a:lnTo>
                      <a:lnTo>
                        <a:pt x="15038" y="16160"/>
                      </a:lnTo>
                      <a:lnTo>
                        <a:pt x="15115" y="16070"/>
                      </a:lnTo>
                      <a:lnTo>
                        <a:pt x="15192" y="16025"/>
                      </a:lnTo>
                      <a:lnTo>
                        <a:pt x="15230" y="15935"/>
                      </a:lnTo>
                      <a:lnTo>
                        <a:pt x="15307" y="15756"/>
                      </a:lnTo>
                      <a:lnTo>
                        <a:pt x="15307" y="15621"/>
                      </a:lnTo>
                      <a:lnTo>
                        <a:pt x="15269" y="15576"/>
                      </a:lnTo>
                      <a:lnTo>
                        <a:pt x="15115" y="15486"/>
                      </a:lnTo>
                      <a:lnTo>
                        <a:pt x="15076" y="15441"/>
                      </a:lnTo>
                      <a:lnTo>
                        <a:pt x="15115" y="15352"/>
                      </a:lnTo>
                      <a:lnTo>
                        <a:pt x="15269" y="15352"/>
                      </a:lnTo>
                      <a:lnTo>
                        <a:pt x="15346" y="15352"/>
                      </a:lnTo>
                      <a:lnTo>
                        <a:pt x="15384" y="15307"/>
                      </a:lnTo>
                      <a:lnTo>
                        <a:pt x="15384" y="15262"/>
                      </a:lnTo>
                      <a:lnTo>
                        <a:pt x="15230" y="15082"/>
                      </a:lnTo>
                      <a:lnTo>
                        <a:pt x="15230" y="15037"/>
                      </a:lnTo>
                      <a:lnTo>
                        <a:pt x="15269" y="14992"/>
                      </a:lnTo>
                      <a:lnTo>
                        <a:pt x="15346" y="14948"/>
                      </a:lnTo>
                      <a:lnTo>
                        <a:pt x="15422" y="14948"/>
                      </a:lnTo>
                      <a:lnTo>
                        <a:pt x="15461" y="14903"/>
                      </a:lnTo>
                      <a:lnTo>
                        <a:pt x="15461" y="14858"/>
                      </a:lnTo>
                      <a:lnTo>
                        <a:pt x="15384" y="14678"/>
                      </a:lnTo>
                      <a:lnTo>
                        <a:pt x="15384" y="14499"/>
                      </a:lnTo>
                      <a:lnTo>
                        <a:pt x="15422" y="14454"/>
                      </a:lnTo>
                      <a:lnTo>
                        <a:pt x="15422" y="14364"/>
                      </a:lnTo>
                      <a:lnTo>
                        <a:pt x="15384" y="14319"/>
                      </a:lnTo>
                      <a:lnTo>
                        <a:pt x="15307" y="14274"/>
                      </a:lnTo>
                      <a:lnTo>
                        <a:pt x="15346" y="14185"/>
                      </a:lnTo>
                      <a:lnTo>
                        <a:pt x="15422" y="14140"/>
                      </a:lnTo>
                      <a:lnTo>
                        <a:pt x="15499" y="14229"/>
                      </a:lnTo>
                      <a:lnTo>
                        <a:pt x="15538" y="14319"/>
                      </a:lnTo>
                      <a:lnTo>
                        <a:pt x="15538" y="14544"/>
                      </a:lnTo>
                      <a:lnTo>
                        <a:pt x="15615" y="14588"/>
                      </a:lnTo>
                      <a:lnTo>
                        <a:pt x="15653" y="14544"/>
                      </a:lnTo>
                      <a:lnTo>
                        <a:pt x="15692" y="14409"/>
                      </a:lnTo>
                      <a:lnTo>
                        <a:pt x="15846" y="13915"/>
                      </a:lnTo>
                      <a:lnTo>
                        <a:pt x="15961" y="14005"/>
                      </a:lnTo>
                      <a:lnTo>
                        <a:pt x="16076" y="14140"/>
                      </a:lnTo>
                      <a:lnTo>
                        <a:pt x="16153" y="14185"/>
                      </a:lnTo>
                      <a:lnTo>
                        <a:pt x="16230" y="14140"/>
                      </a:lnTo>
                      <a:lnTo>
                        <a:pt x="16269" y="14050"/>
                      </a:lnTo>
                      <a:lnTo>
                        <a:pt x="16269" y="13915"/>
                      </a:lnTo>
                      <a:lnTo>
                        <a:pt x="16269" y="13825"/>
                      </a:lnTo>
                      <a:lnTo>
                        <a:pt x="16307" y="13736"/>
                      </a:lnTo>
                      <a:lnTo>
                        <a:pt x="16346" y="13601"/>
                      </a:lnTo>
                      <a:lnTo>
                        <a:pt x="16346" y="13511"/>
                      </a:lnTo>
                      <a:lnTo>
                        <a:pt x="16384" y="13466"/>
                      </a:lnTo>
                      <a:lnTo>
                        <a:pt x="16346" y="13377"/>
                      </a:lnTo>
                      <a:lnTo>
                        <a:pt x="16346" y="13332"/>
                      </a:lnTo>
                      <a:lnTo>
                        <a:pt x="16307" y="13287"/>
                      </a:lnTo>
                      <a:lnTo>
                        <a:pt x="16269" y="13242"/>
                      </a:lnTo>
                      <a:lnTo>
                        <a:pt x="16307" y="13152"/>
                      </a:lnTo>
                      <a:lnTo>
                        <a:pt x="16384" y="12973"/>
                      </a:lnTo>
                      <a:lnTo>
                        <a:pt x="16384" y="12793"/>
                      </a:lnTo>
                      <a:lnTo>
                        <a:pt x="16384" y="12703"/>
                      </a:lnTo>
                      <a:lnTo>
                        <a:pt x="16346" y="12613"/>
                      </a:lnTo>
                      <a:lnTo>
                        <a:pt x="16269" y="12613"/>
                      </a:lnTo>
                      <a:lnTo>
                        <a:pt x="16153" y="12569"/>
                      </a:lnTo>
                      <a:lnTo>
                        <a:pt x="16115" y="12479"/>
                      </a:lnTo>
                      <a:lnTo>
                        <a:pt x="15999" y="12344"/>
                      </a:lnTo>
                      <a:lnTo>
                        <a:pt x="15922" y="12254"/>
                      </a:lnTo>
                      <a:lnTo>
                        <a:pt x="15884" y="12299"/>
                      </a:lnTo>
                      <a:lnTo>
                        <a:pt x="15884" y="12389"/>
                      </a:lnTo>
                      <a:lnTo>
                        <a:pt x="15961" y="12524"/>
                      </a:lnTo>
                      <a:lnTo>
                        <a:pt x="15922" y="12613"/>
                      </a:lnTo>
                      <a:lnTo>
                        <a:pt x="15846" y="12613"/>
                      </a:lnTo>
                      <a:lnTo>
                        <a:pt x="15807" y="12569"/>
                      </a:lnTo>
                      <a:lnTo>
                        <a:pt x="15730" y="12479"/>
                      </a:lnTo>
                      <a:lnTo>
                        <a:pt x="15615" y="12344"/>
                      </a:lnTo>
                      <a:lnTo>
                        <a:pt x="15615" y="12209"/>
                      </a:lnTo>
                      <a:lnTo>
                        <a:pt x="15576" y="12120"/>
                      </a:lnTo>
                      <a:lnTo>
                        <a:pt x="15461" y="11985"/>
                      </a:lnTo>
                      <a:lnTo>
                        <a:pt x="15422" y="11850"/>
                      </a:lnTo>
                      <a:lnTo>
                        <a:pt x="15384" y="11716"/>
                      </a:lnTo>
                      <a:lnTo>
                        <a:pt x="15307" y="11671"/>
                      </a:lnTo>
                      <a:lnTo>
                        <a:pt x="15269" y="11626"/>
                      </a:lnTo>
                      <a:lnTo>
                        <a:pt x="15307" y="11491"/>
                      </a:lnTo>
                      <a:lnTo>
                        <a:pt x="15384" y="11401"/>
                      </a:lnTo>
                      <a:lnTo>
                        <a:pt x="15461" y="11312"/>
                      </a:lnTo>
                      <a:lnTo>
                        <a:pt x="15499" y="11267"/>
                      </a:lnTo>
                      <a:lnTo>
                        <a:pt x="15422" y="11087"/>
                      </a:lnTo>
                      <a:lnTo>
                        <a:pt x="15269" y="10728"/>
                      </a:lnTo>
                      <a:lnTo>
                        <a:pt x="15192" y="10593"/>
                      </a:lnTo>
                      <a:lnTo>
                        <a:pt x="15192" y="10549"/>
                      </a:lnTo>
                      <a:lnTo>
                        <a:pt x="15230" y="10324"/>
                      </a:lnTo>
                      <a:lnTo>
                        <a:pt x="15192" y="10234"/>
                      </a:lnTo>
                      <a:lnTo>
                        <a:pt x="15115" y="10190"/>
                      </a:lnTo>
                      <a:lnTo>
                        <a:pt x="14884" y="9965"/>
                      </a:lnTo>
                      <a:lnTo>
                        <a:pt x="14846" y="9875"/>
                      </a:lnTo>
                      <a:lnTo>
                        <a:pt x="14807" y="9786"/>
                      </a:lnTo>
                      <a:lnTo>
                        <a:pt x="14653" y="9741"/>
                      </a:lnTo>
                      <a:lnTo>
                        <a:pt x="14346" y="9516"/>
                      </a:lnTo>
                      <a:lnTo>
                        <a:pt x="14230" y="9561"/>
                      </a:lnTo>
                      <a:lnTo>
                        <a:pt x="14153" y="9516"/>
                      </a:lnTo>
                      <a:lnTo>
                        <a:pt x="14038" y="9426"/>
                      </a:lnTo>
                      <a:lnTo>
                        <a:pt x="13999" y="9382"/>
                      </a:lnTo>
                      <a:lnTo>
                        <a:pt x="14115" y="9292"/>
                      </a:lnTo>
                      <a:lnTo>
                        <a:pt x="14115" y="9247"/>
                      </a:lnTo>
                      <a:lnTo>
                        <a:pt x="14076" y="9202"/>
                      </a:lnTo>
                      <a:lnTo>
                        <a:pt x="13961" y="9247"/>
                      </a:lnTo>
                      <a:lnTo>
                        <a:pt x="13653" y="9067"/>
                      </a:lnTo>
                      <a:lnTo>
                        <a:pt x="13576" y="8933"/>
                      </a:lnTo>
                      <a:lnTo>
                        <a:pt x="13461" y="8888"/>
                      </a:lnTo>
                      <a:lnTo>
                        <a:pt x="13461" y="8843"/>
                      </a:lnTo>
                      <a:lnTo>
                        <a:pt x="13346" y="8753"/>
                      </a:lnTo>
                      <a:lnTo>
                        <a:pt x="13192" y="8574"/>
                      </a:lnTo>
                      <a:lnTo>
                        <a:pt x="13038" y="8439"/>
                      </a:lnTo>
                      <a:lnTo>
                        <a:pt x="13000" y="8349"/>
                      </a:lnTo>
                      <a:lnTo>
                        <a:pt x="12961" y="8035"/>
                      </a:lnTo>
                      <a:lnTo>
                        <a:pt x="13000" y="7810"/>
                      </a:lnTo>
                      <a:lnTo>
                        <a:pt x="13076" y="7721"/>
                      </a:lnTo>
                      <a:lnTo>
                        <a:pt x="13153" y="7631"/>
                      </a:lnTo>
                      <a:lnTo>
                        <a:pt x="13230" y="7362"/>
                      </a:lnTo>
                      <a:lnTo>
                        <a:pt x="13269" y="7227"/>
                      </a:lnTo>
                      <a:lnTo>
                        <a:pt x="13384" y="7092"/>
                      </a:lnTo>
                      <a:lnTo>
                        <a:pt x="13423" y="6958"/>
                      </a:lnTo>
                      <a:lnTo>
                        <a:pt x="13384" y="6823"/>
                      </a:lnTo>
                      <a:lnTo>
                        <a:pt x="13346" y="6688"/>
                      </a:lnTo>
                      <a:lnTo>
                        <a:pt x="13384" y="6509"/>
                      </a:lnTo>
                      <a:lnTo>
                        <a:pt x="13384" y="6374"/>
                      </a:lnTo>
                      <a:lnTo>
                        <a:pt x="13461" y="6329"/>
                      </a:lnTo>
                      <a:lnTo>
                        <a:pt x="13538" y="6284"/>
                      </a:lnTo>
                      <a:lnTo>
                        <a:pt x="13499" y="6194"/>
                      </a:lnTo>
                      <a:lnTo>
                        <a:pt x="13461" y="6060"/>
                      </a:lnTo>
                      <a:lnTo>
                        <a:pt x="13346" y="5970"/>
                      </a:lnTo>
                      <a:lnTo>
                        <a:pt x="13192" y="5880"/>
                      </a:lnTo>
                      <a:lnTo>
                        <a:pt x="13115" y="5835"/>
                      </a:lnTo>
                      <a:lnTo>
                        <a:pt x="13038" y="5880"/>
                      </a:lnTo>
                      <a:lnTo>
                        <a:pt x="12884" y="5791"/>
                      </a:lnTo>
                      <a:lnTo>
                        <a:pt x="12807" y="5746"/>
                      </a:lnTo>
                      <a:lnTo>
                        <a:pt x="12692" y="5746"/>
                      </a:lnTo>
                      <a:lnTo>
                        <a:pt x="12576" y="5880"/>
                      </a:lnTo>
                      <a:lnTo>
                        <a:pt x="12500" y="6015"/>
                      </a:lnTo>
                      <a:lnTo>
                        <a:pt x="12461" y="6105"/>
                      </a:lnTo>
                      <a:lnTo>
                        <a:pt x="12346" y="6150"/>
                      </a:lnTo>
                      <a:lnTo>
                        <a:pt x="12269" y="6060"/>
                      </a:lnTo>
                      <a:lnTo>
                        <a:pt x="12192" y="5970"/>
                      </a:lnTo>
                      <a:lnTo>
                        <a:pt x="12153" y="5880"/>
                      </a:lnTo>
                      <a:lnTo>
                        <a:pt x="12115" y="5656"/>
                      </a:lnTo>
                      <a:lnTo>
                        <a:pt x="12038" y="5476"/>
                      </a:lnTo>
                      <a:lnTo>
                        <a:pt x="12076" y="5252"/>
                      </a:lnTo>
                      <a:lnTo>
                        <a:pt x="12038" y="5162"/>
                      </a:lnTo>
                      <a:lnTo>
                        <a:pt x="12000" y="4983"/>
                      </a:lnTo>
                      <a:lnTo>
                        <a:pt x="12000" y="4893"/>
                      </a:lnTo>
                      <a:lnTo>
                        <a:pt x="11961" y="4803"/>
                      </a:lnTo>
                      <a:lnTo>
                        <a:pt x="11923" y="4713"/>
                      </a:lnTo>
                      <a:lnTo>
                        <a:pt x="11769" y="4579"/>
                      </a:lnTo>
                      <a:lnTo>
                        <a:pt x="11576" y="4354"/>
                      </a:lnTo>
                      <a:lnTo>
                        <a:pt x="11461" y="4219"/>
                      </a:lnTo>
                      <a:lnTo>
                        <a:pt x="11384" y="4219"/>
                      </a:lnTo>
                      <a:lnTo>
                        <a:pt x="11230" y="4085"/>
                      </a:lnTo>
                      <a:lnTo>
                        <a:pt x="11153" y="4085"/>
                      </a:lnTo>
                      <a:lnTo>
                        <a:pt x="11077" y="3860"/>
                      </a:lnTo>
                      <a:lnTo>
                        <a:pt x="10923" y="3681"/>
                      </a:lnTo>
                      <a:lnTo>
                        <a:pt x="10846" y="3591"/>
                      </a:lnTo>
                      <a:lnTo>
                        <a:pt x="10615" y="3277"/>
                      </a:lnTo>
                      <a:lnTo>
                        <a:pt x="10500" y="3187"/>
                      </a:lnTo>
                      <a:lnTo>
                        <a:pt x="10423" y="3097"/>
                      </a:lnTo>
                      <a:lnTo>
                        <a:pt x="10423" y="3007"/>
                      </a:lnTo>
                      <a:lnTo>
                        <a:pt x="10346" y="2873"/>
                      </a:lnTo>
                      <a:lnTo>
                        <a:pt x="10192" y="2693"/>
                      </a:lnTo>
                      <a:lnTo>
                        <a:pt x="10153" y="2603"/>
                      </a:lnTo>
                      <a:lnTo>
                        <a:pt x="10192" y="2469"/>
                      </a:lnTo>
                      <a:lnTo>
                        <a:pt x="10230" y="2379"/>
                      </a:lnTo>
                      <a:lnTo>
                        <a:pt x="10153" y="2155"/>
                      </a:lnTo>
                      <a:lnTo>
                        <a:pt x="10077" y="2020"/>
                      </a:lnTo>
                      <a:lnTo>
                        <a:pt x="10038" y="1616"/>
                      </a:lnTo>
                      <a:lnTo>
                        <a:pt x="10038" y="1436"/>
                      </a:lnTo>
                      <a:lnTo>
                        <a:pt x="10038" y="1257"/>
                      </a:lnTo>
                      <a:lnTo>
                        <a:pt x="10077" y="1167"/>
                      </a:lnTo>
                      <a:lnTo>
                        <a:pt x="10153" y="898"/>
                      </a:lnTo>
                      <a:lnTo>
                        <a:pt x="10192" y="808"/>
                      </a:lnTo>
                      <a:lnTo>
                        <a:pt x="10038" y="673"/>
                      </a:lnTo>
                      <a:lnTo>
                        <a:pt x="9923" y="494"/>
                      </a:lnTo>
                      <a:lnTo>
                        <a:pt x="9769" y="359"/>
                      </a:lnTo>
                      <a:lnTo>
                        <a:pt x="9692" y="135"/>
                      </a:lnTo>
                      <a:lnTo>
                        <a:pt x="9577" y="135"/>
                      </a:lnTo>
                      <a:lnTo>
                        <a:pt x="9500" y="0"/>
                      </a:lnTo>
                      <a:lnTo>
                        <a:pt x="8961" y="0"/>
                      </a:lnTo>
                      <a:lnTo>
                        <a:pt x="8423" y="45"/>
                      </a:lnTo>
                      <a:lnTo>
                        <a:pt x="8000" y="90"/>
                      </a:lnTo>
                      <a:lnTo>
                        <a:pt x="7346" y="135"/>
                      </a:lnTo>
                      <a:lnTo>
                        <a:pt x="7192" y="135"/>
                      </a:lnTo>
                      <a:lnTo>
                        <a:pt x="6231" y="180"/>
                      </a:lnTo>
                      <a:lnTo>
                        <a:pt x="5615" y="180"/>
                      </a:lnTo>
                      <a:lnTo>
                        <a:pt x="5154" y="180"/>
                      </a:lnTo>
                      <a:lnTo>
                        <a:pt x="4654" y="224"/>
                      </a:lnTo>
                      <a:lnTo>
                        <a:pt x="4115" y="224"/>
                      </a:lnTo>
                      <a:lnTo>
                        <a:pt x="3577" y="269"/>
                      </a:lnTo>
                      <a:lnTo>
                        <a:pt x="3000" y="269"/>
                      </a:lnTo>
                      <a:lnTo>
                        <a:pt x="2654" y="269"/>
                      </a:lnTo>
                      <a:lnTo>
                        <a:pt x="2000" y="269"/>
                      </a:lnTo>
                      <a:lnTo>
                        <a:pt x="1346" y="269"/>
                      </a:lnTo>
                      <a:lnTo>
                        <a:pt x="923" y="269"/>
                      </a:lnTo>
                      <a:lnTo>
                        <a:pt x="38" y="224"/>
                      </a:lnTo>
                      <a:lnTo>
                        <a:pt x="0" y="314"/>
                      </a:lnTo>
                      <a:lnTo>
                        <a:pt x="38" y="404"/>
                      </a:lnTo>
                      <a:lnTo>
                        <a:pt x="115" y="539"/>
                      </a:lnTo>
                      <a:lnTo>
                        <a:pt x="192" y="628"/>
                      </a:lnTo>
                      <a:lnTo>
                        <a:pt x="308" y="853"/>
                      </a:lnTo>
                      <a:lnTo>
                        <a:pt x="346" y="1077"/>
                      </a:lnTo>
                      <a:lnTo>
                        <a:pt x="346" y="1257"/>
                      </a:lnTo>
                      <a:lnTo>
                        <a:pt x="500" y="1347"/>
                      </a:lnTo>
                      <a:lnTo>
                        <a:pt x="538" y="1436"/>
                      </a:lnTo>
                      <a:lnTo>
                        <a:pt x="692" y="1481"/>
                      </a:lnTo>
                      <a:lnTo>
                        <a:pt x="731" y="1661"/>
                      </a:lnTo>
                      <a:lnTo>
                        <a:pt x="846" y="1796"/>
                      </a:lnTo>
                      <a:lnTo>
                        <a:pt x="885" y="1975"/>
                      </a:lnTo>
                      <a:lnTo>
                        <a:pt x="885" y="2155"/>
                      </a:lnTo>
                      <a:lnTo>
                        <a:pt x="1038" y="2379"/>
                      </a:lnTo>
                      <a:lnTo>
                        <a:pt x="1115" y="2379"/>
                      </a:lnTo>
                      <a:lnTo>
                        <a:pt x="1231" y="2559"/>
                      </a:lnTo>
                      <a:lnTo>
                        <a:pt x="1308" y="2648"/>
                      </a:lnTo>
                      <a:lnTo>
                        <a:pt x="1423" y="2738"/>
                      </a:lnTo>
                      <a:lnTo>
                        <a:pt x="1500" y="2873"/>
                      </a:lnTo>
                      <a:lnTo>
                        <a:pt x="1731" y="2828"/>
                      </a:lnTo>
                      <a:lnTo>
                        <a:pt x="1769" y="2783"/>
                      </a:lnTo>
                      <a:lnTo>
                        <a:pt x="1808" y="2738"/>
                      </a:lnTo>
                      <a:lnTo>
                        <a:pt x="1885" y="2693"/>
                      </a:lnTo>
                      <a:lnTo>
                        <a:pt x="1961" y="2873"/>
                      </a:lnTo>
                      <a:lnTo>
                        <a:pt x="2077" y="2918"/>
                      </a:lnTo>
                      <a:lnTo>
                        <a:pt x="2077" y="3007"/>
                      </a:lnTo>
                      <a:lnTo>
                        <a:pt x="2077" y="3142"/>
                      </a:lnTo>
                      <a:lnTo>
                        <a:pt x="2000" y="3187"/>
                      </a:lnTo>
                      <a:lnTo>
                        <a:pt x="2154" y="3322"/>
                      </a:lnTo>
                      <a:lnTo>
                        <a:pt x="2038" y="3322"/>
                      </a:lnTo>
                      <a:lnTo>
                        <a:pt x="1885" y="3322"/>
                      </a:lnTo>
                      <a:lnTo>
                        <a:pt x="1885" y="3456"/>
                      </a:lnTo>
                      <a:lnTo>
                        <a:pt x="1731" y="3591"/>
                      </a:lnTo>
                      <a:lnTo>
                        <a:pt x="1692" y="3726"/>
                      </a:lnTo>
                      <a:lnTo>
                        <a:pt x="1654" y="3860"/>
                      </a:lnTo>
                      <a:lnTo>
                        <a:pt x="1577" y="4040"/>
                      </a:lnTo>
                      <a:lnTo>
                        <a:pt x="1577" y="4085"/>
                      </a:lnTo>
                      <a:lnTo>
                        <a:pt x="1692" y="4219"/>
                      </a:lnTo>
                      <a:lnTo>
                        <a:pt x="1885" y="4354"/>
                      </a:lnTo>
                      <a:lnTo>
                        <a:pt x="1923" y="4489"/>
                      </a:lnTo>
                      <a:lnTo>
                        <a:pt x="1961" y="4579"/>
                      </a:lnTo>
                      <a:lnTo>
                        <a:pt x="2077" y="4623"/>
                      </a:lnTo>
                      <a:lnTo>
                        <a:pt x="2077" y="4803"/>
                      </a:lnTo>
                      <a:lnTo>
                        <a:pt x="2154" y="5027"/>
                      </a:lnTo>
                      <a:lnTo>
                        <a:pt x="2308" y="5252"/>
                      </a:lnTo>
                      <a:lnTo>
                        <a:pt x="2385" y="5297"/>
                      </a:lnTo>
                      <a:lnTo>
                        <a:pt x="2461" y="5342"/>
                      </a:lnTo>
                      <a:lnTo>
                        <a:pt x="2615" y="5342"/>
                      </a:lnTo>
                      <a:lnTo>
                        <a:pt x="2692" y="5431"/>
                      </a:lnTo>
                      <a:lnTo>
                        <a:pt x="2769" y="5431"/>
                      </a:lnTo>
                      <a:lnTo>
                        <a:pt x="2846" y="5476"/>
                      </a:lnTo>
                      <a:lnTo>
                        <a:pt x="2808" y="5521"/>
                      </a:lnTo>
                      <a:lnTo>
                        <a:pt x="2769" y="5835"/>
                      </a:lnTo>
                      <a:lnTo>
                        <a:pt x="2769" y="6554"/>
                      </a:lnTo>
                      <a:lnTo>
                        <a:pt x="2769" y="6958"/>
                      </a:lnTo>
                      <a:lnTo>
                        <a:pt x="2769" y="7900"/>
                      </a:lnTo>
                      <a:lnTo>
                        <a:pt x="2808" y="8214"/>
                      </a:lnTo>
                      <a:lnTo>
                        <a:pt x="2769" y="9382"/>
                      </a:lnTo>
                      <a:lnTo>
                        <a:pt x="2769" y="9471"/>
                      </a:lnTo>
                      <a:lnTo>
                        <a:pt x="2769" y="10773"/>
                      </a:lnTo>
                      <a:lnTo>
                        <a:pt x="2769" y="10863"/>
                      </a:lnTo>
                      <a:lnTo>
                        <a:pt x="2769" y="11895"/>
                      </a:lnTo>
                      <a:lnTo>
                        <a:pt x="2769" y="11985"/>
                      </a:lnTo>
                      <a:lnTo>
                        <a:pt x="2769" y="12973"/>
                      </a:lnTo>
                      <a:lnTo>
                        <a:pt x="2808" y="13152"/>
                      </a:lnTo>
                      <a:lnTo>
                        <a:pt x="2808" y="14005"/>
                      </a:lnTo>
                      <a:lnTo>
                        <a:pt x="2808" y="14364"/>
                      </a:lnTo>
                      <a:lnTo>
                        <a:pt x="2846" y="14992"/>
                      </a:lnTo>
                      <a:lnTo>
                        <a:pt x="4154" y="14992"/>
                      </a:lnTo>
                      <a:lnTo>
                        <a:pt x="4192" y="14992"/>
                      </a:lnTo>
                      <a:lnTo>
                        <a:pt x="4654" y="14992"/>
                      </a:lnTo>
                      <a:lnTo>
                        <a:pt x="4692" y="14992"/>
                      </a:lnTo>
                      <a:lnTo>
                        <a:pt x="5384" y="14948"/>
                      </a:lnTo>
                      <a:lnTo>
                        <a:pt x="5384" y="14992"/>
                      </a:lnTo>
                      <a:lnTo>
                        <a:pt x="6038" y="14948"/>
                      </a:lnTo>
                      <a:lnTo>
                        <a:pt x="6077" y="14948"/>
                      </a:lnTo>
                      <a:lnTo>
                        <a:pt x="6115" y="14948"/>
                      </a:lnTo>
                      <a:lnTo>
                        <a:pt x="7230" y="14903"/>
                      </a:lnTo>
                      <a:lnTo>
                        <a:pt x="7423" y="14903"/>
                      </a:lnTo>
                      <a:lnTo>
                        <a:pt x="7961" y="14903"/>
                      </a:lnTo>
                      <a:lnTo>
                        <a:pt x="8923" y="14858"/>
                      </a:lnTo>
                      <a:lnTo>
                        <a:pt x="9000" y="14858"/>
                      </a:lnTo>
                      <a:lnTo>
                        <a:pt x="10115" y="14768"/>
                      </a:lnTo>
                      <a:close/>
                    </a:path>
                  </a:pathLst>
                </a:custGeom>
                <a:solidFill>
                  <a:srgbClr val="0070C0"/>
                </a:solidFill>
                <a:ln w="9525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defTabSz="121917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44" name="Montana">
                  <a:extLst>
                    <a:ext uri="{FF2B5EF4-FFF2-40B4-BE49-F238E27FC236}">
                      <a16:creationId xmlns:a16="http://schemas.microsoft.com/office/drawing/2014/main" id="{054A75E3-9333-D23F-9AD0-F05DEFF6F7B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791200" y="790575"/>
                  <a:ext cx="6076950" cy="3676650"/>
                </a:xfrm>
                <a:custGeom>
                  <a:avLst/>
                  <a:gdLst>
                    <a:gd name="T0" fmla="*/ 2147483647 w 16384"/>
                    <a:gd name="T1" fmla="*/ 2147483647 h 16384"/>
                    <a:gd name="T2" fmla="*/ 2147483647 w 16384"/>
                    <a:gd name="T3" fmla="*/ 2147483647 h 16384"/>
                    <a:gd name="T4" fmla="*/ 2147483647 w 16384"/>
                    <a:gd name="T5" fmla="*/ 2147483647 h 16384"/>
                    <a:gd name="T6" fmla="*/ 2147483647 w 16384"/>
                    <a:gd name="T7" fmla="*/ 2147483647 h 16384"/>
                    <a:gd name="T8" fmla="*/ 2147483647 w 16384"/>
                    <a:gd name="T9" fmla="*/ 2147483647 h 16384"/>
                    <a:gd name="T10" fmla="*/ 2147483647 w 16384"/>
                    <a:gd name="T11" fmla="*/ 2147483647 h 16384"/>
                    <a:gd name="T12" fmla="*/ 2147483647 w 16384"/>
                    <a:gd name="T13" fmla="*/ 2147483647 h 16384"/>
                    <a:gd name="T14" fmla="*/ 2147483647 w 16384"/>
                    <a:gd name="T15" fmla="*/ 2147483647 h 16384"/>
                    <a:gd name="T16" fmla="*/ 2147483647 w 16384"/>
                    <a:gd name="T17" fmla="*/ 2147483647 h 16384"/>
                    <a:gd name="T18" fmla="*/ 2147483647 w 16384"/>
                    <a:gd name="T19" fmla="*/ 2147483647 h 16384"/>
                    <a:gd name="T20" fmla="*/ 2147483647 w 16384"/>
                    <a:gd name="T21" fmla="*/ 2147483647 h 16384"/>
                    <a:gd name="T22" fmla="*/ 2147483647 w 16384"/>
                    <a:gd name="T23" fmla="*/ 2147483647 h 16384"/>
                    <a:gd name="T24" fmla="*/ 2147483647 w 16384"/>
                    <a:gd name="T25" fmla="*/ 2147483647 h 16384"/>
                    <a:gd name="T26" fmla="*/ 2147483647 w 16384"/>
                    <a:gd name="T27" fmla="*/ 2147483647 h 16384"/>
                    <a:gd name="T28" fmla="*/ 2147483647 w 16384"/>
                    <a:gd name="T29" fmla="*/ 2147483647 h 16384"/>
                    <a:gd name="T30" fmla="*/ 2147483647 w 16384"/>
                    <a:gd name="T31" fmla="*/ 2147483647 h 16384"/>
                    <a:gd name="T32" fmla="*/ 2147483647 w 16384"/>
                    <a:gd name="T33" fmla="*/ 2147483647 h 16384"/>
                    <a:gd name="T34" fmla="*/ 2147483647 w 16384"/>
                    <a:gd name="T35" fmla="*/ 2147483647 h 16384"/>
                    <a:gd name="T36" fmla="*/ 2147483647 w 16384"/>
                    <a:gd name="T37" fmla="*/ 2147483647 h 16384"/>
                    <a:gd name="T38" fmla="*/ 2147483647 w 16384"/>
                    <a:gd name="T39" fmla="*/ 2147483647 h 16384"/>
                    <a:gd name="T40" fmla="*/ 2147483647 w 16384"/>
                    <a:gd name="T41" fmla="*/ 2147483647 h 16384"/>
                    <a:gd name="T42" fmla="*/ 2147483647 w 16384"/>
                    <a:gd name="T43" fmla="*/ 2147483647 h 16384"/>
                    <a:gd name="T44" fmla="*/ 2147483647 w 16384"/>
                    <a:gd name="T45" fmla="*/ 2147483647 h 16384"/>
                    <a:gd name="T46" fmla="*/ 2147483647 w 16384"/>
                    <a:gd name="T47" fmla="*/ 2147483647 h 16384"/>
                    <a:gd name="T48" fmla="*/ 2147483647 w 16384"/>
                    <a:gd name="T49" fmla="*/ 2147483647 h 16384"/>
                    <a:gd name="T50" fmla="*/ 2147483647 w 16384"/>
                    <a:gd name="T51" fmla="*/ 2147483647 h 16384"/>
                    <a:gd name="T52" fmla="*/ 2147483647 w 16384"/>
                    <a:gd name="T53" fmla="*/ 2147483647 h 16384"/>
                    <a:gd name="T54" fmla="*/ 2147483647 w 16384"/>
                    <a:gd name="T55" fmla="*/ 2147483647 h 16384"/>
                    <a:gd name="T56" fmla="*/ 2147483647 w 16384"/>
                    <a:gd name="T57" fmla="*/ 2147483647 h 16384"/>
                    <a:gd name="T58" fmla="*/ 2147483647 w 16384"/>
                    <a:gd name="T59" fmla="*/ 2147483647 h 16384"/>
                    <a:gd name="T60" fmla="*/ 2147483647 w 16384"/>
                    <a:gd name="T61" fmla="*/ 2147483647 h 16384"/>
                    <a:gd name="T62" fmla="*/ 2147483647 w 16384"/>
                    <a:gd name="T63" fmla="*/ 2147483647 h 16384"/>
                    <a:gd name="T64" fmla="*/ 2147483647 w 16384"/>
                    <a:gd name="T65" fmla="*/ 2147483647 h 16384"/>
                    <a:gd name="T66" fmla="*/ 2147483647 w 16384"/>
                    <a:gd name="T67" fmla="*/ 2147483647 h 16384"/>
                    <a:gd name="T68" fmla="*/ 2147483647 w 16384"/>
                    <a:gd name="T69" fmla="*/ 2147483647 h 16384"/>
                    <a:gd name="T70" fmla="*/ 2147483647 w 16384"/>
                    <a:gd name="T71" fmla="*/ 2147483647 h 16384"/>
                    <a:gd name="T72" fmla="*/ 2147483647 w 16384"/>
                    <a:gd name="T73" fmla="*/ 2147483647 h 16384"/>
                    <a:gd name="T74" fmla="*/ 2147483647 w 16384"/>
                    <a:gd name="T75" fmla="*/ 2147483647 h 16384"/>
                    <a:gd name="T76" fmla="*/ 2147483647 w 16384"/>
                    <a:gd name="T77" fmla="*/ 2147483647 h 16384"/>
                    <a:gd name="T78" fmla="*/ 2147483647 w 16384"/>
                    <a:gd name="T79" fmla="*/ 2147483647 h 16384"/>
                    <a:gd name="T80" fmla="*/ 2147483647 w 16384"/>
                    <a:gd name="T81" fmla="*/ 2147483647 h 16384"/>
                    <a:gd name="T82" fmla="*/ 2147483647 w 16384"/>
                    <a:gd name="T83" fmla="*/ 2147483647 h 16384"/>
                    <a:gd name="T84" fmla="*/ 2147483647 w 16384"/>
                    <a:gd name="T85" fmla="*/ 2147483647 h 16384"/>
                    <a:gd name="T86" fmla="*/ 2147483647 w 16384"/>
                    <a:gd name="T87" fmla="*/ 2147483647 h 16384"/>
                    <a:gd name="T88" fmla="*/ 2147483647 w 16384"/>
                    <a:gd name="T89" fmla="*/ 2147483647 h 16384"/>
                    <a:gd name="T90" fmla="*/ 2147483647 w 16384"/>
                    <a:gd name="T91" fmla="*/ 2147483647 h 16384"/>
                    <a:gd name="T92" fmla="*/ 2147483647 w 16384"/>
                    <a:gd name="T93" fmla="*/ 2147483647 h 16384"/>
                    <a:gd name="T94" fmla="*/ 2147483647 w 16384"/>
                    <a:gd name="T95" fmla="*/ 2147483647 h 16384"/>
                    <a:gd name="T96" fmla="*/ 2147483647 w 16384"/>
                    <a:gd name="T97" fmla="*/ 2147483647 h 16384"/>
                    <a:gd name="T98" fmla="*/ 2147483647 w 16384"/>
                    <a:gd name="T99" fmla="*/ 2147483647 h 16384"/>
                    <a:gd name="T100" fmla="*/ 2147483647 w 16384"/>
                    <a:gd name="T101" fmla="*/ 2147483647 h 16384"/>
                    <a:gd name="T102" fmla="*/ 2147483647 w 16384"/>
                    <a:gd name="T103" fmla="*/ 2147483647 h 16384"/>
                    <a:gd name="T104" fmla="*/ 2147483647 w 16384"/>
                    <a:gd name="T105" fmla="*/ 2147483647 h 16384"/>
                    <a:gd name="T106" fmla="*/ 2147483647 w 16384"/>
                    <a:gd name="T107" fmla="*/ 2147483647 h 16384"/>
                    <a:gd name="T108" fmla="*/ 2147483647 w 16384"/>
                    <a:gd name="T109" fmla="*/ 2147483647 h 16384"/>
                    <a:gd name="T110" fmla="*/ 2147483647 w 16384"/>
                    <a:gd name="T111" fmla="*/ 2147483647 h 16384"/>
                    <a:gd name="T112" fmla="*/ 2147483647 w 16384"/>
                    <a:gd name="T113" fmla="*/ 2147483647 h 16384"/>
                    <a:gd name="T114" fmla="*/ 2147483647 w 16384"/>
                    <a:gd name="T115" fmla="*/ 2147483647 h 16384"/>
                    <a:gd name="T116" fmla="*/ 2147483647 w 16384"/>
                    <a:gd name="T117" fmla="*/ 2147483647 h 16384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w 16384"/>
                    <a:gd name="T178" fmla="*/ 0 h 16384"/>
                    <a:gd name="T179" fmla="*/ 16384 w 16384"/>
                    <a:gd name="T180" fmla="*/ 16384 h 16384"/>
                  </a:gdLst>
                  <a:ahLst/>
                  <a:cxnLst>
                    <a:cxn ang="T118">
                      <a:pos x="T0" y="T1"/>
                    </a:cxn>
                    <a:cxn ang="T119">
                      <a:pos x="T2" y="T3"/>
                    </a:cxn>
                    <a:cxn ang="T120">
                      <a:pos x="T4" y="T5"/>
                    </a:cxn>
                    <a:cxn ang="T121">
                      <a:pos x="T6" y="T7"/>
                    </a:cxn>
                    <a:cxn ang="T122">
                      <a:pos x="T8" y="T9"/>
                    </a:cxn>
                    <a:cxn ang="T123">
                      <a:pos x="T10" y="T11"/>
                    </a:cxn>
                    <a:cxn ang="T124">
                      <a:pos x="T12" y="T13"/>
                    </a:cxn>
                    <a:cxn ang="T125">
                      <a:pos x="T14" y="T15"/>
                    </a:cxn>
                    <a:cxn ang="T126">
                      <a:pos x="T16" y="T17"/>
                    </a:cxn>
                    <a:cxn ang="T127">
                      <a:pos x="T18" y="T19"/>
                    </a:cxn>
                    <a:cxn ang="T128">
                      <a:pos x="T20" y="T21"/>
                    </a:cxn>
                    <a:cxn ang="T129">
                      <a:pos x="T22" y="T23"/>
                    </a:cxn>
                    <a:cxn ang="T130">
                      <a:pos x="T24" y="T25"/>
                    </a:cxn>
                    <a:cxn ang="T131">
                      <a:pos x="T26" y="T27"/>
                    </a:cxn>
                    <a:cxn ang="T132">
                      <a:pos x="T28" y="T29"/>
                    </a:cxn>
                    <a:cxn ang="T133">
                      <a:pos x="T30" y="T31"/>
                    </a:cxn>
                    <a:cxn ang="T134">
                      <a:pos x="T32" y="T33"/>
                    </a:cxn>
                    <a:cxn ang="T135">
                      <a:pos x="T34" y="T35"/>
                    </a:cxn>
                    <a:cxn ang="T136">
                      <a:pos x="T36" y="T37"/>
                    </a:cxn>
                    <a:cxn ang="T137">
                      <a:pos x="T38" y="T39"/>
                    </a:cxn>
                    <a:cxn ang="T138">
                      <a:pos x="T40" y="T41"/>
                    </a:cxn>
                    <a:cxn ang="T139">
                      <a:pos x="T42" y="T43"/>
                    </a:cxn>
                    <a:cxn ang="T140">
                      <a:pos x="T44" y="T45"/>
                    </a:cxn>
                    <a:cxn ang="T141">
                      <a:pos x="T46" y="T47"/>
                    </a:cxn>
                    <a:cxn ang="T142">
                      <a:pos x="T48" y="T49"/>
                    </a:cxn>
                    <a:cxn ang="T143">
                      <a:pos x="T50" y="T51"/>
                    </a:cxn>
                    <a:cxn ang="T144">
                      <a:pos x="T52" y="T53"/>
                    </a:cxn>
                    <a:cxn ang="T145">
                      <a:pos x="T54" y="T55"/>
                    </a:cxn>
                    <a:cxn ang="T146">
                      <a:pos x="T56" y="T57"/>
                    </a:cxn>
                    <a:cxn ang="T147">
                      <a:pos x="T58" y="T59"/>
                    </a:cxn>
                    <a:cxn ang="T148">
                      <a:pos x="T60" y="T61"/>
                    </a:cxn>
                    <a:cxn ang="T149">
                      <a:pos x="T62" y="T63"/>
                    </a:cxn>
                    <a:cxn ang="T150">
                      <a:pos x="T64" y="T65"/>
                    </a:cxn>
                    <a:cxn ang="T151">
                      <a:pos x="T66" y="T67"/>
                    </a:cxn>
                    <a:cxn ang="T152">
                      <a:pos x="T68" y="T69"/>
                    </a:cxn>
                    <a:cxn ang="T153">
                      <a:pos x="T70" y="T71"/>
                    </a:cxn>
                    <a:cxn ang="T154">
                      <a:pos x="T72" y="T73"/>
                    </a:cxn>
                    <a:cxn ang="T155">
                      <a:pos x="T74" y="T75"/>
                    </a:cxn>
                    <a:cxn ang="T156">
                      <a:pos x="T76" y="T77"/>
                    </a:cxn>
                    <a:cxn ang="T157">
                      <a:pos x="T78" y="T79"/>
                    </a:cxn>
                    <a:cxn ang="T158">
                      <a:pos x="T80" y="T81"/>
                    </a:cxn>
                    <a:cxn ang="T159">
                      <a:pos x="T82" y="T83"/>
                    </a:cxn>
                    <a:cxn ang="T160">
                      <a:pos x="T84" y="T85"/>
                    </a:cxn>
                    <a:cxn ang="T161">
                      <a:pos x="T86" y="T87"/>
                    </a:cxn>
                    <a:cxn ang="T162">
                      <a:pos x="T88" y="T89"/>
                    </a:cxn>
                    <a:cxn ang="T163">
                      <a:pos x="T90" y="T91"/>
                    </a:cxn>
                    <a:cxn ang="T164">
                      <a:pos x="T92" y="T93"/>
                    </a:cxn>
                    <a:cxn ang="T165">
                      <a:pos x="T94" y="T95"/>
                    </a:cxn>
                    <a:cxn ang="T166">
                      <a:pos x="T96" y="T97"/>
                    </a:cxn>
                    <a:cxn ang="T167">
                      <a:pos x="T98" y="T99"/>
                    </a:cxn>
                    <a:cxn ang="T168">
                      <a:pos x="T100" y="T101"/>
                    </a:cxn>
                    <a:cxn ang="T169">
                      <a:pos x="T102" y="T103"/>
                    </a:cxn>
                    <a:cxn ang="T170">
                      <a:pos x="T104" y="T105"/>
                    </a:cxn>
                    <a:cxn ang="T171">
                      <a:pos x="T106" y="T107"/>
                    </a:cxn>
                    <a:cxn ang="T172">
                      <a:pos x="T108" y="T109"/>
                    </a:cxn>
                    <a:cxn ang="T173">
                      <a:pos x="T110" y="T111"/>
                    </a:cxn>
                    <a:cxn ang="T174">
                      <a:pos x="T112" y="T113"/>
                    </a:cxn>
                    <a:cxn ang="T175">
                      <a:pos x="T114" y="T115"/>
                    </a:cxn>
                    <a:cxn ang="T176">
                      <a:pos x="T116" y="T117"/>
                    </a:cxn>
                  </a:cxnLst>
                  <a:rect l="T177" t="T178" r="T179" b="T180"/>
                  <a:pathLst>
                    <a:path w="16384" h="16384">
                      <a:moveTo>
                        <a:pt x="7514" y="14865"/>
                      </a:moveTo>
                      <a:lnTo>
                        <a:pt x="7614" y="14865"/>
                      </a:lnTo>
                      <a:lnTo>
                        <a:pt x="7966" y="14985"/>
                      </a:lnTo>
                      <a:lnTo>
                        <a:pt x="8267" y="15025"/>
                      </a:lnTo>
                      <a:lnTo>
                        <a:pt x="8669" y="15145"/>
                      </a:lnTo>
                      <a:lnTo>
                        <a:pt x="8946" y="15185"/>
                      </a:lnTo>
                      <a:lnTo>
                        <a:pt x="9197" y="15265"/>
                      </a:lnTo>
                      <a:lnTo>
                        <a:pt x="9675" y="15345"/>
                      </a:lnTo>
                      <a:lnTo>
                        <a:pt x="10202" y="15465"/>
                      </a:lnTo>
                      <a:lnTo>
                        <a:pt x="10378" y="15465"/>
                      </a:lnTo>
                      <a:lnTo>
                        <a:pt x="10655" y="15545"/>
                      </a:lnTo>
                      <a:lnTo>
                        <a:pt x="11032" y="15585"/>
                      </a:lnTo>
                      <a:lnTo>
                        <a:pt x="11459" y="15705"/>
                      </a:lnTo>
                      <a:lnTo>
                        <a:pt x="11936" y="15785"/>
                      </a:lnTo>
                      <a:lnTo>
                        <a:pt x="12414" y="15865"/>
                      </a:lnTo>
                      <a:lnTo>
                        <a:pt x="12590" y="15865"/>
                      </a:lnTo>
                      <a:lnTo>
                        <a:pt x="12891" y="15944"/>
                      </a:lnTo>
                      <a:lnTo>
                        <a:pt x="13042" y="15944"/>
                      </a:lnTo>
                      <a:lnTo>
                        <a:pt x="13369" y="16024"/>
                      </a:lnTo>
                      <a:lnTo>
                        <a:pt x="13821" y="16104"/>
                      </a:lnTo>
                      <a:lnTo>
                        <a:pt x="14072" y="16144"/>
                      </a:lnTo>
                      <a:lnTo>
                        <a:pt x="14223" y="16184"/>
                      </a:lnTo>
                      <a:lnTo>
                        <a:pt x="14298" y="16144"/>
                      </a:lnTo>
                      <a:lnTo>
                        <a:pt x="14449" y="16184"/>
                      </a:lnTo>
                      <a:lnTo>
                        <a:pt x="14650" y="16224"/>
                      </a:lnTo>
                      <a:lnTo>
                        <a:pt x="14952" y="16264"/>
                      </a:lnTo>
                      <a:lnTo>
                        <a:pt x="15278" y="16304"/>
                      </a:lnTo>
                      <a:lnTo>
                        <a:pt x="15555" y="16344"/>
                      </a:lnTo>
                      <a:lnTo>
                        <a:pt x="15706" y="16384"/>
                      </a:lnTo>
                      <a:lnTo>
                        <a:pt x="15731" y="15705"/>
                      </a:lnTo>
                      <a:lnTo>
                        <a:pt x="15856" y="13627"/>
                      </a:lnTo>
                      <a:lnTo>
                        <a:pt x="15856" y="13427"/>
                      </a:lnTo>
                      <a:lnTo>
                        <a:pt x="15932" y="12348"/>
                      </a:lnTo>
                      <a:lnTo>
                        <a:pt x="15982" y="11549"/>
                      </a:lnTo>
                      <a:lnTo>
                        <a:pt x="15982" y="11189"/>
                      </a:lnTo>
                      <a:lnTo>
                        <a:pt x="16108" y="9031"/>
                      </a:lnTo>
                      <a:lnTo>
                        <a:pt x="16108" y="8831"/>
                      </a:lnTo>
                      <a:lnTo>
                        <a:pt x="16233" y="6993"/>
                      </a:lnTo>
                      <a:lnTo>
                        <a:pt x="16283" y="5714"/>
                      </a:lnTo>
                      <a:lnTo>
                        <a:pt x="16334" y="4955"/>
                      </a:lnTo>
                      <a:lnTo>
                        <a:pt x="16384" y="3796"/>
                      </a:lnTo>
                      <a:lnTo>
                        <a:pt x="16133" y="3756"/>
                      </a:lnTo>
                      <a:lnTo>
                        <a:pt x="15781" y="3716"/>
                      </a:lnTo>
                      <a:lnTo>
                        <a:pt x="15454" y="3676"/>
                      </a:lnTo>
                      <a:lnTo>
                        <a:pt x="15178" y="3636"/>
                      </a:lnTo>
                      <a:lnTo>
                        <a:pt x="15052" y="3596"/>
                      </a:lnTo>
                      <a:lnTo>
                        <a:pt x="14901" y="3596"/>
                      </a:lnTo>
                      <a:lnTo>
                        <a:pt x="14600" y="3517"/>
                      </a:lnTo>
                      <a:lnTo>
                        <a:pt x="14273" y="3477"/>
                      </a:lnTo>
                      <a:lnTo>
                        <a:pt x="13972" y="3437"/>
                      </a:lnTo>
                      <a:lnTo>
                        <a:pt x="13771" y="3397"/>
                      </a:lnTo>
                      <a:lnTo>
                        <a:pt x="13645" y="3397"/>
                      </a:lnTo>
                      <a:lnTo>
                        <a:pt x="13469" y="3357"/>
                      </a:lnTo>
                      <a:lnTo>
                        <a:pt x="13193" y="3317"/>
                      </a:lnTo>
                      <a:lnTo>
                        <a:pt x="12916" y="3237"/>
                      </a:lnTo>
                      <a:lnTo>
                        <a:pt x="12615" y="3197"/>
                      </a:lnTo>
                      <a:lnTo>
                        <a:pt x="12363" y="3157"/>
                      </a:lnTo>
                      <a:lnTo>
                        <a:pt x="12187" y="3117"/>
                      </a:lnTo>
                      <a:lnTo>
                        <a:pt x="12062" y="3117"/>
                      </a:lnTo>
                      <a:lnTo>
                        <a:pt x="11836" y="3077"/>
                      </a:lnTo>
                      <a:lnTo>
                        <a:pt x="11509" y="2997"/>
                      </a:lnTo>
                      <a:lnTo>
                        <a:pt x="11258" y="2957"/>
                      </a:lnTo>
                      <a:lnTo>
                        <a:pt x="10981" y="2877"/>
                      </a:lnTo>
                      <a:lnTo>
                        <a:pt x="10780" y="2837"/>
                      </a:lnTo>
                      <a:lnTo>
                        <a:pt x="10428" y="2797"/>
                      </a:lnTo>
                      <a:lnTo>
                        <a:pt x="10026" y="2717"/>
                      </a:lnTo>
                      <a:lnTo>
                        <a:pt x="9649" y="2597"/>
                      </a:lnTo>
                      <a:lnTo>
                        <a:pt x="9323" y="2558"/>
                      </a:lnTo>
                      <a:lnTo>
                        <a:pt x="9122" y="2478"/>
                      </a:lnTo>
                      <a:lnTo>
                        <a:pt x="8770" y="2398"/>
                      </a:lnTo>
                      <a:lnTo>
                        <a:pt x="8242" y="2278"/>
                      </a:lnTo>
                      <a:lnTo>
                        <a:pt x="7740" y="2158"/>
                      </a:lnTo>
                      <a:lnTo>
                        <a:pt x="7438" y="2078"/>
                      </a:lnTo>
                      <a:lnTo>
                        <a:pt x="7237" y="2038"/>
                      </a:lnTo>
                      <a:lnTo>
                        <a:pt x="6936" y="1958"/>
                      </a:lnTo>
                      <a:lnTo>
                        <a:pt x="6760" y="1878"/>
                      </a:lnTo>
                      <a:lnTo>
                        <a:pt x="6584" y="1878"/>
                      </a:lnTo>
                      <a:lnTo>
                        <a:pt x="6307" y="1798"/>
                      </a:lnTo>
                      <a:lnTo>
                        <a:pt x="5956" y="1718"/>
                      </a:lnTo>
                      <a:lnTo>
                        <a:pt x="5629" y="1598"/>
                      </a:lnTo>
                      <a:lnTo>
                        <a:pt x="5503" y="1558"/>
                      </a:lnTo>
                      <a:lnTo>
                        <a:pt x="5051" y="1439"/>
                      </a:lnTo>
                      <a:lnTo>
                        <a:pt x="4297" y="1239"/>
                      </a:lnTo>
                      <a:lnTo>
                        <a:pt x="3669" y="1039"/>
                      </a:lnTo>
                      <a:lnTo>
                        <a:pt x="3216" y="879"/>
                      </a:lnTo>
                      <a:lnTo>
                        <a:pt x="3015" y="839"/>
                      </a:lnTo>
                      <a:lnTo>
                        <a:pt x="2865" y="799"/>
                      </a:lnTo>
                      <a:lnTo>
                        <a:pt x="2664" y="759"/>
                      </a:lnTo>
                      <a:lnTo>
                        <a:pt x="2312" y="639"/>
                      </a:lnTo>
                      <a:lnTo>
                        <a:pt x="2161" y="559"/>
                      </a:lnTo>
                      <a:lnTo>
                        <a:pt x="1784" y="440"/>
                      </a:lnTo>
                      <a:lnTo>
                        <a:pt x="1156" y="240"/>
                      </a:lnTo>
                      <a:lnTo>
                        <a:pt x="653" y="80"/>
                      </a:lnTo>
                      <a:lnTo>
                        <a:pt x="402" y="0"/>
                      </a:lnTo>
                      <a:lnTo>
                        <a:pt x="201" y="1558"/>
                      </a:lnTo>
                      <a:lnTo>
                        <a:pt x="75" y="2358"/>
                      </a:lnTo>
                      <a:lnTo>
                        <a:pt x="0" y="3037"/>
                      </a:lnTo>
                      <a:lnTo>
                        <a:pt x="0" y="3157"/>
                      </a:lnTo>
                      <a:lnTo>
                        <a:pt x="101" y="3557"/>
                      </a:lnTo>
                      <a:lnTo>
                        <a:pt x="151" y="3676"/>
                      </a:lnTo>
                      <a:lnTo>
                        <a:pt x="151" y="3876"/>
                      </a:lnTo>
                      <a:lnTo>
                        <a:pt x="226" y="3916"/>
                      </a:lnTo>
                      <a:lnTo>
                        <a:pt x="276" y="4156"/>
                      </a:lnTo>
                      <a:lnTo>
                        <a:pt x="251" y="4276"/>
                      </a:lnTo>
                      <a:lnTo>
                        <a:pt x="302" y="4396"/>
                      </a:lnTo>
                      <a:lnTo>
                        <a:pt x="251" y="4516"/>
                      </a:lnTo>
                      <a:lnTo>
                        <a:pt x="201" y="4596"/>
                      </a:lnTo>
                      <a:lnTo>
                        <a:pt x="302" y="4835"/>
                      </a:lnTo>
                      <a:lnTo>
                        <a:pt x="276" y="4875"/>
                      </a:lnTo>
                      <a:lnTo>
                        <a:pt x="151" y="4955"/>
                      </a:lnTo>
                      <a:lnTo>
                        <a:pt x="352" y="5195"/>
                      </a:lnTo>
                      <a:lnTo>
                        <a:pt x="402" y="5315"/>
                      </a:lnTo>
                      <a:lnTo>
                        <a:pt x="427" y="5475"/>
                      </a:lnTo>
                      <a:lnTo>
                        <a:pt x="653" y="5674"/>
                      </a:lnTo>
                      <a:lnTo>
                        <a:pt x="678" y="5834"/>
                      </a:lnTo>
                      <a:lnTo>
                        <a:pt x="804" y="6194"/>
                      </a:lnTo>
                      <a:lnTo>
                        <a:pt x="905" y="6514"/>
                      </a:lnTo>
                      <a:lnTo>
                        <a:pt x="930" y="6673"/>
                      </a:lnTo>
                      <a:lnTo>
                        <a:pt x="1030" y="6833"/>
                      </a:lnTo>
                      <a:lnTo>
                        <a:pt x="1030" y="6913"/>
                      </a:lnTo>
                      <a:lnTo>
                        <a:pt x="1030" y="7073"/>
                      </a:lnTo>
                      <a:lnTo>
                        <a:pt x="1055" y="7233"/>
                      </a:lnTo>
                      <a:lnTo>
                        <a:pt x="1131" y="7273"/>
                      </a:lnTo>
                      <a:lnTo>
                        <a:pt x="1206" y="7513"/>
                      </a:lnTo>
                      <a:lnTo>
                        <a:pt x="1156" y="7633"/>
                      </a:lnTo>
                      <a:lnTo>
                        <a:pt x="1206" y="7633"/>
                      </a:lnTo>
                      <a:lnTo>
                        <a:pt x="1332" y="7553"/>
                      </a:lnTo>
                      <a:lnTo>
                        <a:pt x="1382" y="7633"/>
                      </a:lnTo>
                      <a:lnTo>
                        <a:pt x="1357" y="7752"/>
                      </a:lnTo>
                      <a:lnTo>
                        <a:pt x="1357" y="7872"/>
                      </a:lnTo>
                      <a:lnTo>
                        <a:pt x="1407" y="7912"/>
                      </a:lnTo>
                      <a:lnTo>
                        <a:pt x="1483" y="7912"/>
                      </a:lnTo>
                      <a:lnTo>
                        <a:pt x="1608" y="7952"/>
                      </a:lnTo>
                      <a:lnTo>
                        <a:pt x="1684" y="7912"/>
                      </a:lnTo>
                      <a:lnTo>
                        <a:pt x="1759" y="7912"/>
                      </a:lnTo>
                      <a:lnTo>
                        <a:pt x="1784" y="7992"/>
                      </a:lnTo>
                      <a:lnTo>
                        <a:pt x="1709" y="8232"/>
                      </a:lnTo>
                      <a:lnTo>
                        <a:pt x="1684" y="8392"/>
                      </a:lnTo>
                      <a:lnTo>
                        <a:pt x="1608" y="8432"/>
                      </a:lnTo>
                      <a:lnTo>
                        <a:pt x="1633" y="8632"/>
                      </a:lnTo>
                      <a:lnTo>
                        <a:pt x="1483" y="9071"/>
                      </a:lnTo>
                      <a:lnTo>
                        <a:pt x="1432" y="9151"/>
                      </a:lnTo>
                      <a:lnTo>
                        <a:pt x="1457" y="9271"/>
                      </a:lnTo>
                      <a:lnTo>
                        <a:pt x="1432" y="9391"/>
                      </a:lnTo>
                      <a:lnTo>
                        <a:pt x="1332" y="9391"/>
                      </a:lnTo>
                      <a:lnTo>
                        <a:pt x="1332" y="9511"/>
                      </a:lnTo>
                      <a:lnTo>
                        <a:pt x="1382" y="9631"/>
                      </a:lnTo>
                      <a:lnTo>
                        <a:pt x="1357" y="9711"/>
                      </a:lnTo>
                      <a:lnTo>
                        <a:pt x="1307" y="9790"/>
                      </a:lnTo>
                      <a:lnTo>
                        <a:pt x="1332" y="9950"/>
                      </a:lnTo>
                      <a:lnTo>
                        <a:pt x="1407" y="10030"/>
                      </a:lnTo>
                      <a:lnTo>
                        <a:pt x="1382" y="10190"/>
                      </a:lnTo>
                      <a:lnTo>
                        <a:pt x="1407" y="10350"/>
                      </a:lnTo>
                      <a:lnTo>
                        <a:pt x="1256" y="10390"/>
                      </a:lnTo>
                      <a:lnTo>
                        <a:pt x="1181" y="10470"/>
                      </a:lnTo>
                      <a:lnTo>
                        <a:pt x="1131" y="10630"/>
                      </a:lnTo>
                      <a:lnTo>
                        <a:pt x="1156" y="10750"/>
                      </a:lnTo>
                      <a:lnTo>
                        <a:pt x="1156" y="10869"/>
                      </a:lnTo>
                      <a:lnTo>
                        <a:pt x="1156" y="10989"/>
                      </a:lnTo>
                      <a:lnTo>
                        <a:pt x="1055" y="11069"/>
                      </a:lnTo>
                      <a:lnTo>
                        <a:pt x="1055" y="11229"/>
                      </a:lnTo>
                      <a:lnTo>
                        <a:pt x="1156" y="11309"/>
                      </a:lnTo>
                      <a:lnTo>
                        <a:pt x="1156" y="11389"/>
                      </a:lnTo>
                      <a:lnTo>
                        <a:pt x="1307" y="11669"/>
                      </a:lnTo>
                      <a:lnTo>
                        <a:pt x="1407" y="11629"/>
                      </a:lnTo>
                      <a:lnTo>
                        <a:pt x="1483" y="11469"/>
                      </a:lnTo>
                      <a:lnTo>
                        <a:pt x="1583" y="11509"/>
                      </a:lnTo>
                      <a:lnTo>
                        <a:pt x="1734" y="11309"/>
                      </a:lnTo>
                      <a:lnTo>
                        <a:pt x="1885" y="11029"/>
                      </a:lnTo>
                      <a:lnTo>
                        <a:pt x="1960" y="11069"/>
                      </a:lnTo>
                      <a:lnTo>
                        <a:pt x="2010" y="11269"/>
                      </a:lnTo>
                      <a:lnTo>
                        <a:pt x="2010" y="11349"/>
                      </a:lnTo>
                      <a:lnTo>
                        <a:pt x="2111" y="11429"/>
                      </a:lnTo>
                      <a:lnTo>
                        <a:pt x="2111" y="11509"/>
                      </a:lnTo>
                      <a:lnTo>
                        <a:pt x="2061" y="11629"/>
                      </a:lnTo>
                      <a:lnTo>
                        <a:pt x="2111" y="11709"/>
                      </a:lnTo>
                      <a:lnTo>
                        <a:pt x="2136" y="11828"/>
                      </a:lnTo>
                      <a:lnTo>
                        <a:pt x="2111" y="11908"/>
                      </a:lnTo>
                      <a:lnTo>
                        <a:pt x="2111" y="12268"/>
                      </a:lnTo>
                      <a:lnTo>
                        <a:pt x="2136" y="12428"/>
                      </a:lnTo>
                      <a:lnTo>
                        <a:pt x="2262" y="12987"/>
                      </a:lnTo>
                      <a:lnTo>
                        <a:pt x="2312" y="13067"/>
                      </a:lnTo>
                      <a:lnTo>
                        <a:pt x="2387" y="13307"/>
                      </a:lnTo>
                      <a:lnTo>
                        <a:pt x="2362" y="13587"/>
                      </a:lnTo>
                      <a:lnTo>
                        <a:pt x="2287" y="13667"/>
                      </a:lnTo>
                      <a:lnTo>
                        <a:pt x="2312" y="13866"/>
                      </a:lnTo>
                      <a:lnTo>
                        <a:pt x="2387" y="14026"/>
                      </a:lnTo>
                      <a:lnTo>
                        <a:pt x="2437" y="14106"/>
                      </a:lnTo>
                      <a:lnTo>
                        <a:pt x="2412" y="14186"/>
                      </a:lnTo>
                      <a:lnTo>
                        <a:pt x="2488" y="14186"/>
                      </a:lnTo>
                      <a:lnTo>
                        <a:pt x="2613" y="14106"/>
                      </a:lnTo>
                      <a:lnTo>
                        <a:pt x="2714" y="14346"/>
                      </a:lnTo>
                      <a:lnTo>
                        <a:pt x="2789" y="14786"/>
                      </a:lnTo>
                      <a:lnTo>
                        <a:pt x="2739" y="14865"/>
                      </a:lnTo>
                      <a:lnTo>
                        <a:pt x="2814" y="15145"/>
                      </a:lnTo>
                      <a:lnTo>
                        <a:pt x="2789" y="15305"/>
                      </a:lnTo>
                      <a:lnTo>
                        <a:pt x="2840" y="15505"/>
                      </a:lnTo>
                      <a:lnTo>
                        <a:pt x="2940" y="15545"/>
                      </a:lnTo>
                      <a:lnTo>
                        <a:pt x="2990" y="15705"/>
                      </a:lnTo>
                      <a:lnTo>
                        <a:pt x="3041" y="15665"/>
                      </a:lnTo>
                      <a:lnTo>
                        <a:pt x="3041" y="15545"/>
                      </a:lnTo>
                      <a:lnTo>
                        <a:pt x="3116" y="15385"/>
                      </a:lnTo>
                      <a:lnTo>
                        <a:pt x="3216" y="15305"/>
                      </a:lnTo>
                      <a:lnTo>
                        <a:pt x="3593" y="15505"/>
                      </a:lnTo>
                      <a:lnTo>
                        <a:pt x="3644" y="15625"/>
                      </a:lnTo>
                      <a:lnTo>
                        <a:pt x="3744" y="15625"/>
                      </a:lnTo>
                      <a:lnTo>
                        <a:pt x="3769" y="15385"/>
                      </a:lnTo>
                      <a:lnTo>
                        <a:pt x="3920" y="15305"/>
                      </a:lnTo>
                      <a:lnTo>
                        <a:pt x="3995" y="15465"/>
                      </a:lnTo>
                      <a:lnTo>
                        <a:pt x="4096" y="15465"/>
                      </a:lnTo>
                      <a:lnTo>
                        <a:pt x="4171" y="15505"/>
                      </a:lnTo>
                      <a:lnTo>
                        <a:pt x="4448" y="15505"/>
                      </a:lnTo>
                      <a:lnTo>
                        <a:pt x="4523" y="15625"/>
                      </a:lnTo>
                      <a:lnTo>
                        <a:pt x="4749" y="15585"/>
                      </a:lnTo>
                      <a:lnTo>
                        <a:pt x="4800" y="15585"/>
                      </a:lnTo>
                      <a:lnTo>
                        <a:pt x="4850" y="15585"/>
                      </a:lnTo>
                      <a:lnTo>
                        <a:pt x="5001" y="15665"/>
                      </a:lnTo>
                      <a:lnTo>
                        <a:pt x="5026" y="15665"/>
                      </a:lnTo>
                      <a:lnTo>
                        <a:pt x="4976" y="15425"/>
                      </a:lnTo>
                      <a:lnTo>
                        <a:pt x="5001" y="15305"/>
                      </a:lnTo>
                      <a:lnTo>
                        <a:pt x="5051" y="15265"/>
                      </a:lnTo>
                      <a:lnTo>
                        <a:pt x="5051" y="15145"/>
                      </a:lnTo>
                      <a:lnTo>
                        <a:pt x="5051" y="15105"/>
                      </a:lnTo>
                      <a:lnTo>
                        <a:pt x="5126" y="15145"/>
                      </a:lnTo>
                      <a:lnTo>
                        <a:pt x="5177" y="15065"/>
                      </a:lnTo>
                      <a:lnTo>
                        <a:pt x="5202" y="15025"/>
                      </a:lnTo>
                      <a:lnTo>
                        <a:pt x="5252" y="15105"/>
                      </a:lnTo>
                      <a:lnTo>
                        <a:pt x="5327" y="15385"/>
                      </a:lnTo>
                      <a:lnTo>
                        <a:pt x="5378" y="15505"/>
                      </a:lnTo>
                      <a:lnTo>
                        <a:pt x="5352" y="15545"/>
                      </a:lnTo>
                      <a:lnTo>
                        <a:pt x="5378" y="15665"/>
                      </a:lnTo>
                      <a:lnTo>
                        <a:pt x="5478" y="15825"/>
                      </a:lnTo>
                      <a:lnTo>
                        <a:pt x="5503" y="15944"/>
                      </a:lnTo>
                      <a:lnTo>
                        <a:pt x="5528" y="15984"/>
                      </a:lnTo>
                      <a:lnTo>
                        <a:pt x="5579" y="16024"/>
                      </a:lnTo>
                      <a:lnTo>
                        <a:pt x="5755" y="14466"/>
                      </a:lnTo>
                      <a:lnTo>
                        <a:pt x="7237" y="14826"/>
                      </a:lnTo>
                      <a:lnTo>
                        <a:pt x="7514" y="14865"/>
                      </a:lnTo>
                      <a:close/>
                    </a:path>
                  </a:pathLst>
                </a:custGeom>
                <a:solidFill>
                  <a:srgbClr val="00B050"/>
                </a:solidFill>
                <a:ln w="9525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defTabSz="121917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45" name="Nebraska">
                  <a:extLst>
                    <a:ext uri="{FF2B5EF4-FFF2-40B4-BE49-F238E27FC236}">
                      <a16:creationId xmlns:a16="http://schemas.microsoft.com/office/drawing/2014/main" id="{A7965325-EF08-02D7-3B09-4E609CE8165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1344275" y="5895975"/>
                  <a:ext cx="4924425" cy="2333625"/>
                </a:xfrm>
                <a:custGeom>
                  <a:avLst/>
                  <a:gdLst>
                    <a:gd name="T0" fmla="*/ 2147483647 w 16384"/>
                    <a:gd name="T1" fmla="*/ 2147483647 h 16384"/>
                    <a:gd name="T2" fmla="*/ 2147483647 w 16384"/>
                    <a:gd name="T3" fmla="*/ 2147483647 h 16384"/>
                    <a:gd name="T4" fmla="*/ 2147483647 w 16384"/>
                    <a:gd name="T5" fmla="*/ 2147483647 h 16384"/>
                    <a:gd name="T6" fmla="*/ 2147483647 w 16384"/>
                    <a:gd name="T7" fmla="*/ 2147483647 h 16384"/>
                    <a:gd name="T8" fmla="*/ 2147483647 w 16384"/>
                    <a:gd name="T9" fmla="*/ 2147483647 h 16384"/>
                    <a:gd name="T10" fmla="*/ 2147483647 w 16384"/>
                    <a:gd name="T11" fmla="*/ 2147483647 h 16384"/>
                    <a:gd name="T12" fmla="*/ 2147483647 w 16384"/>
                    <a:gd name="T13" fmla="*/ 2147483647 h 16384"/>
                    <a:gd name="T14" fmla="*/ 2147483647 w 16384"/>
                    <a:gd name="T15" fmla="*/ 2147483647 h 16384"/>
                    <a:gd name="T16" fmla="*/ 2147483647 w 16384"/>
                    <a:gd name="T17" fmla="*/ 2147483647 h 16384"/>
                    <a:gd name="T18" fmla="*/ 2147483647 w 16384"/>
                    <a:gd name="T19" fmla="*/ 2147483647 h 16384"/>
                    <a:gd name="T20" fmla="*/ 2147483647 w 16384"/>
                    <a:gd name="T21" fmla="*/ 2147483647 h 16384"/>
                    <a:gd name="T22" fmla="*/ 2147483647 w 16384"/>
                    <a:gd name="T23" fmla="*/ 2147483647 h 16384"/>
                    <a:gd name="T24" fmla="*/ 2147483647 w 16384"/>
                    <a:gd name="T25" fmla="*/ 2147483647 h 16384"/>
                    <a:gd name="T26" fmla="*/ 2147483647 w 16384"/>
                    <a:gd name="T27" fmla="*/ 2147483647 h 16384"/>
                    <a:gd name="T28" fmla="*/ 2147483647 w 16384"/>
                    <a:gd name="T29" fmla="*/ 2147483647 h 16384"/>
                    <a:gd name="T30" fmla="*/ 2147483647 w 16384"/>
                    <a:gd name="T31" fmla="*/ 2147483647 h 16384"/>
                    <a:gd name="T32" fmla="*/ 2147483647 w 16384"/>
                    <a:gd name="T33" fmla="*/ 2147483647 h 16384"/>
                    <a:gd name="T34" fmla="*/ 2147483647 w 16384"/>
                    <a:gd name="T35" fmla="*/ 2147483647 h 16384"/>
                    <a:gd name="T36" fmla="*/ 2147483647 w 16384"/>
                    <a:gd name="T37" fmla="*/ 2147483647 h 16384"/>
                    <a:gd name="T38" fmla="*/ 2147483647 w 16384"/>
                    <a:gd name="T39" fmla="*/ 2147483647 h 16384"/>
                    <a:gd name="T40" fmla="*/ 2147483647 w 16384"/>
                    <a:gd name="T41" fmla="*/ 2147483647 h 16384"/>
                    <a:gd name="T42" fmla="*/ 2147483647 w 16384"/>
                    <a:gd name="T43" fmla="*/ 2147483647 h 16384"/>
                    <a:gd name="T44" fmla="*/ 2147483647 w 16384"/>
                    <a:gd name="T45" fmla="*/ 2147483647 h 16384"/>
                    <a:gd name="T46" fmla="*/ 2147483647 w 16384"/>
                    <a:gd name="T47" fmla="*/ 2147483647 h 16384"/>
                    <a:gd name="T48" fmla="*/ 2147483647 w 16384"/>
                    <a:gd name="T49" fmla="*/ 2147483647 h 16384"/>
                    <a:gd name="T50" fmla="*/ 2147483647 w 16384"/>
                    <a:gd name="T51" fmla="*/ 2147483647 h 16384"/>
                    <a:gd name="T52" fmla="*/ 2147483647 w 16384"/>
                    <a:gd name="T53" fmla="*/ 2147483647 h 16384"/>
                    <a:gd name="T54" fmla="*/ 2147483647 w 16384"/>
                    <a:gd name="T55" fmla="*/ 2147483647 h 16384"/>
                    <a:gd name="T56" fmla="*/ 2147483647 w 16384"/>
                    <a:gd name="T57" fmla="*/ 2147483647 h 16384"/>
                    <a:gd name="T58" fmla="*/ 2147483647 w 16384"/>
                    <a:gd name="T59" fmla="*/ 2147483647 h 16384"/>
                    <a:gd name="T60" fmla="*/ 2147483647 w 16384"/>
                    <a:gd name="T61" fmla="*/ 2147483647 h 16384"/>
                    <a:gd name="T62" fmla="*/ 2147483647 w 16384"/>
                    <a:gd name="T63" fmla="*/ 2147483647 h 16384"/>
                    <a:gd name="T64" fmla="*/ 2147483647 w 16384"/>
                    <a:gd name="T65" fmla="*/ 2147483647 h 16384"/>
                    <a:gd name="T66" fmla="*/ 2147483647 w 16384"/>
                    <a:gd name="T67" fmla="*/ 0 h 16384"/>
                    <a:gd name="T68" fmla="*/ 2147483647 w 16384"/>
                    <a:gd name="T69" fmla="*/ 2147483647 h 16384"/>
                    <a:gd name="T70" fmla="*/ 2147483647 w 16384"/>
                    <a:gd name="T71" fmla="*/ 2147483647 h 16384"/>
                    <a:gd name="T72" fmla="*/ 2147483647 w 16384"/>
                    <a:gd name="T73" fmla="*/ 2147483647 h 16384"/>
                    <a:gd name="T74" fmla="*/ 2147483647 w 16384"/>
                    <a:gd name="T75" fmla="*/ 2147483647 h 16384"/>
                    <a:gd name="T76" fmla="*/ 2147483647 w 16384"/>
                    <a:gd name="T77" fmla="*/ 2147483647 h 16384"/>
                    <a:gd name="T78" fmla="*/ 2147483647 w 16384"/>
                    <a:gd name="T79" fmla="*/ 2147483647 h 16384"/>
                    <a:gd name="T80" fmla="*/ 2147483647 w 16384"/>
                    <a:gd name="T81" fmla="*/ 2147483647 h 16384"/>
                    <a:gd name="T82" fmla="*/ 2147483647 w 16384"/>
                    <a:gd name="T83" fmla="*/ 2147483647 h 16384"/>
                    <a:gd name="T84" fmla="*/ 2147483647 w 16384"/>
                    <a:gd name="T85" fmla="*/ 2147483647 h 16384"/>
                    <a:gd name="T86" fmla="*/ 2147483647 w 16384"/>
                    <a:gd name="T87" fmla="*/ 2147483647 h 16384"/>
                    <a:gd name="T88" fmla="*/ 2147483647 w 16384"/>
                    <a:gd name="T89" fmla="*/ 2147483647 h 16384"/>
                    <a:gd name="T90" fmla="*/ 2147483647 w 16384"/>
                    <a:gd name="T91" fmla="*/ 2147483647 h 16384"/>
                    <a:gd name="T92" fmla="*/ 2147483647 w 16384"/>
                    <a:gd name="T93" fmla="*/ 2147483647 h 16384"/>
                    <a:gd name="T94" fmla="*/ 2147483647 w 16384"/>
                    <a:gd name="T95" fmla="*/ 2147483647 h 16384"/>
                    <a:gd name="T96" fmla="*/ 2147483647 w 16384"/>
                    <a:gd name="T97" fmla="*/ 2147483647 h 16384"/>
                    <a:gd name="T98" fmla="*/ 2147483647 w 16384"/>
                    <a:gd name="T99" fmla="*/ 2147483647 h 16384"/>
                    <a:gd name="T100" fmla="*/ 2147483647 w 16384"/>
                    <a:gd name="T101" fmla="*/ 2147483647 h 16384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w 16384"/>
                    <a:gd name="T154" fmla="*/ 0 h 16384"/>
                    <a:gd name="T155" fmla="*/ 16384 w 16384"/>
                    <a:gd name="T156" fmla="*/ 16384 h 16384"/>
                  </a:gdLst>
                  <a:ahLst/>
                  <a:cxnLst>
                    <a:cxn ang="T102">
                      <a:pos x="T0" y="T1"/>
                    </a:cxn>
                    <a:cxn ang="T103">
                      <a:pos x="T2" y="T3"/>
                    </a:cxn>
                    <a:cxn ang="T104">
                      <a:pos x="T4" y="T5"/>
                    </a:cxn>
                    <a:cxn ang="T105">
                      <a:pos x="T6" y="T7"/>
                    </a:cxn>
                    <a:cxn ang="T106">
                      <a:pos x="T8" y="T9"/>
                    </a:cxn>
                    <a:cxn ang="T107">
                      <a:pos x="T10" y="T11"/>
                    </a:cxn>
                    <a:cxn ang="T108">
                      <a:pos x="T12" y="T13"/>
                    </a:cxn>
                    <a:cxn ang="T109">
                      <a:pos x="T14" y="T15"/>
                    </a:cxn>
                    <a:cxn ang="T110">
                      <a:pos x="T16" y="T17"/>
                    </a:cxn>
                    <a:cxn ang="T111">
                      <a:pos x="T18" y="T19"/>
                    </a:cxn>
                    <a:cxn ang="T112">
                      <a:pos x="T20" y="T21"/>
                    </a:cxn>
                    <a:cxn ang="T113">
                      <a:pos x="T22" y="T23"/>
                    </a:cxn>
                    <a:cxn ang="T114">
                      <a:pos x="T24" y="T25"/>
                    </a:cxn>
                    <a:cxn ang="T115">
                      <a:pos x="T26" y="T27"/>
                    </a:cxn>
                    <a:cxn ang="T116">
                      <a:pos x="T28" y="T29"/>
                    </a:cxn>
                    <a:cxn ang="T117">
                      <a:pos x="T30" y="T31"/>
                    </a:cxn>
                    <a:cxn ang="T118">
                      <a:pos x="T32" y="T33"/>
                    </a:cxn>
                    <a:cxn ang="T119">
                      <a:pos x="T34" y="T35"/>
                    </a:cxn>
                    <a:cxn ang="T120">
                      <a:pos x="T36" y="T37"/>
                    </a:cxn>
                    <a:cxn ang="T121">
                      <a:pos x="T38" y="T39"/>
                    </a:cxn>
                    <a:cxn ang="T122">
                      <a:pos x="T40" y="T41"/>
                    </a:cxn>
                    <a:cxn ang="T123">
                      <a:pos x="T42" y="T43"/>
                    </a:cxn>
                    <a:cxn ang="T124">
                      <a:pos x="T44" y="T45"/>
                    </a:cxn>
                    <a:cxn ang="T125">
                      <a:pos x="T46" y="T47"/>
                    </a:cxn>
                    <a:cxn ang="T126">
                      <a:pos x="T48" y="T49"/>
                    </a:cxn>
                    <a:cxn ang="T127">
                      <a:pos x="T50" y="T51"/>
                    </a:cxn>
                    <a:cxn ang="T128">
                      <a:pos x="T52" y="T53"/>
                    </a:cxn>
                    <a:cxn ang="T129">
                      <a:pos x="T54" y="T55"/>
                    </a:cxn>
                    <a:cxn ang="T130">
                      <a:pos x="T56" y="T57"/>
                    </a:cxn>
                    <a:cxn ang="T131">
                      <a:pos x="T58" y="T59"/>
                    </a:cxn>
                    <a:cxn ang="T132">
                      <a:pos x="T60" y="T61"/>
                    </a:cxn>
                    <a:cxn ang="T133">
                      <a:pos x="T62" y="T63"/>
                    </a:cxn>
                    <a:cxn ang="T134">
                      <a:pos x="T64" y="T65"/>
                    </a:cxn>
                    <a:cxn ang="T135">
                      <a:pos x="T66" y="T67"/>
                    </a:cxn>
                    <a:cxn ang="T136">
                      <a:pos x="T68" y="T69"/>
                    </a:cxn>
                    <a:cxn ang="T137">
                      <a:pos x="T70" y="T71"/>
                    </a:cxn>
                    <a:cxn ang="T138">
                      <a:pos x="T72" y="T73"/>
                    </a:cxn>
                    <a:cxn ang="T139">
                      <a:pos x="T74" y="T75"/>
                    </a:cxn>
                    <a:cxn ang="T140">
                      <a:pos x="T76" y="T77"/>
                    </a:cxn>
                    <a:cxn ang="T141">
                      <a:pos x="T78" y="T79"/>
                    </a:cxn>
                    <a:cxn ang="T142">
                      <a:pos x="T80" y="T81"/>
                    </a:cxn>
                    <a:cxn ang="T143">
                      <a:pos x="T82" y="T83"/>
                    </a:cxn>
                    <a:cxn ang="T144">
                      <a:pos x="T84" y="T85"/>
                    </a:cxn>
                    <a:cxn ang="T145">
                      <a:pos x="T86" y="T87"/>
                    </a:cxn>
                    <a:cxn ang="T146">
                      <a:pos x="T88" y="T89"/>
                    </a:cxn>
                    <a:cxn ang="T147">
                      <a:pos x="T90" y="T91"/>
                    </a:cxn>
                    <a:cxn ang="T148">
                      <a:pos x="T92" y="T93"/>
                    </a:cxn>
                    <a:cxn ang="T149">
                      <a:pos x="T94" y="T95"/>
                    </a:cxn>
                    <a:cxn ang="T150">
                      <a:pos x="T96" y="T97"/>
                    </a:cxn>
                    <a:cxn ang="T151">
                      <a:pos x="T98" y="T99"/>
                    </a:cxn>
                    <a:cxn ang="T152">
                      <a:pos x="T100" y="T101"/>
                    </a:cxn>
                  </a:cxnLst>
                  <a:rect l="T153" t="T154" r="T155" b="T156"/>
                  <a:pathLst>
                    <a:path w="16384" h="16384">
                      <a:moveTo>
                        <a:pt x="15358" y="11111"/>
                      </a:moveTo>
                      <a:lnTo>
                        <a:pt x="15358" y="10985"/>
                      </a:lnTo>
                      <a:lnTo>
                        <a:pt x="15389" y="10860"/>
                      </a:lnTo>
                      <a:lnTo>
                        <a:pt x="15358" y="10672"/>
                      </a:lnTo>
                      <a:lnTo>
                        <a:pt x="15327" y="10546"/>
                      </a:lnTo>
                      <a:lnTo>
                        <a:pt x="15327" y="10483"/>
                      </a:lnTo>
                      <a:lnTo>
                        <a:pt x="15296" y="10232"/>
                      </a:lnTo>
                      <a:lnTo>
                        <a:pt x="15296" y="10044"/>
                      </a:lnTo>
                      <a:lnTo>
                        <a:pt x="15358" y="9918"/>
                      </a:lnTo>
                      <a:lnTo>
                        <a:pt x="15358" y="9793"/>
                      </a:lnTo>
                      <a:lnTo>
                        <a:pt x="15358" y="9730"/>
                      </a:lnTo>
                      <a:lnTo>
                        <a:pt x="15296" y="9730"/>
                      </a:lnTo>
                      <a:lnTo>
                        <a:pt x="15265" y="9667"/>
                      </a:lnTo>
                      <a:lnTo>
                        <a:pt x="15265" y="9604"/>
                      </a:lnTo>
                      <a:lnTo>
                        <a:pt x="15265" y="9542"/>
                      </a:lnTo>
                      <a:lnTo>
                        <a:pt x="15265" y="9416"/>
                      </a:lnTo>
                      <a:lnTo>
                        <a:pt x="15265" y="9228"/>
                      </a:lnTo>
                      <a:lnTo>
                        <a:pt x="15234" y="9165"/>
                      </a:lnTo>
                      <a:lnTo>
                        <a:pt x="15234" y="9039"/>
                      </a:lnTo>
                      <a:lnTo>
                        <a:pt x="15109" y="8914"/>
                      </a:lnTo>
                      <a:lnTo>
                        <a:pt x="15109" y="8851"/>
                      </a:lnTo>
                      <a:lnTo>
                        <a:pt x="15078" y="8663"/>
                      </a:lnTo>
                      <a:lnTo>
                        <a:pt x="15047" y="8663"/>
                      </a:lnTo>
                      <a:lnTo>
                        <a:pt x="14954" y="8600"/>
                      </a:lnTo>
                      <a:lnTo>
                        <a:pt x="14985" y="8537"/>
                      </a:lnTo>
                      <a:lnTo>
                        <a:pt x="15016" y="8349"/>
                      </a:lnTo>
                      <a:lnTo>
                        <a:pt x="15016" y="8223"/>
                      </a:lnTo>
                      <a:lnTo>
                        <a:pt x="14985" y="8223"/>
                      </a:lnTo>
                      <a:lnTo>
                        <a:pt x="14954" y="8223"/>
                      </a:lnTo>
                      <a:lnTo>
                        <a:pt x="14892" y="8161"/>
                      </a:lnTo>
                      <a:lnTo>
                        <a:pt x="14892" y="8035"/>
                      </a:lnTo>
                      <a:lnTo>
                        <a:pt x="14892" y="7784"/>
                      </a:lnTo>
                      <a:lnTo>
                        <a:pt x="14954" y="7596"/>
                      </a:lnTo>
                      <a:lnTo>
                        <a:pt x="14954" y="7470"/>
                      </a:lnTo>
                      <a:lnTo>
                        <a:pt x="14954" y="7219"/>
                      </a:lnTo>
                      <a:lnTo>
                        <a:pt x="14892" y="7031"/>
                      </a:lnTo>
                      <a:lnTo>
                        <a:pt x="14830" y="6780"/>
                      </a:lnTo>
                      <a:lnTo>
                        <a:pt x="14830" y="6591"/>
                      </a:lnTo>
                      <a:lnTo>
                        <a:pt x="14830" y="6466"/>
                      </a:lnTo>
                      <a:lnTo>
                        <a:pt x="14830" y="6403"/>
                      </a:lnTo>
                      <a:lnTo>
                        <a:pt x="14798" y="6340"/>
                      </a:lnTo>
                      <a:lnTo>
                        <a:pt x="14705" y="6340"/>
                      </a:lnTo>
                      <a:lnTo>
                        <a:pt x="14705" y="6152"/>
                      </a:lnTo>
                      <a:lnTo>
                        <a:pt x="14643" y="6026"/>
                      </a:lnTo>
                      <a:lnTo>
                        <a:pt x="14612" y="5964"/>
                      </a:lnTo>
                      <a:lnTo>
                        <a:pt x="14581" y="5712"/>
                      </a:lnTo>
                      <a:lnTo>
                        <a:pt x="14519" y="5587"/>
                      </a:lnTo>
                      <a:lnTo>
                        <a:pt x="14488" y="5524"/>
                      </a:lnTo>
                      <a:lnTo>
                        <a:pt x="14488" y="5461"/>
                      </a:lnTo>
                      <a:lnTo>
                        <a:pt x="14550" y="5336"/>
                      </a:lnTo>
                      <a:lnTo>
                        <a:pt x="14550" y="5273"/>
                      </a:lnTo>
                      <a:lnTo>
                        <a:pt x="14488" y="5085"/>
                      </a:lnTo>
                      <a:lnTo>
                        <a:pt x="14488" y="5022"/>
                      </a:lnTo>
                      <a:lnTo>
                        <a:pt x="14363" y="4708"/>
                      </a:lnTo>
                      <a:lnTo>
                        <a:pt x="14363" y="4520"/>
                      </a:lnTo>
                      <a:lnTo>
                        <a:pt x="14363" y="4394"/>
                      </a:lnTo>
                      <a:lnTo>
                        <a:pt x="14394" y="4331"/>
                      </a:lnTo>
                      <a:lnTo>
                        <a:pt x="14425" y="4206"/>
                      </a:lnTo>
                      <a:lnTo>
                        <a:pt x="14425" y="4143"/>
                      </a:lnTo>
                      <a:lnTo>
                        <a:pt x="14394" y="4018"/>
                      </a:lnTo>
                      <a:lnTo>
                        <a:pt x="14332" y="3955"/>
                      </a:lnTo>
                      <a:lnTo>
                        <a:pt x="14301" y="3892"/>
                      </a:lnTo>
                      <a:lnTo>
                        <a:pt x="14239" y="3955"/>
                      </a:lnTo>
                      <a:lnTo>
                        <a:pt x="14208" y="3955"/>
                      </a:lnTo>
                      <a:lnTo>
                        <a:pt x="14177" y="3892"/>
                      </a:lnTo>
                      <a:lnTo>
                        <a:pt x="14114" y="3829"/>
                      </a:lnTo>
                      <a:lnTo>
                        <a:pt x="14083" y="3704"/>
                      </a:lnTo>
                      <a:lnTo>
                        <a:pt x="14021" y="3766"/>
                      </a:lnTo>
                      <a:lnTo>
                        <a:pt x="13928" y="3766"/>
                      </a:lnTo>
                      <a:lnTo>
                        <a:pt x="13959" y="3515"/>
                      </a:lnTo>
                      <a:lnTo>
                        <a:pt x="13928" y="3453"/>
                      </a:lnTo>
                      <a:lnTo>
                        <a:pt x="13866" y="3390"/>
                      </a:lnTo>
                      <a:lnTo>
                        <a:pt x="13835" y="3264"/>
                      </a:lnTo>
                      <a:lnTo>
                        <a:pt x="13804" y="3139"/>
                      </a:lnTo>
                      <a:lnTo>
                        <a:pt x="13773" y="2950"/>
                      </a:lnTo>
                      <a:lnTo>
                        <a:pt x="13679" y="2888"/>
                      </a:lnTo>
                      <a:lnTo>
                        <a:pt x="13648" y="2825"/>
                      </a:lnTo>
                      <a:lnTo>
                        <a:pt x="13586" y="2762"/>
                      </a:lnTo>
                      <a:lnTo>
                        <a:pt x="13524" y="2762"/>
                      </a:lnTo>
                      <a:lnTo>
                        <a:pt x="13431" y="2699"/>
                      </a:lnTo>
                      <a:lnTo>
                        <a:pt x="13368" y="2699"/>
                      </a:lnTo>
                      <a:lnTo>
                        <a:pt x="13337" y="2699"/>
                      </a:lnTo>
                      <a:lnTo>
                        <a:pt x="13306" y="2574"/>
                      </a:lnTo>
                      <a:lnTo>
                        <a:pt x="13275" y="2574"/>
                      </a:lnTo>
                      <a:lnTo>
                        <a:pt x="13182" y="2511"/>
                      </a:lnTo>
                      <a:lnTo>
                        <a:pt x="13120" y="2511"/>
                      </a:lnTo>
                      <a:lnTo>
                        <a:pt x="13026" y="2385"/>
                      </a:lnTo>
                      <a:lnTo>
                        <a:pt x="12995" y="2323"/>
                      </a:lnTo>
                      <a:lnTo>
                        <a:pt x="12964" y="2260"/>
                      </a:lnTo>
                      <a:lnTo>
                        <a:pt x="12902" y="2260"/>
                      </a:lnTo>
                      <a:lnTo>
                        <a:pt x="12871" y="2197"/>
                      </a:lnTo>
                      <a:lnTo>
                        <a:pt x="12871" y="2134"/>
                      </a:lnTo>
                      <a:lnTo>
                        <a:pt x="12871" y="2072"/>
                      </a:lnTo>
                      <a:lnTo>
                        <a:pt x="12747" y="2009"/>
                      </a:lnTo>
                      <a:lnTo>
                        <a:pt x="12684" y="1946"/>
                      </a:lnTo>
                      <a:lnTo>
                        <a:pt x="12653" y="1946"/>
                      </a:lnTo>
                      <a:lnTo>
                        <a:pt x="12560" y="2009"/>
                      </a:lnTo>
                      <a:lnTo>
                        <a:pt x="12498" y="2072"/>
                      </a:lnTo>
                      <a:lnTo>
                        <a:pt x="12436" y="2072"/>
                      </a:lnTo>
                      <a:lnTo>
                        <a:pt x="12342" y="2009"/>
                      </a:lnTo>
                      <a:lnTo>
                        <a:pt x="12218" y="2072"/>
                      </a:lnTo>
                      <a:lnTo>
                        <a:pt x="12156" y="2072"/>
                      </a:lnTo>
                      <a:lnTo>
                        <a:pt x="12094" y="2072"/>
                      </a:lnTo>
                      <a:lnTo>
                        <a:pt x="12032" y="2134"/>
                      </a:lnTo>
                      <a:lnTo>
                        <a:pt x="11969" y="2009"/>
                      </a:lnTo>
                      <a:lnTo>
                        <a:pt x="11907" y="2072"/>
                      </a:lnTo>
                      <a:lnTo>
                        <a:pt x="11845" y="2072"/>
                      </a:lnTo>
                      <a:lnTo>
                        <a:pt x="11752" y="2009"/>
                      </a:lnTo>
                      <a:lnTo>
                        <a:pt x="11721" y="2072"/>
                      </a:lnTo>
                      <a:lnTo>
                        <a:pt x="11658" y="2260"/>
                      </a:lnTo>
                      <a:lnTo>
                        <a:pt x="11596" y="2385"/>
                      </a:lnTo>
                      <a:lnTo>
                        <a:pt x="11534" y="2448"/>
                      </a:lnTo>
                      <a:lnTo>
                        <a:pt x="11410" y="2385"/>
                      </a:lnTo>
                      <a:lnTo>
                        <a:pt x="11316" y="2323"/>
                      </a:lnTo>
                      <a:lnTo>
                        <a:pt x="11223" y="2197"/>
                      </a:lnTo>
                      <a:lnTo>
                        <a:pt x="11130" y="2009"/>
                      </a:lnTo>
                      <a:lnTo>
                        <a:pt x="11037" y="1946"/>
                      </a:lnTo>
                      <a:lnTo>
                        <a:pt x="10943" y="1758"/>
                      </a:lnTo>
                      <a:lnTo>
                        <a:pt x="10912" y="1820"/>
                      </a:lnTo>
                      <a:lnTo>
                        <a:pt x="10850" y="1758"/>
                      </a:lnTo>
                      <a:lnTo>
                        <a:pt x="10757" y="1569"/>
                      </a:lnTo>
                      <a:lnTo>
                        <a:pt x="10726" y="1507"/>
                      </a:lnTo>
                      <a:lnTo>
                        <a:pt x="10633" y="1444"/>
                      </a:lnTo>
                      <a:lnTo>
                        <a:pt x="10633" y="1381"/>
                      </a:lnTo>
                      <a:lnTo>
                        <a:pt x="10601" y="1255"/>
                      </a:lnTo>
                      <a:lnTo>
                        <a:pt x="10570" y="1193"/>
                      </a:lnTo>
                      <a:lnTo>
                        <a:pt x="10539" y="1193"/>
                      </a:lnTo>
                      <a:lnTo>
                        <a:pt x="9171" y="1067"/>
                      </a:lnTo>
                      <a:lnTo>
                        <a:pt x="8674" y="1067"/>
                      </a:lnTo>
                      <a:lnTo>
                        <a:pt x="7461" y="942"/>
                      </a:lnTo>
                      <a:lnTo>
                        <a:pt x="5596" y="753"/>
                      </a:lnTo>
                      <a:lnTo>
                        <a:pt x="4042" y="565"/>
                      </a:lnTo>
                      <a:lnTo>
                        <a:pt x="2767" y="377"/>
                      </a:lnTo>
                      <a:lnTo>
                        <a:pt x="2363" y="314"/>
                      </a:lnTo>
                      <a:lnTo>
                        <a:pt x="1430" y="126"/>
                      </a:lnTo>
                      <a:lnTo>
                        <a:pt x="435" y="0"/>
                      </a:lnTo>
                      <a:lnTo>
                        <a:pt x="342" y="1946"/>
                      </a:lnTo>
                      <a:lnTo>
                        <a:pt x="249" y="5022"/>
                      </a:lnTo>
                      <a:lnTo>
                        <a:pt x="155" y="6466"/>
                      </a:lnTo>
                      <a:lnTo>
                        <a:pt x="124" y="7219"/>
                      </a:lnTo>
                      <a:lnTo>
                        <a:pt x="93" y="8035"/>
                      </a:lnTo>
                      <a:lnTo>
                        <a:pt x="0" y="9981"/>
                      </a:lnTo>
                      <a:lnTo>
                        <a:pt x="933" y="10107"/>
                      </a:lnTo>
                      <a:lnTo>
                        <a:pt x="1306" y="10169"/>
                      </a:lnTo>
                      <a:lnTo>
                        <a:pt x="2643" y="10420"/>
                      </a:lnTo>
                      <a:lnTo>
                        <a:pt x="2705" y="10420"/>
                      </a:lnTo>
                      <a:lnTo>
                        <a:pt x="3762" y="10546"/>
                      </a:lnTo>
                      <a:lnTo>
                        <a:pt x="3700" y="11864"/>
                      </a:lnTo>
                      <a:lnTo>
                        <a:pt x="3700" y="12053"/>
                      </a:lnTo>
                      <a:lnTo>
                        <a:pt x="3700" y="12115"/>
                      </a:lnTo>
                      <a:lnTo>
                        <a:pt x="3669" y="13434"/>
                      </a:lnTo>
                      <a:lnTo>
                        <a:pt x="3637" y="13873"/>
                      </a:lnTo>
                      <a:lnTo>
                        <a:pt x="3606" y="15568"/>
                      </a:lnTo>
                      <a:lnTo>
                        <a:pt x="4819" y="15756"/>
                      </a:lnTo>
                      <a:lnTo>
                        <a:pt x="5005" y="15756"/>
                      </a:lnTo>
                      <a:lnTo>
                        <a:pt x="6062" y="15882"/>
                      </a:lnTo>
                      <a:lnTo>
                        <a:pt x="6125" y="15882"/>
                      </a:lnTo>
                      <a:lnTo>
                        <a:pt x="7151" y="16007"/>
                      </a:lnTo>
                      <a:lnTo>
                        <a:pt x="8208" y="16070"/>
                      </a:lnTo>
                      <a:lnTo>
                        <a:pt x="9078" y="16196"/>
                      </a:lnTo>
                      <a:lnTo>
                        <a:pt x="9265" y="16196"/>
                      </a:lnTo>
                      <a:lnTo>
                        <a:pt x="9949" y="16196"/>
                      </a:lnTo>
                      <a:lnTo>
                        <a:pt x="10322" y="16258"/>
                      </a:lnTo>
                      <a:lnTo>
                        <a:pt x="10788" y="16258"/>
                      </a:lnTo>
                      <a:lnTo>
                        <a:pt x="11410" y="16258"/>
                      </a:lnTo>
                      <a:lnTo>
                        <a:pt x="11658" y="16321"/>
                      </a:lnTo>
                      <a:lnTo>
                        <a:pt x="12498" y="16321"/>
                      </a:lnTo>
                      <a:lnTo>
                        <a:pt x="13399" y="16321"/>
                      </a:lnTo>
                      <a:lnTo>
                        <a:pt x="13555" y="16321"/>
                      </a:lnTo>
                      <a:lnTo>
                        <a:pt x="14239" y="16384"/>
                      </a:lnTo>
                      <a:lnTo>
                        <a:pt x="14674" y="16384"/>
                      </a:lnTo>
                      <a:lnTo>
                        <a:pt x="15078" y="16384"/>
                      </a:lnTo>
                      <a:lnTo>
                        <a:pt x="15514" y="16384"/>
                      </a:lnTo>
                      <a:lnTo>
                        <a:pt x="16353" y="16321"/>
                      </a:lnTo>
                      <a:lnTo>
                        <a:pt x="16384" y="16321"/>
                      </a:lnTo>
                      <a:lnTo>
                        <a:pt x="16260" y="16007"/>
                      </a:lnTo>
                      <a:lnTo>
                        <a:pt x="16260" y="15756"/>
                      </a:lnTo>
                      <a:lnTo>
                        <a:pt x="16229" y="15505"/>
                      </a:lnTo>
                      <a:lnTo>
                        <a:pt x="16135" y="15317"/>
                      </a:lnTo>
                      <a:lnTo>
                        <a:pt x="16104" y="15066"/>
                      </a:lnTo>
                      <a:lnTo>
                        <a:pt x="15980" y="15003"/>
                      </a:lnTo>
                      <a:lnTo>
                        <a:pt x="15949" y="14877"/>
                      </a:lnTo>
                      <a:lnTo>
                        <a:pt x="15824" y="14752"/>
                      </a:lnTo>
                      <a:lnTo>
                        <a:pt x="15824" y="14501"/>
                      </a:lnTo>
                      <a:lnTo>
                        <a:pt x="15793" y="14187"/>
                      </a:lnTo>
                      <a:lnTo>
                        <a:pt x="15700" y="13873"/>
                      </a:lnTo>
                      <a:lnTo>
                        <a:pt x="15638" y="13747"/>
                      </a:lnTo>
                      <a:lnTo>
                        <a:pt x="15576" y="13559"/>
                      </a:lnTo>
                      <a:lnTo>
                        <a:pt x="15545" y="13434"/>
                      </a:lnTo>
                      <a:lnTo>
                        <a:pt x="15576" y="13308"/>
                      </a:lnTo>
                      <a:lnTo>
                        <a:pt x="15576" y="13371"/>
                      </a:lnTo>
                      <a:lnTo>
                        <a:pt x="15545" y="13183"/>
                      </a:lnTo>
                      <a:lnTo>
                        <a:pt x="15514" y="13057"/>
                      </a:lnTo>
                      <a:lnTo>
                        <a:pt x="15420" y="12931"/>
                      </a:lnTo>
                      <a:lnTo>
                        <a:pt x="15389" y="12806"/>
                      </a:lnTo>
                      <a:lnTo>
                        <a:pt x="15358" y="12618"/>
                      </a:lnTo>
                      <a:lnTo>
                        <a:pt x="15358" y="12555"/>
                      </a:lnTo>
                      <a:lnTo>
                        <a:pt x="15420" y="12304"/>
                      </a:lnTo>
                      <a:lnTo>
                        <a:pt x="15389" y="12115"/>
                      </a:lnTo>
                      <a:lnTo>
                        <a:pt x="15451" y="11802"/>
                      </a:lnTo>
                      <a:lnTo>
                        <a:pt x="15451" y="11676"/>
                      </a:lnTo>
                      <a:lnTo>
                        <a:pt x="15451" y="11613"/>
                      </a:lnTo>
                      <a:lnTo>
                        <a:pt x="15420" y="11488"/>
                      </a:lnTo>
                      <a:lnTo>
                        <a:pt x="15358" y="11237"/>
                      </a:lnTo>
                      <a:lnTo>
                        <a:pt x="15358" y="11111"/>
                      </a:lnTo>
                      <a:close/>
                    </a:path>
                  </a:pathLst>
                </a:custGeom>
                <a:solidFill>
                  <a:srgbClr val="0070C0"/>
                </a:solidFill>
                <a:ln w="9525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defTabSz="121917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46" name="Nevada">
                  <a:extLst>
                    <a:ext uri="{FF2B5EF4-FFF2-40B4-BE49-F238E27FC236}">
                      <a16:creationId xmlns:a16="http://schemas.microsoft.com/office/drawing/2014/main" id="{B0DB88C2-9C1B-CD48-A2CB-369EB66066B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143125" y="5143500"/>
                  <a:ext cx="3781425" cy="5581650"/>
                </a:xfrm>
                <a:custGeom>
                  <a:avLst/>
                  <a:gdLst>
                    <a:gd name="T0" fmla="*/ 2147483647 w 16384"/>
                    <a:gd name="T1" fmla="*/ 2147483647 h 16384"/>
                    <a:gd name="T2" fmla="*/ 2147483647 w 16384"/>
                    <a:gd name="T3" fmla="*/ 2147483647 h 16384"/>
                    <a:gd name="T4" fmla="*/ 2147483647 w 16384"/>
                    <a:gd name="T5" fmla="*/ 2147483647 h 16384"/>
                    <a:gd name="T6" fmla="*/ 2147483647 w 16384"/>
                    <a:gd name="T7" fmla="*/ 2147483647 h 16384"/>
                    <a:gd name="T8" fmla="*/ 2147483647 w 16384"/>
                    <a:gd name="T9" fmla="*/ 2147483647 h 16384"/>
                    <a:gd name="T10" fmla="*/ 2147483647 w 16384"/>
                    <a:gd name="T11" fmla="*/ 2147483647 h 16384"/>
                    <a:gd name="T12" fmla="*/ 2147483647 w 16384"/>
                    <a:gd name="T13" fmla="*/ 2147483647 h 16384"/>
                    <a:gd name="T14" fmla="*/ 2147483647 w 16384"/>
                    <a:gd name="T15" fmla="*/ 2147483647 h 16384"/>
                    <a:gd name="T16" fmla="*/ 2147483647 w 16384"/>
                    <a:gd name="T17" fmla="*/ 2147483647 h 16384"/>
                    <a:gd name="T18" fmla="*/ 2147483647 w 16384"/>
                    <a:gd name="T19" fmla="*/ 2147483647 h 16384"/>
                    <a:gd name="T20" fmla="*/ 2147483647 w 16384"/>
                    <a:gd name="T21" fmla="*/ 2147483647 h 16384"/>
                    <a:gd name="T22" fmla="*/ 2147483647 w 16384"/>
                    <a:gd name="T23" fmla="*/ 2147483647 h 16384"/>
                    <a:gd name="T24" fmla="*/ 2147483647 w 16384"/>
                    <a:gd name="T25" fmla="*/ 2147483647 h 16384"/>
                    <a:gd name="T26" fmla="*/ 2147483647 w 16384"/>
                    <a:gd name="T27" fmla="*/ 2147483647 h 16384"/>
                    <a:gd name="T28" fmla="*/ 2147483647 w 16384"/>
                    <a:gd name="T29" fmla="*/ 2147483647 h 16384"/>
                    <a:gd name="T30" fmla="*/ 2147483647 w 16384"/>
                    <a:gd name="T31" fmla="*/ 2147483647 h 16384"/>
                    <a:gd name="T32" fmla="*/ 2147483647 w 16384"/>
                    <a:gd name="T33" fmla="*/ 2147483647 h 16384"/>
                    <a:gd name="T34" fmla="*/ 2147483647 w 16384"/>
                    <a:gd name="T35" fmla="*/ 2147483647 h 16384"/>
                    <a:gd name="T36" fmla="*/ 2147483647 w 16384"/>
                    <a:gd name="T37" fmla="*/ 2147483647 h 16384"/>
                    <a:gd name="T38" fmla="*/ 2147483647 w 16384"/>
                    <a:gd name="T39" fmla="*/ 2147483647 h 16384"/>
                    <a:gd name="T40" fmla="*/ 2147483647 w 16384"/>
                    <a:gd name="T41" fmla="*/ 2147483647 h 16384"/>
                    <a:gd name="T42" fmla="*/ 2147483647 w 16384"/>
                    <a:gd name="T43" fmla="*/ 2147483647 h 16384"/>
                    <a:gd name="T44" fmla="*/ 2147483647 w 16384"/>
                    <a:gd name="T45" fmla="*/ 2147483647 h 16384"/>
                    <a:gd name="T46" fmla="*/ 2147483647 w 16384"/>
                    <a:gd name="T47" fmla="*/ 2147483647 h 16384"/>
                    <a:gd name="T48" fmla="*/ 2147483647 w 16384"/>
                    <a:gd name="T49" fmla="*/ 2147483647 h 16384"/>
                    <a:gd name="T50" fmla="*/ 2147483647 w 16384"/>
                    <a:gd name="T51" fmla="*/ 2147483647 h 16384"/>
                    <a:gd name="T52" fmla="*/ 2147483647 w 16384"/>
                    <a:gd name="T53" fmla="*/ 2147483647 h 16384"/>
                    <a:gd name="T54" fmla="*/ 2147483647 w 16384"/>
                    <a:gd name="T55" fmla="*/ 2147483647 h 16384"/>
                    <a:gd name="T56" fmla="*/ 2147483647 w 16384"/>
                    <a:gd name="T57" fmla="*/ 2147483647 h 16384"/>
                    <a:gd name="T58" fmla="*/ 2147483647 w 16384"/>
                    <a:gd name="T59" fmla="*/ 2147483647 h 16384"/>
                    <a:gd name="T60" fmla="*/ 2147483647 w 16384"/>
                    <a:gd name="T61" fmla="*/ 2147483647 h 16384"/>
                    <a:gd name="T62" fmla="*/ 2147483647 w 16384"/>
                    <a:gd name="T63" fmla="*/ 2147483647 h 16384"/>
                    <a:gd name="T64" fmla="*/ 2147483647 w 16384"/>
                    <a:gd name="T65" fmla="*/ 2147483647 h 16384"/>
                    <a:gd name="T66" fmla="*/ 2147483647 w 16384"/>
                    <a:gd name="T67" fmla="*/ 2147483647 h 16384"/>
                    <a:gd name="T68" fmla="*/ 2147483647 w 16384"/>
                    <a:gd name="T69" fmla="*/ 2147483647 h 16384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w 16384"/>
                    <a:gd name="T106" fmla="*/ 0 h 16384"/>
                    <a:gd name="T107" fmla="*/ 16384 w 16384"/>
                    <a:gd name="T108" fmla="*/ 16384 h 16384"/>
                  </a:gdLst>
                  <a:ahLst/>
                  <a:cxnLst>
                    <a:cxn ang="T70">
                      <a:pos x="T0" y="T1"/>
                    </a:cxn>
                    <a:cxn ang="T71">
                      <a:pos x="T2" y="T3"/>
                    </a:cxn>
                    <a:cxn ang="T72">
                      <a:pos x="T4" y="T5"/>
                    </a:cxn>
                    <a:cxn ang="T73">
                      <a:pos x="T6" y="T7"/>
                    </a:cxn>
                    <a:cxn ang="T74">
                      <a:pos x="T8" y="T9"/>
                    </a:cxn>
                    <a:cxn ang="T75">
                      <a:pos x="T10" y="T11"/>
                    </a:cxn>
                    <a:cxn ang="T76">
                      <a:pos x="T12" y="T13"/>
                    </a:cxn>
                    <a:cxn ang="T77">
                      <a:pos x="T14" y="T15"/>
                    </a:cxn>
                    <a:cxn ang="T78">
                      <a:pos x="T16" y="T17"/>
                    </a:cxn>
                    <a:cxn ang="T79">
                      <a:pos x="T18" y="T19"/>
                    </a:cxn>
                    <a:cxn ang="T80">
                      <a:pos x="T20" y="T21"/>
                    </a:cxn>
                    <a:cxn ang="T81">
                      <a:pos x="T22" y="T23"/>
                    </a:cxn>
                    <a:cxn ang="T82">
                      <a:pos x="T24" y="T25"/>
                    </a:cxn>
                    <a:cxn ang="T83">
                      <a:pos x="T26" y="T27"/>
                    </a:cxn>
                    <a:cxn ang="T84">
                      <a:pos x="T28" y="T29"/>
                    </a:cxn>
                    <a:cxn ang="T85">
                      <a:pos x="T30" y="T31"/>
                    </a:cxn>
                    <a:cxn ang="T86">
                      <a:pos x="T32" y="T33"/>
                    </a:cxn>
                    <a:cxn ang="T87">
                      <a:pos x="T34" y="T35"/>
                    </a:cxn>
                    <a:cxn ang="T88">
                      <a:pos x="T36" y="T37"/>
                    </a:cxn>
                    <a:cxn ang="T89">
                      <a:pos x="T38" y="T39"/>
                    </a:cxn>
                    <a:cxn ang="T90">
                      <a:pos x="T40" y="T41"/>
                    </a:cxn>
                    <a:cxn ang="T91">
                      <a:pos x="T42" y="T43"/>
                    </a:cxn>
                    <a:cxn ang="T92">
                      <a:pos x="T44" y="T45"/>
                    </a:cxn>
                    <a:cxn ang="T93">
                      <a:pos x="T46" y="T47"/>
                    </a:cxn>
                    <a:cxn ang="T94">
                      <a:pos x="T48" y="T49"/>
                    </a:cxn>
                    <a:cxn ang="T95">
                      <a:pos x="T50" y="T51"/>
                    </a:cxn>
                    <a:cxn ang="T96">
                      <a:pos x="T52" y="T53"/>
                    </a:cxn>
                    <a:cxn ang="T97">
                      <a:pos x="T54" y="T55"/>
                    </a:cxn>
                    <a:cxn ang="T98">
                      <a:pos x="T56" y="T57"/>
                    </a:cxn>
                    <a:cxn ang="T99">
                      <a:pos x="T58" y="T59"/>
                    </a:cxn>
                    <a:cxn ang="T100">
                      <a:pos x="T60" y="T61"/>
                    </a:cxn>
                    <a:cxn ang="T101">
                      <a:pos x="T62" y="T63"/>
                    </a:cxn>
                    <a:cxn ang="T102">
                      <a:pos x="T64" y="T65"/>
                    </a:cxn>
                    <a:cxn ang="T103">
                      <a:pos x="T66" y="T67"/>
                    </a:cxn>
                    <a:cxn ang="T104">
                      <a:pos x="T68" y="T69"/>
                    </a:cxn>
                  </a:cxnLst>
                  <a:rect l="T105" t="T106" r="T107" b="T108"/>
                  <a:pathLst>
                    <a:path w="16384" h="16384">
                      <a:moveTo>
                        <a:pt x="2986" y="9088"/>
                      </a:moveTo>
                      <a:lnTo>
                        <a:pt x="4076" y="10141"/>
                      </a:lnTo>
                      <a:lnTo>
                        <a:pt x="5408" y="11406"/>
                      </a:lnTo>
                      <a:lnTo>
                        <a:pt x="7950" y="13908"/>
                      </a:lnTo>
                      <a:lnTo>
                        <a:pt x="8394" y="14329"/>
                      </a:lnTo>
                      <a:lnTo>
                        <a:pt x="10533" y="16384"/>
                      </a:lnTo>
                      <a:lnTo>
                        <a:pt x="10573" y="16200"/>
                      </a:lnTo>
                      <a:lnTo>
                        <a:pt x="10694" y="16173"/>
                      </a:lnTo>
                      <a:lnTo>
                        <a:pt x="10815" y="16068"/>
                      </a:lnTo>
                      <a:lnTo>
                        <a:pt x="10815" y="15963"/>
                      </a:lnTo>
                      <a:lnTo>
                        <a:pt x="10815" y="15857"/>
                      </a:lnTo>
                      <a:lnTo>
                        <a:pt x="10815" y="15699"/>
                      </a:lnTo>
                      <a:lnTo>
                        <a:pt x="10815" y="15594"/>
                      </a:lnTo>
                      <a:lnTo>
                        <a:pt x="10734" y="15488"/>
                      </a:lnTo>
                      <a:lnTo>
                        <a:pt x="10775" y="15383"/>
                      </a:lnTo>
                      <a:lnTo>
                        <a:pt x="10815" y="15278"/>
                      </a:lnTo>
                      <a:lnTo>
                        <a:pt x="10815" y="15146"/>
                      </a:lnTo>
                      <a:lnTo>
                        <a:pt x="10815" y="15041"/>
                      </a:lnTo>
                      <a:lnTo>
                        <a:pt x="10815" y="14909"/>
                      </a:lnTo>
                      <a:lnTo>
                        <a:pt x="10855" y="14751"/>
                      </a:lnTo>
                      <a:lnTo>
                        <a:pt x="10936" y="14566"/>
                      </a:lnTo>
                      <a:lnTo>
                        <a:pt x="10896" y="14514"/>
                      </a:lnTo>
                      <a:lnTo>
                        <a:pt x="10896" y="14408"/>
                      </a:lnTo>
                      <a:lnTo>
                        <a:pt x="10936" y="14303"/>
                      </a:lnTo>
                      <a:lnTo>
                        <a:pt x="10896" y="14198"/>
                      </a:lnTo>
                      <a:lnTo>
                        <a:pt x="10976" y="14092"/>
                      </a:lnTo>
                      <a:lnTo>
                        <a:pt x="11057" y="14092"/>
                      </a:lnTo>
                      <a:lnTo>
                        <a:pt x="11219" y="14066"/>
                      </a:lnTo>
                      <a:lnTo>
                        <a:pt x="11461" y="14066"/>
                      </a:lnTo>
                      <a:lnTo>
                        <a:pt x="11622" y="14119"/>
                      </a:lnTo>
                      <a:lnTo>
                        <a:pt x="11864" y="14145"/>
                      </a:lnTo>
                      <a:lnTo>
                        <a:pt x="12026" y="14224"/>
                      </a:lnTo>
                      <a:lnTo>
                        <a:pt x="12026" y="14382"/>
                      </a:lnTo>
                      <a:lnTo>
                        <a:pt x="12147" y="14435"/>
                      </a:lnTo>
                      <a:lnTo>
                        <a:pt x="12308" y="14461"/>
                      </a:lnTo>
                      <a:lnTo>
                        <a:pt x="12470" y="14435"/>
                      </a:lnTo>
                      <a:lnTo>
                        <a:pt x="12550" y="14329"/>
                      </a:lnTo>
                      <a:lnTo>
                        <a:pt x="12671" y="14250"/>
                      </a:lnTo>
                      <a:lnTo>
                        <a:pt x="12792" y="14119"/>
                      </a:lnTo>
                      <a:lnTo>
                        <a:pt x="13196" y="12802"/>
                      </a:lnTo>
                      <a:lnTo>
                        <a:pt x="13317" y="12486"/>
                      </a:lnTo>
                      <a:lnTo>
                        <a:pt x="13680" y="11221"/>
                      </a:lnTo>
                      <a:lnTo>
                        <a:pt x="14003" y="10089"/>
                      </a:lnTo>
                      <a:lnTo>
                        <a:pt x="14286" y="9193"/>
                      </a:lnTo>
                      <a:lnTo>
                        <a:pt x="14326" y="9009"/>
                      </a:lnTo>
                      <a:lnTo>
                        <a:pt x="14891" y="7217"/>
                      </a:lnTo>
                      <a:lnTo>
                        <a:pt x="15133" y="6454"/>
                      </a:lnTo>
                      <a:lnTo>
                        <a:pt x="15254" y="5979"/>
                      </a:lnTo>
                      <a:lnTo>
                        <a:pt x="15779" y="4162"/>
                      </a:lnTo>
                      <a:lnTo>
                        <a:pt x="16384" y="2081"/>
                      </a:lnTo>
                      <a:lnTo>
                        <a:pt x="15779" y="2002"/>
                      </a:lnTo>
                      <a:lnTo>
                        <a:pt x="14003" y="1765"/>
                      </a:lnTo>
                      <a:lnTo>
                        <a:pt x="9403" y="1133"/>
                      </a:lnTo>
                      <a:lnTo>
                        <a:pt x="6659" y="685"/>
                      </a:lnTo>
                      <a:lnTo>
                        <a:pt x="4076" y="290"/>
                      </a:lnTo>
                      <a:lnTo>
                        <a:pt x="3914" y="263"/>
                      </a:lnTo>
                      <a:lnTo>
                        <a:pt x="2421" y="0"/>
                      </a:lnTo>
                      <a:lnTo>
                        <a:pt x="1776" y="1659"/>
                      </a:lnTo>
                      <a:lnTo>
                        <a:pt x="565" y="4715"/>
                      </a:lnTo>
                      <a:lnTo>
                        <a:pt x="363" y="5268"/>
                      </a:lnTo>
                      <a:lnTo>
                        <a:pt x="242" y="5532"/>
                      </a:lnTo>
                      <a:lnTo>
                        <a:pt x="121" y="5821"/>
                      </a:lnTo>
                      <a:lnTo>
                        <a:pt x="81" y="5927"/>
                      </a:lnTo>
                      <a:lnTo>
                        <a:pt x="40" y="6006"/>
                      </a:lnTo>
                      <a:lnTo>
                        <a:pt x="0" y="6190"/>
                      </a:lnTo>
                      <a:lnTo>
                        <a:pt x="242" y="6401"/>
                      </a:lnTo>
                      <a:lnTo>
                        <a:pt x="807" y="6954"/>
                      </a:lnTo>
                      <a:lnTo>
                        <a:pt x="1251" y="7402"/>
                      </a:lnTo>
                      <a:lnTo>
                        <a:pt x="1614" y="7744"/>
                      </a:lnTo>
                      <a:lnTo>
                        <a:pt x="2986" y="9088"/>
                      </a:lnTo>
                      <a:close/>
                    </a:path>
                  </a:pathLst>
                </a:custGeom>
                <a:solidFill>
                  <a:srgbClr val="0070C0"/>
                </a:solidFill>
                <a:ln w="9525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defTabSz="121917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47" name="New_Hampshire">
                  <a:extLst>
                    <a:ext uri="{FF2B5EF4-FFF2-40B4-BE49-F238E27FC236}">
                      <a16:creationId xmlns:a16="http://schemas.microsoft.com/office/drawing/2014/main" id="{B02A8967-D2A7-2891-8B42-6CB53324F2A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8594050" y="2800350"/>
                  <a:ext cx="971550" cy="1971675"/>
                </a:xfrm>
                <a:custGeom>
                  <a:avLst/>
                  <a:gdLst>
                    <a:gd name="T0" fmla="*/ 0 w 16384"/>
                    <a:gd name="T1" fmla="*/ 2147483647 h 16384"/>
                    <a:gd name="T2" fmla="*/ 2147483647 w 16384"/>
                    <a:gd name="T3" fmla="*/ 2147483647 h 16384"/>
                    <a:gd name="T4" fmla="*/ 2147483647 w 16384"/>
                    <a:gd name="T5" fmla="*/ 2147483647 h 16384"/>
                    <a:gd name="T6" fmla="*/ 2147483647 w 16384"/>
                    <a:gd name="T7" fmla="*/ 2147483647 h 16384"/>
                    <a:gd name="T8" fmla="*/ 2147483647 w 16384"/>
                    <a:gd name="T9" fmla="*/ 2147483647 h 16384"/>
                    <a:gd name="T10" fmla="*/ 2147483647 w 16384"/>
                    <a:gd name="T11" fmla="*/ 2147483647 h 16384"/>
                    <a:gd name="T12" fmla="*/ 2147483647 w 16384"/>
                    <a:gd name="T13" fmla="*/ 2147483647 h 16384"/>
                    <a:gd name="T14" fmla="*/ 2147483647 w 16384"/>
                    <a:gd name="T15" fmla="*/ 2147483647 h 16384"/>
                    <a:gd name="T16" fmla="*/ 2147483647 w 16384"/>
                    <a:gd name="T17" fmla="*/ 2147483647 h 16384"/>
                    <a:gd name="T18" fmla="*/ 2147483647 w 16384"/>
                    <a:gd name="T19" fmla="*/ 2147483647 h 16384"/>
                    <a:gd name="T20" fmla="*/ 2147483647 w 16384"/>
                    <a:gd name="T21" fmla="*/ 2147483647 h 16384"/>
                    <a:gd name="T22" fmla="*/ 2147483647 w 16384"/>
                    <a:gd name="T23" fmla="*/ 2147483647 h 16384"/>
                    <a:gd name="T24" fmla="*/ 2147483647 w 16384"/>
                    <a:gd name="T25" fmla="*/ 2147483647 h 16384"/>
                    <a:gd name="T26" fmla="*/ 2147483647 w 16384"/>
                    <a:gd name="T27" fmla="*/ 2147483647 h 16384"/>
                    <a:gd name="T28" fmla="*/ 2147483647 w 16384"/>
                    <a:gd name="T29" fmla="*/ 2147483647 h 16384"/>
                    <a:gd name="T30" fmla="*/ 2147483647 w 16384"/>
                    <a:gd name="T31" fmla="*/ 2147483647 h 16384"/>
                    <a:gd name="T32" fmla="*/ 2147483647 w 16384"/>
                    <a:gd name="T33" fmla="*/ 2147483647 h 16384"/>
                    <a:gd name="T34" fmla="*/ 2147483647 w 16384"/>
                    <a:gd name="T35" fmla="*/ 2147483647 h 16384"/>
                    <a:gd name="T36" fmla="*/ 2147483647 w 16384"/>
                    <a:gd name="T37" fmla="*/ 2147483647 h 16384"/>
                    <a:gd name="T38" fmla="*/ 2147483647 w 16384"/>
                    <a:gd name="T39" fmla="*/ 2147483647 h 16384"/>
                    <a:gd name="T40" fmla="*/ 2147483647 w 16384"/>
                    <a:gd name="T41" fmla="*/ 2147483647 h 16384"/>
                    <a:gd name="T42" fmla="*/ 2147483647 w 16384"/>
                    <a:gd name="T43" fmla="*/ 2147483647 h 16384"/>
                    <a:gd name="T44" fmla="*/ 2147483647 w 16384"/>
                    <a:gd name="T45" fmla="*/ 2147483647 h 16384"/>
                    <a:gd name="T46" fmla="*/ 2147483647 w 16384"/>
                    <a:gd name="T47" fmla="*/ 2147483647 h 16384"/>
                    <a:gd name="T48" fmla="*/ 2147483647 w 16384"/>
                    <a:gd name="T49" fmla="*/ 2147483647 h 16384"/>
                    <a:gd name="T50" fmla="*/ 2147483647 w 16384"/>
                    <a:gd name="T51" fmla="*/ 2147483647 h 16384"/>
                    <a:gd name="T52" fmla="*/ 2147483647 w 16384"/>
                    <a:gd name="T53" fmla="*/ 2147483647 h 16384"/>
                    <a:gd name="T54" fmla="*/ 2147483647 w 16384"/>
                    <a:gd name="T55" fmla="*/ 2147483647 h 16384"/>
                    <a:gd name="T56" fmla="*/ 2147483647 w 16384"/>
                    <a:gd name="T57" fmla="*/ 2147483647 h 16384"/>
                    <a:gd name="T58" fmla="*/ 2147483647 w 16384"/>
                    <a:gd name="T59" fmla="*/ 2147483647 h 16384"/>
                    <a:gd name="T60" fmla="*/ 2147483647 w 16384"/>
                    <a:gd name="T61" fmla="*/ 2147483647 h 16384"/>
                    <a:gd name="T62" fmla="*/ 2147483647 w 16384"/>
                    <a:gd name="T63" fmla="*/ 2147483647 h 16384"/>
                    <a:gd name="T64" fmla="*/ 2147483647 w 16384"/>
                    <a:gd name="T65" fmla="*/ 0 h 16384"/>
                    <a:gd name="T66" fmla="*/ 2147483647 w 16384"/>
                    <a:gd name="T67" fmla="*/ 2147483647 h 16384"/>
                    <a:gd name="T68" fmla="*/ 2147483647 w 16384"/>
                    <a:gd name="T69" fmla="*/ 2147483647 h 16384"/>
                    <a:gd name="T70" fmla="*/ 2147483647 w 16384"/>
                    <a:gd name="T71" fmla="*/ 2147483647 h 16384"/>
                    <a:gd name="T72" fmla="*/ 2147483647 w 16384"/>
                    <a:gd name="T73" fmla="*/ 2147483647 h 16384"/>
                    <a:gd name="T74" fmla="*/ 2147483647 w 16384"/>
                    <a:gd name="T75" fmla="*/ 2147483647 h 16384"/>
                    <a:gd name="T76" fmla="*/ 2147483647 w 16384"/>
                    <a:gd name="T77" fmla="*/ 2147483647 h 16384"/>
                    <a:gd name="T78" fmla="*/ 2147483647 w 16384"/>
                    <a:gd name="T79" fmla="*/ 2147483647 h 16384"/>
                    <a:gd name="T80" fmla="*/ 2147483647 w 16384"/>
                    <a:gd name="T81" fmla="*/ 2147483647 h 16384"/>
                    <a:gd name="T82" fmla="*/ 2147483647 w 16384"/>
                    <a:gd name="T83" fmla="*/ 2147483647 h 16384"/>
                    <a:gd name="T84" fmla="*/ 2147483647 w 16384"/>
                    <a:gd name="T85" fmla="*/ 2147483647 h 16384"/>
                    <a:gd name="T86" fmla="*/ 2147483647 w 16384"/>
                    <a:gd name="T87" fmla="*/ 2147483647 h 16384"/>
                    <a:gd name="T88" fmla="*/ 2147483647 w 16384"/>
                    <a:gd name="T89" fmla="*/ 2147483647 h 16384"/>
                    <a:gd name="T90" fmla="*/ 2147483647 w 16384"/>
                    <a:gd name="T91" fmla="*/ 2147483647 h 16384"/>
                    <a:gd name="T92" fmla="*/ 2147483647 w 16384"/>
                    <a:gd name="T93" fmla="*/ 2147483647 h 16384"/>
                    <a:gd name="T94" fmla="*/ 2147483647 w 16384"/>
                    <a:gd name="T95" fmla="*/ 2147483647 h 16384"/>
                    <a:gd name="T96" fmla="*/ 2147483647 w 16384"/>
                    <a:gd name="T97" fmla="*/ 2147483647 h 16384"/>
                    <a:gd name="T98" fmla="*/ 2147483647 w 16384"/>
                    <a:gd name="T99" fmla="*/ 2147483647 h 16384"/>
                    <a:gd name="T100" fmla="*/ 2147483647 w 16384"/>
                    <a:gd name="T101" fmla="*/ 2147483647 h 16384"/>
                    <a:gd name="T102" fmla="*/ 2147483647 w 16384"/>
                    <a:gd name="T103" fmla="*/ 2147483647 h 16384"/>
                    <a:gd name="T104" fmla="*/ 2147483647 w 16384"/>
                    <a:gd name="T105" fmla="*/ 2147483647 h 16384"/>
                    <a:gd name="T106" fmla="*/ 2147483647 w 16384"/>
                    <a:gd name="T107" fmla="*/ 2147483647 h 16384"/>
                    <a:gd name="T108" fmla="*/ 2147483647 w 16384"/>
                    <a:gd name="T109" fmla="*/ 2147483647 h 16384"/>
                    <a:gd name="T110" fmla="*/ 2147483647 w 16384"/>
                    <a:gd name="T111" fmla="*/ 2147483647 h 16384"/>
                    <a:gd name="T112" fmla="*/ 2147483647 w 16384"/>
                    <a:gd name="T113" fmla="*/ 2147483647 h 16384"/>
                    <a:gd name="T114" fmla="*/ 2147483647 w 16384"/>
                    <a:gd name="T115" fmla="*/ 2147483647 h 16384"/>
                    <a:gd name="T116" fmla="*/ 2147483647 w 16384"/>
                    <a:gd name="T117" fmla="*/ 2147483647 h 16384"/>
                    <a:gd name="T118" fmla="*/ 2147483647 w 16384"/>
                    <a:gd name="T119" fmla="*/ 2147483647 h 16384"/>
                    <a:gd name="T120" fmla="*/ 2147483647 w 16384"/>
                    <a:gd name="T121" fmla="*/ 2147483647 h 16384"/>
                    <a:gd name="T122" fmla="*/ 2147483647 w 16384"/>
                    <a:gd name="T123" fmla="*/ 2147483647 h 16384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60000 65536"/>
                    <a:gd name="T178" fmla="*/ 0 60000 65536"/>
                    <a:gd name="T179" fmla="*/ 0 60000 65536"/>
                    <a:gd name="T180" fmla="*/ 0 60000 65536"/>
                    <a:gd name="T181" fmla="*/ 0 60000 65536"/>
                    <a:gd name="T182" fmla="*/ 0 60000 65536"/>
                    <a:gd name="T183" fmla="*/ 0 60000 65536"/>
                    <a:gd name="T184" fmla="*/ 0 60000 65536"/>
                    <a:gd name="T185" fmla="*/ 0 60000 65536"/>
                    <a:gd name="T186" fmla="*/ 0 w 16384"/>
                    <a:gd name="T187" fmla="*/ 0 h 16384"/>
                    <a:gd name="T188" fmla="*/ 16384 w 16384"/>
                    <a:gd name="T189" fmla="*/ 16384 h 16384"/>
                  </a:gdLst>
                  <a:ahLst/>
                  <a:cxnLst>
                    <a:cxn ang="T124">
                      <a:pos x="T0" y="T1"/>
                    </a:cxn>
                    <a:cxn ang="T125">
                      <a:pos x="T2" y="T3"/>
                    </a:cxn>
                    <a:cxn ang="T126">
                      <a:pos x="T4" y="T5"/>
                    </a:cxn>
                    <a:cxn ang="T127">
                      <a:pos x="T6" y="T7"/>
                    </a:cxn>
                    <a:cxn ang="T128">
                      <a:pos x="T8" y="T9"/>
                    </a:cxn>
                    <a:cxn ang="T129">
                      <a:pos x="T10" y="T11"/>
                    </a:cxn>
                    <a:cxn ang="T130">
                      <a:pos x="T12" y="T13"/>
                    </a:cxn>
                    <a:cxn ang="T131">
                      <a:pos x="T14" y="T15"/>
                    </a:cxn>
                    <a:cxn ang="T132">
                      <a:pos x="T16" y="T17"/>
                    </a:cxn>
                    <a:cxn ang="T133">
                      <a:pos x="T18" y="T19"/>
                    </a:cxn>
                    <a:cxn ang="T134">
                      <a:pos x="T20" y="T21"/>
                    </a:cxn>
                    <a:cxn ang="T135">
                      <a:pos x="T22" y="T23"/>
                    </a:cxn>
                    <a:cxn ang="T136">
                      <a:pos x="T24" y="T25"/>
                    </a:cxn>
                    <a:cxn ang="T137">
                      <a:pos x="T26" y="T27"/>
                    </a:cxn>
                    <a:cxn ang="T138">
                      <a:pos x="T28" y="T29"/>
                    </a:cxn>
                    <a:cxn ang="T139">
                      <a:pos x="T30" y="T31"/>
                    </a:cxn>
                    <a:cxn ang="T140">
                      <a:pos x="T32" y="T33"/>
                    </a:cxn>
                    <a:cxn ang="T141">
                      <a:pos x="T34" y="T35"/>
                    </a:cxn>
                    <a:cxn ang="T142">
                      <a:pos x="T36" y="T37"/>
                    </a:cxn>
                    <a:cxn ang="T143">
                      <a:pos x="T38" y="T39"/>
                    </a:cxn>
                    <a:cxn ang="T144">
                      <a:pos x="T40" y="T41"/>
                    </a:cxn>
                    <a:cxn ang="T145">
                      <a:pos x="T42" y="T43"/>
                    </a:cxn>
                    <a:cxn ang="T146">
                      <a:pos x="T44" y="T45"/>
                    </a:cxn>
                    <a:cxn ang="T147">
                      <a:pos x="T46" y="T47"/>
                    </a:cxn>
                    <a:cxn ang="T148">
                      <a:pos x="T48" y="T49"/>
                    </a:cxn>
                    <a:cxn ang="T149">
                      <a:pos x="T50" y="T51"/>
                    </a:cxn>
                    <a:cxn ang="T150">
                      <a:pos x="T52" y="T53"/>
                    </a:cxn>
                    <a:cxn ang="T151">
                      <a:pos x="T54" y="T55"/>
                    </a:cxn>
                    <a:cxn ang="T152">
                      <a:pos x="T56" y="T57"/>
                    </a:cxn>
                    <a:cxn ang="T153">
                      <a:pos x="T58" y="T59"/>
                    </a:cxn>
                    <a:cxn ang="T154">
                      <a:pos x="T60" y="T61"/>
                    </a:cxn>
                    <a:cxn ang="T155">
                      <a:pos x="T62" y="T63"/>
                    </a:cxn>
                    <a:cxn ang="T156">
                      <a:pos x="T64" y="T65"/>
                    </a:cxn>
                    <a:cxn ang="T157">
                      <a:pos x="T66" y="T67"/>
                    </a:cxn>
                    <a:cxn ang="T158">
                      <a:pos x="T68" y="T69"/>
                    </a:cxn>
                    <a:cxn ang="T159">
                      <a:pos x="T70" y="T71"/>
                    </a:cxn>
                    <a:cxn ang="T160">
                      <a:pos x="T72" y="T73"/>
                    </a:cxn>
                    <a:cxn ang="T161">
                      <a:pos x="T74" y="T75"/>
                    </a:cxn>
                    <a:cxn ang="T162">
                      <a:pos x="T76" y="T77"/>
                    </a:cxn>
                    <a:cxn ang="T163">
                      <a:pos x="T78" y="T79"/>
                    </a:cxn>
                    <a:cxn ang="T164">
                      <a:pos x="T80" y="T81"/>
                    </a:cxn>
                    <a:cxn ang="T165">
                      <a:pos x="T82" y="T83"/>
                    </a:cxn>
                    <a:cxn ang="T166">
                      <a:pos x="T84" y="T85"/>
                    </a:cxn>
                    <a:cxn ang="T167">
                      <a:pos x="T86" y="T87"/>
                    </a:cxn>
                    <a:cxn ang="T168">
                      <a:pos x="T88" y="T89"/>
                    </a:cxn>
                    <a:cxn ang="T169">
                      <a:pos x="T90" y="T91"/>
                    </a:cxn>
                    <a:cxn ang="T170">
                      <a:pos x="T92" y="T93"/>
                    </a:cxn>
                    <a:cxn ang="T171">
                      <a:pos x="T94" y="T95"/>
                    </a:cxn>
                    <a:cxn ang="T172">
                      <a:pos x="T96" y="T97"/>
                    </a:cxn>
                    <a:cxn ang="T173">
                      <a:pos x="T98" y="T99"/>
                    </a:cxn>
                    <a:cxn ang="T174">
                      <a:pos x="T100" y="T101"/>
                    </a:cxn>
                    <a:cxn ang="T175">
                      <a:pos x="T102" y="T103"/>
                    </a:cxn>
                    <a:cxn ang="T176">
                      <a:pos x="T104" y="T105"/>
                    </a:cxn>
                    <a:cxn ang="T177">
                      <a:pos x="T106" y="T107"/>
                    </a:cxn>
                    <a:cxn ang="T178">
                      <a:pos x="T108" y="T109"/>
                    </a:cxn>
                    <a:cxn ang="T179">
                      <a:pos x="T110" y="T111"/>
                    </a:cxn>
                    <a:cxn ang="T180">
                      <a:pos x="T112" y="T113"/>
                    </a:cxn>
                    <a:cxn ang="T181">
                      <a:pos x="T114" y="T115"/>
                    </a:cxn>
                    <a:cxn ang="T182">
                      <a:pos x="T116" y="T117"/>
                    </a:cxn>
                    <a:cxn ang="T183">
                      <a:pos x="T118" y="T119"/>
                    </a:cxn>
                    <a:cxn ang="T184">
                      <a:pos x="T120" y="T121"/>
                    </a:cxn>
                    <a:cxn ang="T185">
                      <a:pos x="T122" y="T123"/>
                    </a:cxn>
                  </a:cxnLst>
                  <a:rect l="T186" t="T187" r="T188" b="T189"/>
                  <a:pathLst>
                    <a:path w="16384" h="16384">
                      <a:moveTo>
                        <a:pt x="158" y="11245"/>
                      </a:moveTo>
                      <a:lnTo>
                        <a:pt x="0" y="11394"/>
                      </a:lnTo>
                      <a:lnTo>
                        <a:pt x="0" y="11543"/>
                      </a:lnTo>
                      <a:lnTo>
                        <a:pt x="158" y="12288"/>
                      </a:lnTo>
                      <a:lnTo>
                        <a:pt x="315" y="12884"/>
                      </a:lnTo>
                      <a:lnTo>
                        <a:pt x="315" y="13182"/>
                      </a:lnTo>
                      <a:lnTo>
                        <a:pt x="315" y="13480"/>
                      </a:lnTo>
                      <a:lnTo>
                        <a:pt x="630" y="14001"/>
                      </a:lnTo>
                      <a:lnTo>
                        <a:pt x="788" y="14150"/>
                      </a:lnTo>
                      <a:lnTo>
                        <a:pt x="788" y="14373"/>
                      </a:lnTo>
                      <a:lnTo>
                        <a:pt x="788" y="14522"/>
                      </a:lnTo>
                      <a:lnTo>
                        <a:pt x="945" y="14671"/>
                      </a:lnTo>
                      <a:lnTo>
                        <a:pt x="945" y="14820"/>
                      </a:lnTo>
                      <a:lnTo>
                        <a:pt x="788" y="15043"/>
                      </a:lnTo>
                      <a:lnTo>
                        <a:pt x="630" y="15192"/>
                      </a:lnTo>
                      <a:lnTo>
                        <a:pt x="630" y="15416"/>
                      </a:lnTo>
                      <a:lnTo>
                        <a:pt x="473" y="15639"/>
                      </a:lnTo>
                      <a:lnTo>
                        <a:pt x="945" y="16086"/>
                      </a:lnTo>
                      <a:lnTo>
                        <a:pt x="1260" y="16161"/>
                      </a:lnTo>
                      <a:lnTo>
                        <a:pt x="1575" y="16384"/>
                      </a:lnTo>
                      <a:lnTo>
                        <a:pt x="3466" y="16161"/>
                      </a:lnTo>
                      <a:lnTo>
                        <a:pt x="6617" y="15863"/>
                      </a:lnTo>
                      <a:lnTo>
                        <a:pt x="6774" y="15863"/>
                      </a:lnTo>
                      <a:lnTo>
                        <a:pt x="8350" y="15714"/>
                      </a:lnTo>
                      <a:lnTo>
                        <a:pt x="11973" y="15341"/>
                      </a:lnTo>
                      <a:lnTo>
                        <a:pt x="12288" y="15267"/>
                      </a:lnTo>
                      <a:lnTo>
                        <a:pt x="12446" y="15118"/>
                      </a:lnTo>
                      <a:lnTo>
                        <a:pt x="12603" y="15043"/>
                      </a:lnTo>
                      <a:lnTo>
                        <a:pt x="12761" y="15043"/>
                      </a:lnTo>
                      <a:lnTo>
                        <a:pt x="12918" y="14969"/>
                      </a:lnTo>
                      <a:lnTo>
                        <a:pt x="13233" y="14895"/>
                      </a:lnTo>
                      <a:lnTo>
                        <a:pt x="13076" y="14820"/>
                      </a:lnTo>
                      <a:lnTo>
                        <a:pt x="13076" y="14597"/>
                      </a:lnTo>
                      <a:lnTo>
                        <a:pt x="13076" y="14522"/>
                      </a:lnTo>
                      <a:lnTo>
                        <a:pt x="13391" y="14448"/>
                      </a:lnTo>
                      <a:lnTo>
                        <a:pt x="13863" y="14373"/>
                      </a:lnTo>
                      <a:lnTo>
                        <a:pt x="14021" y="14373"/>
                      </a:lnTo>
                      <a:lnTo>
                        <a:pt x="14178" y="14075"/>
                      </a:lnTo>
                      <a:lnTo>
                        <a:pt x="14336" y="14001"/>
                      </a:lnTo>
                      <a:lnTo>
                        <a:pt x="15281" y="13777"/>
                      </a:lnTo>
                      <a:lnTo>
                        <a:pt x="15439" y="13777"/>
                      </a:lnTo>
                      <a:lnTo>
                        <a:pt x="15911" y="13852"/>
                      </a:lnTo>
                      <a:lnTo>
                        <a:pt x="16226" y="13107"/>
                      </a:lnTo>
                      <a:lnTo>
                        <a:pt x="16384" y="12884"/>
                      </a:lnTo>
                      <a:lnTo>
                        <a:pt x="16384" y="12735"/>
                      </a:lnTo>
                      <a:lnTo>
                        <a:pt x="16226" y="12660"/>
                      </a:lnTo>
                      <a:lnTo>
                        <a:pt x="16069" y="12586"/>
                      </a:lnTo>
                      <a:lnTo>
                        <a:pt x="16069" y="12362"/>
                      </a:lnTo>
                      <a:lnTo>
                        <a:pt x="15754" y="12362"/>
                      </a:lnTo>
                      <a:lnTo>
                        <a:pt x="15439" y="12288"/>
                      </a:lnTo>
                      <a:lnTo>
                        <a:pt x="15281" y="12214"/>
                      </a:lnTo>
                      <a:lnTo>
                        <a:pt x="15124" y="12065"/>
                      </a:lnTo>
                      <a:lnTo>
                        <a:pt x="14966" y="11841"/>
                      </a:lnTo>
                      <a:lnTo>
                        <a:pt x="14809" y="11618"/>
                      </a:lnTo>
                      <a:lnTo>
                        <a:pt x="14809" y="11543"/>
                      </a:lnTo>
                      <a:lnTo>
                        <a:pt x="14336" y="11469"/>
                      </a:lnTo>
                      <a:lnTo>
                        <a:pt x="13548" y="11171"/>
                      </a:lnTo>
                      <a:lnTo>
                        <a:pt x="13076" y="10947"/>
                      </a:lnTo>
                      <a:lnTo>
                        <a:pt x="12918" y="10724"/>
                      </a:lnTo>
                      <a:lnTo>
                        <a:pt x="12761" y="10352"/>
                      </a:lnTo>
                      <a:lnTo>
                        <a:pt x="12761" y="10203"/>
                      </a:lnTo>
                      <a:lnTo>
                        <a:pt x="12603" y="9905"/>
                      </a:lnTo>
                      <a:lnTo>
                        <a:pt x="12446" y="9756"/>
                      </a:lnTo>
                      <a:lnTo>
                        <a:pt x="11658" y="8639"/>
                      </a:lnTo>
                      <a:lnTo>
                        <a:pt x="9610" y="5734"/>
                      </a:lnTo>
                      <a:lnTo>
                        <a:pt x="5829" y="0"/>
                      </a:lnTo>
                      <a:lnTo>
                        <a:pt x="5514" y="74"/>
                      </a:lnTo>
                      <a:lnTo>
                        <a:pt x="5356" y="298"/>
                      </a:lnTo>
                      <a:lnTo>
                        <a:pt x="5041" y="372"/>
                      </a:lnTo>
                      <a:lnTo>
                        <a:pt x="4726" y="372"/>
                      </a:lnTo>
                      <a:lnTo>
                        <a:pt x="4254" y="223"/>
                      </a:lnTo>
                      <a:lnTo>
                        <a:pt x="4096" y="223"/>
                      </a:lnTo>
                      <a:lnTo>
                        <a:pt x="3781" y="372"/>
                      </a:lnTo>
                      <a:lnTo>
                        <a:pt x="3623" y="596"/>
                      </a:lnTo>
                      <a:lnTo>
                        <a:pt x="3308" y="670"/>
                      </a:lnTo>
                      <a:lnTo>
                        <a:pt x="2993" y="745"/>
                      </a:lnTo>
                      <a:lnTo>
                        <a:pt x="3308" y="894"/>
                      </a:lnTo>
                      <a:lnTo>
                        <a:pt x="3466" y="1043"/>
                      </a:lnTo>
                      <a:lnTo>
                        <a:pt x="3308" y="1415"/>
                      </a:lnTo>
                      <a:lnTo>
                        <a:pt x="3151" y="1862"/>
                      </a:lnTo>
                      <a:lnTo>
                        <a:pt x="3151" y="1936"/>
                      </a:lnTo>
                      <a:lnTo>
                        <a:pt x="3151" y="2160"/>
                      </a:lnTo>
                      <a:lnTo>
                        <a:pt x="2993" y="2309"/>
                      </a:lnTo>
                      <a:lnTo>
                        <a:pt x="2836" y="2383"/>
                      </a:lnTo>
                      <a:lnTo>
                        <a:pt x="3151" y="2755"/>
                      </a:lnTo>
                      <a:lnTo>
                        <a:pt x="3308" y="2904"/>
                      </a:lnTo>
                      <a:lnTo>
                        <a:pt x="2993" y="3500"/>
                      </a:lnTo>
                      <a:lnTo>
                        <a:pt x="2993" y="3798"/>
                      </a:lnTo>
                      <a:lnTo>
                        <a:pt x="3781" y="4394"/>
                      </a:lnTo>
                      <a:lnTo>
                        <a:pt x="4096" y="4617"/>
                      </a:lnTo>
                      <a:lnTo>
                        <a:pt x="4096" y="4766"/>
                      </a:lnTo>
                      <a:lnTo>
                        <a:pt x="3938" y="4915"/>
                      </a:lnTo>
                      <a:lnTo>
                        <a:pt x="3938" y="5139"/>
                      </a:lnTo>
                      <a:lnTo>
                        <a:pt x="3938" y="5288"/>
                      </a:lnTo>
                      <a:lnTo>
                        <a:pt x="3623" y="5585"/>
                      </a:lnTo>
                      <a:lnTo>
                        <a:pt x="3308" y="5809"/>
                      </a:lnTo>
                      <a:lnTo>
                        <a:pt x="2993" y="5958"/>
                      </a:lnTo>
                      <a:lnTo>
                        <a:pt x="2836" y="6032"/>
                      </a:lnTo>
                      <a:lnTo>
                        <a:pt x="2521" y="6256"/>
                      </a:lnTo>
                      <a:lnTo>
                        <a:pt x="2363" y="6405"/>
                      </a:lnTo>
                      <a:lnTo>
                        <a:pt x="2048" y="6479"/>
                      </a:lnTo>
                      <a:lnTo>
                        <a:pt x="1260" y="6554"/>
                      </a:lnTo>
                      <a:lnTo>
                        <a:pt x="1103" y="6703"/>
                      </a:lnTo>
                      <a:lnTo>
                        <a:pt x="945" y="6851"/>
                      </a:lnTo>
                      <a:lnTo>
                        <a:pt x="945" y="7075"/>
                      </a:lnTo>
                      <a:lnTo>
                        <a:pt x="945" y="7373"/>
                      </a:lnTo>
                      <a:lnTo>
                        <a:pt x="1103" y="7596"/>
                      </a:lnTo>
                      <a:lnTo>
                        <a:pt x="1260" y="7745"/>
                      </a:lnTo>
                      <a:lnTo>
                        <a:pt x="1260" y="8118"/>
                      </a:lnTo>
                      <a:lnTo>
                        <a:pt x="1260" y="8192"/>
                      </a:lnTo>
                      <a:lnTo>
                        <a:pt x="1103" y="8415"/>
                      </a:lnTo>
                      <a:lnTo>
                        <a:pt x="1103" y="8639"/>
                      </a:lnTo>
                      <a:lnTo>
                        <a:pt x="1103" y="8713"/>
                      </a:lnTo>
                      <a:lnTo>
                        <a:pt x="1103" y="8862"/>
                      </a:lnTo>
                      <a:lnTo>
                        <a:pt x="945" y="9086"/>
                      </a:lnTo>
                      <a:lnTo>
                        <a:pt x="788" y="9533"/>
                      </a:lnTo>
                      <a:lnTo>
                        <a:pt x="945" y="9756"/>
                      </a:lnTo>
                      <a:lnTo>
                        <a:pt x="945" y="9905"/>
                      </a:lnTo>
                      <a:lnTo>
                        <a:pt x="788" y="10054"/>
                      </a:lnTo>
                      <a:lnTo>
                        <a:pt x="630" y="10277"/>
                      </a:lnTo>
                      <a:lnTo>
                        <a:pt x="315" y="10501"/>
                      </a:lnTo>
                      <a:lnTo>
                        <a:pt x="315" y="10650"/>
                      </a:lnTo>
                      <a:lnTo>
                        <a:pt x="315" y="10947"/>
                      </a:lnTo>
                      <a:lnTo>
                        <a:pt x="315" y="11022"/>
                      </a:lnTo>
                      <a:lnTo>
                        <a:pt x="158" y="11245"/>
                      </a:lnTo>
                      <a:close/>
                    </a:path>
                  </a:pathLst>
                </a:custGeom>
                <a:solidFill>
                  <a:srgbClr val="FFFF00"/>
                </a:solidFill>
                <a:ln w="9525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defTabSz="121917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48" name="New_Jersey">
                  <a:extLst>
                    <a:ext uri="{FF2B5EF4-FFF2-40B4-BE49-F238E27FC236}">
                      <a16:creationId xmlns:a16="http://schemas.microsoft.com/office/drawing/2014/main" id="{ED722B06-9DDC-FCEF-FE68-056C7FE2DE2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7536775" y="6000750"/>
                  <a:ext cx="800100" cy="1733550"/>
                </a:xfrm>
                <a:custGeom>
                  <a:avLst/>
                  <a:gdLst>
                    <a:gd name="T0" fmla="*/ 2147483647 w 16384"/>
                    <a:gd name="T1" fmla="*/ 2147483647 h 16384"/>
                    <a:gd name="T2" fmla="*/ 2147483647 w 16384"/>
                    <a:gd name="T3" fmla="*/ 2147483647 h 16384"/>
                    <a:gd name="T4" fmla="*/ 2147483647 w 16384"/>
                    <a:gd name="T5" fmla="*/ 2147483647 h 16384"/>
                    <a:gd name="T6" fmla="*/ 2147483647 w 16384"/>
                    <a:gd name="T7" fmla="*/ 2147483647 h 16384"/>
                    <a:gd name="T8" fmla="*/ 2147483647 w 16384"/>
                    <a:gd name="T9" fmla="*/ 2147483647 h 16384"/>
                    <a:gd name="T10" fmla="*/ 0 w 16384"/>
                    <a:gd name="T11" fmla="*/ 2147483647 h 16384"/>
                    <a:gd name="T12" fmla="*/ 2147483647 w 16384"/>
                    <a:gd name="T13" fmla="*/ 2147483647 h 16384"/>
                    <a:gd name="T14" fmla="*/ 2147483647 w 16384"/>
                    <a:gd name="T15" fmla="*/ 2147483647 h 16384"/>
                    <a:gd name="T16" fmla="*/ 2147483647 w 16384"/>
                    <a:gd name="T17" fmla="*/ 2147483647 h 16384"/>
                    <a:gd name="T18" fmla="*/ 2147483647 w 16384"/>
                    <a:gd name="T19" fmla="*/ 2147483647 h 16384"/>
                    <a:gd name="T20" fmla="*/ 2147483647 w 16384"/>
                    <a:gd name="T21" fmla="*/ 2147483647 h 16384"/>
                    <a:gd name="T22" fmla="*/ 2147483647 w 16384"/>
                    <a:gd name="T23" fmla="*/ 2147483647 h 16384"/>
                    <a:gd name="T24" fmla="*/ 2147483647 w 16384"/>
                    <a:gd name="T25" fmla="*/ 2147483647 h 16384"/>
                    <a:gd name="T26" fmla="*/ 2147483647 w 16384"/>
                    <a:gd name="T27" fmla="*/ 2147483647 h 16384"/>
                    <a:gd name="T28" fmla="*/ 2147483647 w 16384"/>
                    <a:gd name="T29" fmla="*/ 2147483647 h 16384"/>
                    <a:gd name="T30" fmla="*/ 2147483647 w 16384"/>
                    <a:gd name="T31" fmla="*/ 2147483647 h 16384"/>
                    <a:gd name="T32" fmla="*/ 2147483647 w 16384"/>
                    <a:gd name="T33" fmla="*/ 2147483647 h 16384"/>
                    <a:gd name="T34" fmla="*/ 2147483647 w 16384"/>
                    <a:gd name="T35" fmla="*/ 2147483647 h 16384"/>
                    <a:gd name="T36" fmla="*/ 2147483647 w 16384"/>
                    <a:gd name="T37" fmla="*/ 2147483647 h 16384"/>
                    <a:gd name="T38" fmla="*/ 2147483647 w 16384"/>
                    <a:gd name="T39" fmla="*/ 2147483647 h 16384"/>
                    <a:gd name="T40" fmla="*/ 2147483647 w 16384"/>
                    <a:gd name="T41" fmla="*/ 2147483647 h 16384"/>
                    <a:gd name="T42" fmla="*/ 2147483647 w 16384"/>
                    <a:gd name="T43" fmla="*/ 2147483647 h 16384"/>
                    <a:gd name="T44" fmla="*/ 2147483647 w 16384"/>
                    <a:gd name="T45" fmla="*/ 2147483647 h 16384"/>
                    <a:gd name="T46" fmla="*/ 2147483647 w 16384"/>
                    <a:gd name="T47" fmla="*/ 2147483647 h 16384"/>
                    <a:gd name="T48" fmla="*/ 2147483647 w 16384"/>
                    <a:gd name="T49" fmla="*/ 2147483647 h 16384"/>
                    <a:gd name="T50" fmla="*/ 2147483647 w 16384"/>
                    <a:gd name="T51" fmla="*/ 2147483647 h 16384"/>
                    <a:gd name="T52" fmla="*/ 2147483647 w 16384"/>
                    <a:gd name="T53" fmla="*/ 2147483647 h 16384"/>
                    <a:gd name="T54" fmla="*/ 2147483647 w 16384"/>
                    <a:gd name="T55" fmla="*/ 2147483647 h 16384"/>
                    <a:gd name="T56" fmla="*/ 2147483647 w 16384"/>
                    <a:gd name="T57" fmla="*/ 2147483647 h 16384"/>
                    <a:gd name="T58" fmla="*/ 2147483647 w 16384"/>
                    <a:gd name="T59" fmla="*/ 2147483647 h 16384"/>
                    <a:gd name="T60" fmla="*/ 2147483647 w 16384"/>
                    <a:gd name="T61" fmla="*/ 2147483647 h 16384"/>
                    <a:gd name="T62" fmla="*/ 2147483647 w 16384"/>
                    <a:gd name="T63" fmla="*/ 2147483647 h 16384"/>
                    <a:gd name="T64" fmla="*/ 2147483647 w 16384"/>
                    <a:gd name="T65" fmla="*/ 2147483647 h 16384"/>
                    <a:gd name="T66" fmla="*/ 2147483647 w 16384"/>
                    <a:gd name="T67" fmla="*/ 2147483647 h 16384"/>
                    <a:gd name="T68" fmla="*/ 2147483647 w 16384"/>
                    <a:gd name="T69" fmla="*/ 2147483647 h 16384"/>
                    <a:gd name="T70" fmla="*/ 2147483647 w 16384"/>
                    <a:gd name="T71" fmla="*/ 2147483647 h 16384"/>
                    <a:gd name="T72" fmla="*/ 2147483647 w 16384"/>
                    <a:gd name="T73" fmla="*/ 2147483647 h 16384"/>
                    <a:gd name="T74" fmla="*/ 2147483647 w 16384"/>
                    <a:gd name="T75" fmla="*/ 2147483647 h 16384"/>
                    <a:gd name="T76" fmla="*/ 2147483647 w 16384"/>
                    <a:gd name="T77" fmla="*/ 0 h 16384"/>
                    <a:gd name="T78" fmla="*/ 2147483647 w 16384"/>
                    <a:gd name="T79" fmla="*/ 2147483647 h 16384"/>
                    <a:gd name="T80" fmla="*/ 2147483647 w 16384"/>
                    <a:gd name="T81" fmla="*/ 2147483647 h 16384"/>
                    <a:gd name="T82" fmla="*/ 2147483647 w 16384"/>
                    <a:gd name="T83" fmla="*/ 2147483647 h 16384"/>
                    <a:gd name="T84" fmla="*/ 2147483647 w 16384"/>
                    <a:gd name="T85" fmla="*/ 2147483647 h 16384"/>
                    <a:gd name="T86" fmla="*/ 2147483647 w 16384"/>
                    <a:gd name="T87" fmla="*/ 2147483647 h 16384"/>
                    <a:gd name="T88" fmla="*/ 2147483647 w 16384"/>
                    <a:gd name="T89" fmla="*/ 2147483647 h 16384"/>
                    <a:gd name="T90" fmla="*/ 2147483647 w 16384"/>
                    <a:gd name="T91" fmla="*/ 2147483647 h 16384"/>
                    <a:gd name="T92" fmla="*/ 2147483647 w 16384"/>
                    <a:gd name="T93" fmla="*/ 2147483647 h 16384"/>
                    <a:gd name="T94" fmla="*/ 2147483647 w 16384"/>
                    <a:gd name="T95" fmla="*/ 2147483647 h 16384"/>
                    <a:gd name="T96" fmla="*/ 2147483647 w 16384"/>
                    <a:gd name="T97" fmla="*/ 2147483647 h 16384"/>
                    <a:gd name="T98" fmla="*/ 2147483647 w 16384"/>
                    <a:gd name="T99" fmla="*/ 2147483647 h 16384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w 16384"/>
                    <a:gd name="T151" fmla="*/ 0 h 16384"/>
                    <a:gd name="T152" fmla="*/ 16384 w 16384"/>
                    <a:gd name="T153" fmla="*/ 16384 h 16384"/>
                  </a:gdLst>
                  <a:ahLst/>
                  <a:cxnLst>
                    <a:cxn ang="T100">
                      <a:pos x="T0" y="T1"/>
                    </a:cxn>
                    <a:cxn ang="T101">
                      <a:pos x="T2" y="T3"/>
                    </a:cxn>
                    <a:cxn ang="T102">
                      <a:pos x="T4" y="T5"/>
                    </a:cxn>
                    <a:cxn ang="T103">
                      <a:pos x="T6" y="T7"/>
                    </a:cxn>
                    <a:cxn ang="T104">
                      <a:pos x="T8" y="T9"/>
                    </a:cxn>
                    <a:cxn ang="T105">
                      <a:pos x="T10" y="T11"/>
                    </a:cxn>
                    <a:cxn ang="T106">
                      <a:pos x="T12" y="T13"/>
                    </a:cxn>
                    <a:cxn ang="T107">
                      <a:pos x="T14" y="T15"/>
                    </a:cxn>
                    <a:cxn ang="T108">
                      <a:pos x="T16" y="T17"/>
                    </a:cxn>
                    <a:cxn ang="T109">
                      <a:pos x="T18" y="T19"/>
                    </a:cxn>
                    <a:cxn ang="T110">
                      <a:pos x="T20" y="T21"/>
                    </a:cxn>
                    <a:cxn ang="T111">
                      <a:pos x="T22" y="T23"/>
                    </a:cxn>
                    <a:cxn ang="T112">
                      <a:pos x="T24" y="T25"/>
                    </a:cxn>
                    <a:cxn ang="T113">
                      <a:pos x="T26" y="T27"/>
                    </a:cxn>
                    <a:cxn ang="T114">
                      <a:pos x="T28" y="T29"/>
                    </a:cxn>
                    <a:cxn ang="T115">
                      <a:pos x="T30" y="T31"/>
                    </a:cxn>
                    <a:cxn ang="T116">
                      <a:pos x="T32" y="T33"/>
                    </a:cxn>
                    <a:cxn ang="T117">
                      <a:pos x="T34" y="T35"/>
                    </a:cxn>
                    <a:cxn ang="T118">
                      <a:pos x="T36" y="T37"/>
                    </a:cxn>
                    <a:cxn ang="T119">
                      <a:pos x="T38" y="T39"/>
                    </a:cxn>
                    <a:cxn ang="T120">
                      <a:pos x="T40" y="T41"/>
                    </a:cxn>
                    <a:cxn ang="T121">
                      <a:pos x="T42" y="T43"/>
                    </a:cxn>
                    <a:cxn ang="T122">
                      <a:pos x="T44" y="T45"/>
                    </a:cxn>
                    <a:cxn ang="T123">
                      <a:pos x="T46" y="T47"/>
                    </a:cxn>
                    <a:cxn ang="T124">
                      <a:pos x="T48" y="T49"/>
                    </a:cxn>
                    <a:cxn ang="T125">
                      <a:pos x="T50" y="T51"/>
                    </a:cxn>
                    <a:cxn ang="T126">
                      <a:pos x="T52" y="T53"/>
                    </a:cxn>
                    <a:cxn ang="T127">
                      <a:pos x="T54" y="T55"/>
                    </a:cxn>
                    <a:cxn ang="T128">
                      <a:pos x="T56" y="T57"/>
                    </a:cxn>
                    <a:cxn ang="T129">
                      <a:pos x="T58" y="T59"/>
                    </a:cxn>
                    <a:cxn ang="T130">
                      <a:pos x="T60" y="T61"/>
                    </a:cxn>
                    <a:cxn ang="T131">
                      <a:pos x="T62" y="T63"/>
                    </a:cxn>
                    <a:cxn ang="T132">
                      <a:pos x="T64" y="T65"/>
                    </a:cxn>
                    <a:cxn ang="T133">
                      <a:pos x="T66" y="T67"/>
                    </a:cxn>
                    <a:cxn ang="T134">
                      <a:pos x="T68" y="T69"/>
                    </a:cxn>
                    <a:cxn ang="T135">
                      <a:pos x="T70" y="T71"/>
                    </a:cxn>
                    <a:cxn ang="T136">
                      <a:pos x="T72" y="T73"/>
                    </a:cxn>
                    <a:cxn ang="T137">
                      <a:pos x="T74" y="T75"/>
                    </a:cxn>
                    <a:cxn ang="T138">
                      <a:pos x="T76" y="T77"/>
                    </a:cxn>
                    <a:cxn ang="T139">
                      <a:pos x="T78" y="T79"/>
                    </a:cxn>
                    <a:cxn ang="T140">
                      <a:pos x="T80" y="T81"/>
                    </a:cxn>
                    <a:cxn ang="T141">
                      <a:pos x="T82" y="T83"/>
                    </a:cxn>
                    <a:cxn ang="T142">
                      <a:pos x="T84" y="T85"/>
                    </a:cxn>
                    <a:cxn ang="T143">
                      <a:pos x="T86" y="T87"/>
                    </a:cxn>
                    <a:cxn ang="T144">
                      <a:pos x="T88" y="T89"/>
                    </a:cxn>
                    <a:cxn ang="T145">
                      <a:pos x="T90" y="T91"/>
                    </a:cxn>
                    <a:cxn ang="T146">
                      <a:pos x="T92" y="T93"/>
                    </a:cxn>
                    <a:cxn ang="T147">
                      <a:pos x="T94" y="T95"/>
                    </a:cxn>
                    <a:cxn ang="T148">
                      <a:pos x="T96" y="T97"/>
                    </a:cxn>
                    <a:cxn ang="T149">
                      <a:pos x="T98" y="T99"/>
                    </a:cxn>
                  </a:cxnLst>
                  <a:rect l="T150" t="T151" r="T152" b="T153"/>
                  <a:pathLst>
                    <a:path w="16384" h="16384">
                      <a:moveTo>
                        <a:pt x="7430" y="7980"/>
                      </a:moveTo>
                      <a:lnTo>
                        <a:pt x="7620" y="8065"/>
                      </a:lnTo>
                      <a:lnTo>
                        <a:pt x="7239" y="8150"/>
                      </a:lnTo>
                      <a:lnTo>
                        <a:pt x="6858" y="8319"/>
                      </a:lnTo>
                      <a:lnTo>
                        <a:pt x="6477" y="8404"/>
                      </a:lnTo>
                      <a:lnTo>
                        <a:pt x="6287" y="8574"/>
                      </a:lnTo>
                      <a:lnTo>
                        <a:pt x="5715" y="8744"/>
                      </a:lnTo>
                      <a:lnTo>
                        <a:pt x="5144" y="8998"/>
                      </a:lnTo>
                      <a:lnTo>
                        <a:pt x="4572" y="9423"/>
                      </a:lnTo>
                      <a:lnTo>
                        <a:pt x="4191" y="9593"/>
                      </a:lnTo>
                      <a:lnTo>
                        <a:pt x="3810" y="9762"/>
                      </a:lnTo>
                      <a:lnTo>
                        <a:pt x="3810" y="9932"/>
                      </a:lnTo>
                      <a:lnTo>
                        <a:pt x="3810" y="10102"/>
                      </a:lnTo>
                      <a:lnTo>
                        <a:pt x="3620" y="10272"/>
                      </a:lnTo>
                      <a:lnTo>
                        <a:pt x="3620" y="10357"/>
                      </a:lnTo>
                      <a:lnTo>
                        <a:pt x="3048" y="10527"/>
                      </a:lnTo>
                      <a:lnTo>
                        <a:pt x="2858" y="10611"/>
                      </a:lnTo>
                      <a:lnTo>
                        <a:pt x="2286" y="10696"/>
                      </a:lnTo>
                      <a:lnTo>
                        <a:pt x="1715" y="10781"/>
                      </a:lnTo>
                      <a:lnTo>
                        <a:pt x="1334" y="10951"/>
                      </a:lnTo>
                      <a:lnTo>
                        <a:pt x="953" y="11121"/>
                      </a:lnTo>
                      <a:lnTo>
                        <a:pt x="762" y="11121"/>
                      </a:lnTo>
                      <a:lnTo>
                        <a:pt x="762" y="11291"/>
                      </a:lnTo>
                      <a:lnTo>
                        <a:pt x="0" y="12055"/>
                      </a:lnTo>
                      <a:lnTo>
                        <a:pt x="191" y="12139"/>
                      </a:lnTo>
                      <a:lnTo>
                        <a:pt x="0" y="12394"/>
                      </a:lnTo>
                      <a:lnTo>
                        <a:pt x="0" y="12564"/>
                      </a:lnTo>
                      <a:lnTo>
                        <a:pt x="381" y="12734"/>
                      </a:lnTo>
                      <a:lnTo>
                        <a:pt x="762" y="12819"/>
                      </a:lnTo>
                      <a:lnTo>
                        <a:pt x="762" y="12903"/>
                      </a:lnTo>
                      <a:lnTo>
                        <a:pt x="762" y="13073"/>
                      </a:lnTo>
                      <a:lnTo>
                        <a:pt x="762" y="13243"/>
                      </a:lnTo>
                      <a:lnTo>
                        <a:pt x="762" y="13413"/>
                      </a:lnTo>
                      <a:lnTo>
                        <a:pt x="1524" y="13752"/>
                      </a:lnTo>
                      <a:lnTo>
                        <a:pt x="2096" y="13837"/>
                      </a:lnTo>
                      <a:lnTo>
                        <a:pt x="2667" y="14007"/>
                      </a:lnTo>
                      <a:lnTo>
                        <a:pt x="3048" y="14177"/>
                      </a:lnTo>
                      <a:lnTo>
                        <a:pt x="3429" y="14177"/>
                      </a:lnTo>
                      <a:lnTo>
                        <a:pt x="4001" y="14432"/>
                      </a:lnTo>
                      <a:lnTo>
                        <a:pt x="4382" y="14347"/>
                      </a:lnTo>
                      <a:lnTo>
                        <a:pt x="4572" y="14347"/>
                      </a:lnTo>
                      <a:lnTo>
                        <a:pt x="4763" y="14516"/>
                      </a:lnTo>
                      <a:lnTo>
                        <a:pt x="5144" y="14601"/>
                      </a:lnTo>
                      <a:lnTo>
                        <a:pt x="5525" y="14601"/>
                      </a:lnTo>
                      <a:lnTo>
                        <a:pt x="5906" y="14856"/>
                      </a:lnTo>
                      <a:lnTo>
                        <a:pt x="6096" y="14941"/>
                      </a:lnTo>
                      <a:lnTo>
                        <a:pt x="6287" y="14941"/>
                      </a:lnTo>
                      <a:lnTo>
                        <a:pt x="6477" y="14856"/>
                      </a:lnTo>
                      <a:lnTo>
                        <a:pt x="6668" y="14771"/>
                      </a:lnTo>
                      <a:lnTo>
                        <a:pt x="6858" y="14686"/>
                      </a:lnTo>
                      <a:lnTo>
                        <a:pt x="7239" y="14771"/>
                      </a:lnTo>
                      <a:lnTo>
                        <a:pt x="7430" y="14686"/>
                      </a:lnTo>
                      <a:lnTo>
                        <a:pt x="7620" y="14771"/>
                      </a:lnTo>
                      <a:lnTo>
                        <a:pt x="8001" y="14856"/>
                      </a:lnTo>
                      <a:lnTo>
                        <a:pt x="8192" y="14856"/>
                      </a:lnTo>
                      <a:lnTo>
                        <a:pt x="8764" y="14856"/>
                      </a:lnTo>
                      <a:lnTo>
                        <a:pt x="9145" y="14941"/>
                      </a:lnTo>
                      <a:lnTo>
                        <a:pt x="9335" y="15026"/>
                      </a:lnTo>
                      <a:lnTo>
                        <a:pt x="9335" y="15365"/>
                      </a:lnTo>
                      <a:lnTo>
                        <a:pt x="9145" y="15535"/>
                      </a:lnTo>
                      <a:lnTo>
                        <a:pt x="8954" y="15875"/>
                      </a:lnTo>
                      <a:lnTo>
                        <a:pt x="8954" y="16129"/>
                      </a:lnTo>
                      <a:lnTo>
                        <a:pt x="8954" y="16299"/>
                      </a:lnTo>
                      <a:lnTo>
                        <a:pt x="9145" y="16384"/>
                      </a:lnTo>
                      <a:lnTo>
                        <a:pt x="9526" y="16384"/>
                      </a:lnTo>
                      <a:lnTo>
                        <a:pt x="10097" y="16299"/>
                      </a:lnTo>
                      <a:lnTo>
                        <a:pt x="10288" y="16129"/>
                      </a:lnTo>
                      <a:lnTo>
                        <a:pt x="10669" y="15960"/>
                      </a:lnTo>
                      <a:lnTo>
                        <a:pt x="10859" y="15705"/>
                      </a:lnTo>
                      <a:lnTo>
                        <a:pt x="10859" y="15450"/>
                      </a:lnTo>
                      <a:lnTo>
                        <a:pt x="11050" y="15026"/>
                      </a:lnTo>
                      <a:lnTo>
                        <a:pt x="11240" y="14686"/>
                      </a:lnTo>
                      <a:lnTo>
                        <a:pt x="11621" y="14262"/>
                      </a:lnTo>
                      <a:lnTo>
                        <a:pt x="12002" y="13922"/>
                      </a:lnTo>
                      <a:lnTo>
                        <a:pt x="12193" y="13667"/>
                      </a:lnTo>
                      <a:lnTo>
                        <a:pt x="12383" y="13498"/>
                      </a:lnTo>
                      <a:lnTo>
                        <a:pt x="12955" y="13073"/>
                      </a:lnTo>
                      <a:lnTo>
                        <a:pt x="13145" y="12903"/>
                      </a:lnTo>
                      <a:lnTo>
                        <a:pt x="13717" y="12734"/>
                      </a:lnTo>
                      <a:lnTo>
                        <a:pt x="13907" y="12479"/>
                      </a:lnTo>
                      <a:lnTo>
                        <a:pt x="13907" y="12224"/>
                      </a:lnTo>
                      <a:lnTo>
                        <a:pt x="13717" y="11970"/>
                      </a:lnTo>
                      <a:lnTo>
                        <a:pt x="13526" y="11885"/>
                      </a:lnTo>
                      <a:lnTo>
                        <a:pt x="13526" y="11715"/>
                      </a:lnTo>
                      <a:lnTo>
                        <a:pt x="13717" y="11715"/>
                      </a:lnTo>
                      <a:lnTo>
                        <a:pt x="14098" y="11715"/>
                      </a:lnTo>
                      <a:lnTo>
                        <a:pt x="14288" y="11715"/>
                      </a:lnTo>
                      <a:lnTo>
                        <a:pt x="14288" y="11460"/>
                      </a:lnTo>
                      <a:lnTo>
                        <a:pt x="14288" y="11375"/>
                      </a:lnTo>
                      <a:lnTo>
                        <a:pt x="14860" y="11036"/>
                      </a:lnTo>
                      <a:lnTo>
                        <a:pt x="15050" y="10866"/>
                      </a:lnTo>
                      <a:lnTo>
                        <a:pt x="15241" y="10696"/>
                      </a:lnTo>
                      <a:lnTo>
                        <a:pt x="15431" y="10357"/>
                      </a:lnTo>
                      <a:lnTo>
                        <a:pt x="15241" y="10102"/>
                      </a:lnTo>
                      <a:lnTo>
                        <a:pt x="15241" y="9762"/>
                      </a:lnTo>
                      <a:lnTo>
                        <a:pt x="15241" y="9593"/>
                      </a:lnTo>
                      <a:lnTo>
                        <a:pt x="15431" y="9338"/>
                      </a:lnTo>
                      <a:lnTo>
                        <a:pt x="15431" y="8829"/>
                      </a:lnTo>
                      <a:lnTo>
                        <a:pt x="15241" y="8659"/>
                      </a:lnTo>
                      <a:lnTo>
                        <a:pt x="15050" y="8574"/>
                      </a:lnTo>
                      <a:lnTo>
                        <a:pt x="15241" y="8065"/>
                      </a:lnTo>
                      <a:lnTo>
                        <a:pt x="15431" y="8150"/>
                      </a:lnTo>
                      <a:lnTo>
                        <a:pt x="15812" y="8574"/>
                      </a:lnTo>
                      <a:lnTo>
                        <a:pt x="15812" y="8914"/>
                      </a:lnTo>
                      <a:lnTo>
                        <a:pt x="15812" y="9508"/>
                      </a:lnTo>
                      <a:lnTo>
                        <a:pt x="16003" y="9678"/>
                      </a:lnTo>
                      <a:lnTo>
                        <a:pt x="16193" y="9762"/>
                      </a:lnTo>
                      <a:lnTo>
                        <a:pt x="16384" y="9678"/>
                      </a:lnTo>
                      <a:lnTo>
                        <a:pt x="16384" y="9338"/>
                      </a:lnTo>
                      <a:lnTo>
                        <a:pt x="16193" y="8829"/>
                      </a:lnTo>
                      <a:lnTo>
                        <a:pt x="16193" y="8574"/>
                      </a:lnTo>
                      <a:lnTo>
                        <a:pt x="16003" y="7980"/>
                      </a:lnTo>
                      <a:lnTo>
                        <a:pt x="15812" y="7470"/>
                      </a:lnTo>
                      <a:lnTo>
                        <a:pt x="15812" y="7131"/>
                      </a:lnTo>
                      <a:lnTo>
                        <a:pt x="15812" y="6706"/>
                      </a:lnTo>
                      <a:lnTo>
                        <a:pt x="16003" y="6367"/>
                      </a:lnTo>
                      <a:lnTo>
                        <a:pt x="15812" y="6197"/>
                      </a:lnTo>
                      <a:lnTo>
                        <a:pt x="15622" y="5857"/>
                      </a:lnTo>
                      <a:lnTo>
                        <a:pt x="15431" y="5603"/>
                      </a:lnTo>
                      <a:lnTo>
                        <a:pt x="15241" y="5348"/>
                      </a:lnTo>
                      <a:lnTo>
                        <a:pt x="14860" y="5178"/>
                      </a:lnTo>
                      <a:lnTo>
                        <a:pt x="14669" y="5178"/>
                      </a:lnTo>
                      <a:lnTo>
                        <a:pt x="14479" y="5178"/>
                      </a:lnTo>
                      <a:lnTo>
                        <a:pt x="14860" y="5518"/>
                      </a:lnTo>
                      <a:lnTo>
                        <a:pt x="14098" y="5518"/>
                      </a:lnTo>
                      <a:lnTo>
                        <a:pt x="13717" y="5433"/>
                      </a:lnTo>
                      <a:lnTo>
                        <a:pt x="13336" y="5518"/>
                      </a:lnTo>
                      <a:lnTo>
                        <a:pt x="12764" y="5603"/>
                      </a:lnTo>
                      <a:lnTo>
                        <a:pt x="12574" y="5518"/>
                      </a:lnTo>
                      <a:lnTo>
                        <a:pt x="12383" y="5433"/>
                      </a:lnTo>
                      <a:lnTo>
                        <a:pt x="11812" y="5433"/>
                      </a:lnTo>
                      <a:lnTo>
                        <a:pt x="11621" y="5348"/>
                      </a:lnTo>
                      <a:lnTo>
                        <a:pt x="11240" y="5178"/>
                      </a:lnTo>
                      <a:lnTo>
                        <a:pt x="11240" y="5093"/>
                      </a:lnTo>
                      <a:lnTo>
                        <a:pt x="11621" y="5009"/>
                      </a:lnTo>
                      <a:lnTo>
                        <a:pt x="11621" y="4839"/>
                      </a:lnTo>
                      <a:lnTo>
                        <a:pt x="11621" y="4584"/>
                      </a:lnTo>
                      <a:lnTo>
                        <a:pt x="11812" y="4414"/>
                      </a:lnTo>
                      <a:lnTo>
                        <a:pt x="11812" y="4329"/>
                      </a:lnTo>
                      <a:lnTo>
                        <a:pt x="12193" y="4075"/>
                      </a:lnTo>
                      <a:lnTo>
                        <a:pt x="12383" y="4075"/>
                      </a:lnTo>
                      <a:lnTo>
                        <a:pt x="12955" y="3905"/>
                      </a:lnTo>
                      <a:lnTo>
                        <a:pt x="13145" y="3735"/>
                      </a:lnTo>
                      <a:lnTo>
                        <a:pt x="13145" y="3311"/>
                      </a:lnTo>
                      <a:lnTo>
                        <a:pt x="13336" y="3056"/>
                      </a:lnTo>
                      <a:lnTo>
                        <a:pt x="13336" y="2886"/>
                      </a:lnTo>
                      <a:lnTo>
                        <a:pt x="13526" y="2717"/>
                      </a:lnTo>
                      <a:lnTo>
                        <a:pt x="13717" y="2547"/>
                      </a:lnTo>
                      <a:lnTo>
                        <a:pt x="13907" y="2207"/>
                      </a:lnTo>
                      <a:lnTo>
                        <a:pt x="14098" y="2122"/>
                      </a:lnTo>
                      <a:lnTo>
                        <a:pt x="14288" y="2122"/>
                      </a:lnTo>
                      <a:lnTo>
                        <a:pt x="14098" y="1528"/>
                      </a:lnTo>
                      <a:lnTo>
                        <a:pt x="10288" y="934"/>
                      </a:lnTo>
                      <a:lnTo>
                        <a:pt x="9716" y="849"/>
                      </a:lnTo>
                      <a:lnTo>
                        <a:pt x="8001" y="679"/>
                      </a:lnTo>
                      <a:lnTo>
                        <a:pt x="3620" y="0"/>
                      </a:lnTo>
                      <a:lnTo>
                        <a:pt x="3239" y="255"/>
                      </a:lnTo>
                      <a:lnTo>
                        <a:pt x="2858" y="424"/>
                      </a:lnTo>
                      <a:lnTo>
                        <a:pt x="2477" y="764"/>
                      </a:lnTo>
                      <a:lnTo>
                        <a:pt x="2477" y="1019"/>
                      </a:lnTo>
                      <a:lnTo>
                        <a:pt x="2286" y="1358"/>
                      </a:lnTo>
                      <a:lnTo>
                        <a:pt x="2096" y="1698"/>
                      </a:lnTo>
                      <a:lnTo>
                        <a:pt x="1905" y="1868"/>
                      </a:lnTo>
                      <a:lnTo>
                        <a:pt x="1524" y="2037"/>
                      </a:lnTo>
                      <a:lnTo>
                        <a:pt x="1524" y="2122"/>
                      </a:lnTo>
                      <a:lnTo>
                        <a:pt x="1334" y="2377"/>
                      </a:lnTo>
                      <a:lnTo>
                        <a:pt x="762" y="2632"/>
                      </a:lnTo>
                      <a:lnTo>
                        <a:pt x="381" y="2886"/>
                      </a:lnTo>
                      <a:lnTo>
                        <a:pt x="381" y="2971"/>
                      </a:lnTo>
                      <a:lnTo>
                        <a:pt x="381" y="3141"/>
                      </a:lnTo>
                      <a:lnTo>
                        <a:pt x="572" y="3226"/>
                      </a:lnTo>
                      <a:lnTo>
                        <a:pt x="953" y="3311"/>
                      </a:lnTo>
                      <a:lnTo>
                        <a:pt x="1334" y="3481"/>
                      </a:lnTo>
                      <a:lnTo>
                        <a:pt x="1334" y="3735"/>
                      </a:lnTo>
                      <a:lnTo>
                        <a:pt x="1143" y="3820"/>
                      </a:lnTo>
                      <a:lnTo>
                        <a:pt x="1143" y="4245"/>
                      </a:lnTo>
                      <a:lnTo>
                        <a:pt x="953" y="4329"/>
                      </a:lnTo>
                      <a:lnTo>
                        <a:pt x="572" y="4414"/>
                      </a:lnTo>
                      <a:lnTo>
                        <a:pt x="381" y="4584"/>
                      </a:lnTo>
                      <a:lnTo>
                        <a:pt x="381" y="4924"/>
                      </a:lnTo>
                      <a:lnTo>
                        <a:pt x="762" y="5009"/>
                      </a:lnTo>
                      <a:lnTo>
                        <a:pt x="572" y="5263"/>
                      </a:lnTo>
                      <a:lnTo>
                        <a:pt x="572" y="5518"/>
                      </a:lnTo>
                      <a:lnTo>
                        <a:pt x="762" y="5603"/>
                      </a:lnTo>
                      <a:lnTo>
                        <a:pt x="1143" y="5773"/>
                      </a:lnTo>
                      <a:lnTo>
                        <a:pt x="1524" y="5688"/>
                      </a:lnTo>
                      <a:lnTo>
                        <a:pt x="1715" y="5688"/>
                      </a:lnTo>
                      <a:lnTo>
                        <a:pt x="2286" y="5688"/>
                      </a:lnTo>
                      <a:lnTo>
                        <a:pt x="2477" y="5773"/>
                      </a:lnTo>
                      <a:lnTo>
                        <a:pt x="2667" y="6282"/>
                      </a:lnTo>
                      <a:lnTo>
                        <a:pt x="2858" y="6452"/>
                      </a:lnTo>
                      <a:lnTo>
                        <a:pt x="3048" y="6537"/>
                      </a:lnTo>
                      <a:lnTo>
                        <a:pt x="3429" y="6622"/>
                      </a:lnTo>
                      <a:lnTo>
                        <a:pt x="4001" y="6622"/>
                      </a:lnTo>
                      <a:lnTo>
                        <a:pt x="4572" y="6876"/>
                      </a:lnTo>
                      <a:lnTo>
                        <a:pt x="4763" y="7046"/>
                      </a:lnTo>
                      <a:lnTo>
                        <a:pt x="5144" y="7131"/>
                      </a:lnTo>
                      <a:lnTo>
                        <a:pt x="5334" y="7131"/>
                      </a:lnTo>
                      <a:lnTo>
                        <a:pt x="5715" y="7301"/>
                      </a:lnTo>
                      <a:lnTo>
                        <a:pt x="6096" y="7386"/>
                      </a:lnTo>
                      <a:lnTo>
                        <a:pt x="6287" y="7555"/>
                      </a:lnTo>
                      <a:lnTo>
                        <a:pt x="6668" y="7555"/>
                      </a:lnTo>
                      <a:lnTo>
                        <a:pt x="7430" y="7980"/>
                      </a:lnTo>
                      <a:close/>
                    </a:path>
                  </a:pathLst>
                </a:custGeom>
                <a:solidFill>
                  <a:srgbClr val="FFFF00"/>
                </a:solidFill>
                <a:ln w="9525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defTabSz="121917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49" name="New_Mexico">
                  <a:extLst>
                    <a:ext uri="{FF2B5EF4-FFF2-40B4-BE49-F238E27FC236}">
                      <a16:creationId xmlns:a16="http://schemas.microsoft.com/office/drawing/2014/main" id="{01B6775E-303E-C44B-12D9-88521D54C1B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553325" y="9867900"/>
                  <a:ext cx="4162425" cy="4086225"/>
                </a:xfrm>
                <a:custGeom>
                  <a:avLst/>
                  <a:gdLst>
                    <a:gd name="T0" fmla="*/ 2147483647 w 16384"/>
                    <a:gd name="T1" fmla="*/ 2147483647 h 16384"/>
                    <a:gd name="T2" fmla="*/ 2147483647 w 16384"/>
                    <a:gd name="T3" fmla="*/ 2147483647 h 16384"/>
                    <a:gd name="T4" fmla="*/ 2147483647 w 16384"/>
                    <a:gd name="T5" fmla="*/ 2147483647 h 16384"/>
                    <a:gd name="T6" fmla="*/ 2147483647 w 16384"/>
                    <a:gd name="T7" fmla="*/ 2147483647 h 16384"/>
                    <a:gd name="T8" fmla="*/ 2147483647 w 16384"/>
                    <a:gd name="T9" fmla="*/ 2147483647 h 16384"/>
                    <a:gd name="T10" fmla="*/ 2147483647 w 16384"/>
                    <a:gd name="T11" fmla="*/ 2147483647 h 16384"/>
                    <a:gd name="T12" fmla="*/ 2147483647 w 16384"/>
                    <a:gd name="T13" fmla="*/ 2147483647 h 16384"/>
                    <a:gd name="T14" fmla="*/ 2147483647 w 16384"/>
                    <a:gd name="T15" fmla="*/ 2147483647 h 16384"/>
                    <a:gd name="T16" fmla="*/ 2147483647 w 16384"/>
                    <a:gd name="T17" fmla="*/ 2147483647 h 16384"/>
                    <a:gd name="T18" fmla="*/ 2147483647 w 16384"/>
                    <a:gd name="T19" fmla="*/ 2147483647 h 16384"/>
                    <a:gd name="T20" fmla="*/ 2147483647 w 16384"/>
                    <a:gd name="T21" fmla="*/ 2147483647 h 16384"/>
                    <a:gd name="T22" fmla="*/ 2147483647 w 16384"/>
                    <a:gd name="T23" fmla="*/ 2147483647 h 16384"/>
                    <a:gd name="T24" fmla="*/ 2147483647 w 16384"/>
                    <a:gd name="T25" fmla="*/ 2147483647 h 16384"/>
                    <a:gd name="T26" fmla="*/ 2147483647 w 16384"/>
                    <a:gd name="T27" fmla="*/ 2147483647 h 16384"/>
                    <a:gd name="T28" fmla="*/ 2147483647 w 16384"/>
                    <a:gd name="T29" fmla="*/ 2147483647 h 16384"/>
                    <a:gd name="T30" fmla="*/ 2147483647 w 16384"/>
                    <a:gd name="T31" fmla="*/ 2147483647 h 16384"/>
                    <a:gd name="T32" fmla="*/ 2147483647 w 16384"/>
                    <a:gd name="T33" fmla="*/ 2147483647 h 16384"/>
                    <a:gd name="T34" fmla="*/ 2147483647 w 16384"/>
                    <a:gd name="T35" fmla="*/ 2147483647 h 16384"/>
                    <a:gd name="T36" fmla="*/ 2147483647 w 16384"/>
                    <a:gd name="T37" fmla="*/ 2147483647 h 16384"/>
                    <a:gd name="T38" fmla="*/ 2147483647 w 16384"/>
                    <a:gd name="T39" fmla="*/ 2147483647 h 16384"/>
                    <a:gd name="T40" fmla="*/ 2147483647 w 16384"/>
                    <a:gd name="T41" fmla="*/ 2147483647 h 16384"/>
                    <a:gd name="T42" fmla="*/ 2147483647 w 16384"/>
                    <a:gd name="T43" fmla="*/ 2147483647 h 16384"/>
                    <a:gd name="T44" fmla="*/ 2147483647 w 16384"/>
                    <a:gd name="T45" fmla="*/ 2147483647 h 16384"/>
                    <a:gd name="T46" fmla="*/ 2147483647 w 16384"/>
                    <a:gd name="T47" fmla="*/ 2147483647 h 16384"/>
                    <a:gd name="T48" fmla="*/ 2147483647 w 16384"/>
                    <a:gd name="T49" fmla="*/ 2147483647 h 16384"/>
                    <a:gd name="T50" fmla="*/ 2147483647 w 16384"/>
                    <a:gd name="T51" fmla="*/ 0 h 16384"/>
                    <a:gd name="T52" fmla="*/ 2147483647 w 16384"/>
                    <a:gd name="T53" fmla="*/ 2147483647 h 16384"/>
                    <a:gd name="T54" fmla="*/ 2147483647 w 16384"/>
                    <a:gd name="T55" fmla="*/ 2147483647 h 16384"/>
                    <a:gd name="T56" fmla="*/ 2147483647 w 16384"/>
                    <a:gd name="T57" fmla="*/ 2147483647 h 16384"/>
                    <a:gd name="T58" fmla="*/ 0 w 16384"/>
                    <a:gd name="T59" fmla="*/ 2147483647 h 16384"/>
                    <a:gd name="T60" fmla="*/ 2147483647 w 16384"/>
                    <a:gd name="T61" fmla="*/ 2147483647 h 16384"/>
                    <a:gd name="T62" fmla="*/ 2147483647 w 16384"/>
                    <a:gd name="T63" fmla="*/ 2147483647 h 16384"/>
                    <a:gd name="T64" fmla="*/ 2147483647 w 16384"/>
                    <a:gd name="T65" fmla="*/ 2147483647 h 16384"/>
                    <a:gd name="T66" fmla="*/ 2147483647 w 16384"/>
                    <a:gd name="T67" fmla="*/ 2147483647 h 16384"/>
                    <a:gd name="T68" fmla="*/ 2147483647 w 16384"/>
                    <a:gd name="T69" fmla="*/ 2147483647 h 16384"/>
                    <a:gd name="T70" fmla="*/ 2147483647 w 16384"/>
                    <a:gd name="T71" fmla="*/ 2147483647 h 16384"/>
                    <a:gd name="T72" fmla="*/ 2147483647 w 16384"/>
                    <a:gd name="T73" fmla="*/ 2147483647 h 16384"/>
                    <a:gd name="T74" fmla="*/ 2147483647 w 16384"/>
                    <a:gd name="T75" fmla="*/ 2147483647 h 16384"/>
                    <a:gd name="T76" fmla="*/ 2147483647 w 16384"/>
                    <a:gd name="T77" fmla="*/ 2147483647 h 16384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w 16384"/>
                    <a:gd name="T118" fmla="*/ 0 h 16384"/>
                    <a:gd name="T119" fmla="*/ 16384 w 16384"/>
                    <a:gd name="T120" fmla="*/ 16384 h 16384"/>
                  </a:gdLst>
                  <a:ahLst/>
                  <a:cxnLst>
                    <a:cxn ang="T78">
                      <a:pos x="T0" y="T1"/>
                    </a:cxn>
                    <a:cxn ang="T79">
                      <a:pos x="T2" y="T3"/>
                    </a:cxn>
                    <a:cxn ang="T80">
                      <a:pos x="T4" y="T5"/>
                    </a:cxn>
                    <a:cxn ang="T81">
                      <a:pos x="T6" y="T7"/>
                    </a:cxn>
                    <a:cxn ang="T82">
                      <a:pos x="T8" y="T9"/>
                    </a:cxn>
                    <a:cxn ang="T83">
                      <a:pos x="T10" y="T11"/>
                    </a:cxn>
                    <a:cxn ang="T84">
                      <a:pos x="T12" y="T13"/>
                    </a:cxn>
                    <a:cxn ang="T85">
                      <a:pos x="T14" y="T15"/>
                    </a:cxn>
                    <a:cxn ang="T86">
                      <a:pos x="T16" y="T17"/>
                    </a:cxn>
                    <a:cxn ang="T87">
                      <a:pos x="T18" y="T19"/>
                    </a:cxn>
                    <a:cxn ang="T88">
                      <a:pos x="T20" y="T21"/>
                    </a:cxn>
                    <a:cxn ang="T89">
                      <a:pos x="T22" y="T23"/>
                    </a:cxn>
                    <a:cxn ang="T90">
                      <a:pos x="T24" y="T25"/>
                    </a:cxn>
                    <a:cxn ang="T91">
                      <a:pos x="T26" y="T27"/>
                    </a:cxn>
                    <a:cxn ang="T92">
                      <a:pos x="T28" y="T29"/>
                    </a:cxn>
                    <a:cxn ang="T93">
                      <a:pos x="T30" y="T31"/>
                    </a:cxn>
                    <a:cxn ang="T94">
                      <a:pos x="T32" y="T33"/>
                    </a:cxn>
                    <a:cxn ang="T95">
                      <a:pos x="T34" y="T35"/>
                    </a:cxn>
                    <a:cxn ang="T96">
                      <a:pos x="T36" y="T37"/>
                    </a:cxn>
                    <a:cxn ang="T97">
                      <a:pos x="T38" y="T39"/>
                    </a:cxn>
                    <a:cxn ang="T98">
                      <a:pos x="T40" y="T41"/>
                    </a:cxn>
                    <a:cxn ang="T99">
                      <a:pos x="T42" y="T43"/>
                    </a:cxn>
                    <a:cxn ang="T100">
                      <a:pos x="T44" y="T45"/>
                    </a:cxn>
                    <a:cxn ang="T101">
                      <a:pos x="T46" y="T47"/>
                    </a:cxn>
                    <a:cxn ang="T102">
                      <a:pos x="T48" y="T49"/>
                    </a:cxn>
                    <a:cxn ang="T103">
                      <a:pos x="T50" y="T51"/>
                    </a:cxn>
                    <a:cxn ang="T104">
                      <a:pos x="T52" y="T53"/>
                    </a:cxn>
                    <a:cxn ang="T105">
                      <a:pos x="T54" y="T55"/>
                    </a:cxn>
                    <a:cxn ang="T106">
                      <a:pos x="T56" y="T57"/>
                    </a:cxn>
                    <a:cxn ang="T107">
                      <a:pos x="T58" y="T59"/>
                    </a:cxn>
                    <a:cxn ang="T108">
                      <a:pos x="T60" y="T61"/>
                    </a:cxn>
                    <a:cxn ang="T109">
                      <a:pos x="T62" y="T63"/>
                    </a:cxn>
                    <a:cxn ang="T110">
                      <a:pos x="T64" y="T65"/>
                    </a:cxn>
                    <a:cxn ang="T111">
                      <a:pos x="T66" y="T67"/>
                    </a:cxn>
                    <a:cxn ang="T112">
                      <a:pos x="T68" y="T69"/>
                    </a:cxn>
                    <a:cxn ang="T113">
                      <a:pos x="T70" y="T71"/>
                    </a:cxn>
                    <a:cxn ang="T114">
                      <a:pos x="T72" y="T73"/>
                    </a:cxn>
                    <a:cxn ang="T115">
                      <a:pos x="T74" y="T75"/>
                    </a:cxn>
                    <a:cxn ang="T116">
                      <a:pos x="T76" y="T77"/>
                    </a:cxn>
                  </a:cxnLst>
                  <a:rect l="T117" t="T118" r="T119" b="T120"/>
                  <a:pathLst>
                    <a:path w="16384" h="16384">
                      <a:moveTo>
                        <a:pt x="10690" y="15486"/>
                      </a:moveTo>
                      <a:lnTo>
                        <a:pt x="12784" y="15665"/>
                      </a:lnTo>
                      <a:lnTo>
                        <a:pt x="12894" y="15701"/>
                      </a:lnTo>
                      <a:lnTo>
                        <a:pt x="13519" y="15737"/>
                      </a:lnTo>
                      <a:lnTo>
                        <a:pt x="14400" y="15809"/>
                      </a:lnTo>
                      <a:lnTo>
                        <a:pt x="15098" y="15845"/>
                      </a:lnTo>
                      <a:lnTo>
                        <a:pt x="15135" y="15629"/>
                      </a:lnTo>
                      <a:lnTo>
                        <a:pt x="15245" y="14372"/>
                      </a:lnTo>
                      <a:lnTo>
                        <a:pt x="15355" y="13150"/>
                      </a:lnTo>
                      <a:lnTo>
                        <a:pt x="15466" y="11893"/>
                      </a:lnTo>
                      <a:lnTo>
                        <a:pt x="15502" y="11390"/>
                      </a:lnTo>
                      <a:lnTo>
                        <a:pt x="15576" y="10635"/>
                      </a:lnTo>
                      <a:lnTo>
                        <a:pt x="15686" y="9270"/>
                      </a:lnTo>
                      <a:lnTo>
                        <a:pt x="15686" y="9198"/>
                      </a:lnTo>
                      <a:lnTo>
                        <a:pt x="15796" y="8012"/>
                      </a:lnTo>
                      <a:lnTo>
                        <a:pt x="15833" y="7402"/>
                      </a:lnTo>
                      <a:lnTo>
                        <a:pt x="15906" y="6755"/>
                      </a:lnTo>
                      <a:lnTo>
                        <a:pt x="16017" y="5497"/>
                      </a:lnTo>
                      <a:lnTo>
                        <a:pt x="16017" y="5138"/>
                      </a:lnTo>
                      <a:lnTo>
                        <a:pt x="16090" y="4240"/>
                      </a:lnTo>
                      <a:lnTo>
                        <a:pt x="16200" y="2982"/>
                      </a:lnTo>
                      <a:lnTo>
                        <a:pt x="16274" y="2982"/>
                      </a:lnTo>
                      <a:lnTo>
                        <a:pt x="16384" y="1509"/>
                      </a:lnTo>
                      <a:lnTo>
                        <a:pt x="16237" y="1509"/>
                      </a:lnTo>
                      <a:lnTo>
                        <a:pt x="16017" y="1509"/>
                      </a:lnTo>
                      <a:lnTo>
                        <a:pt x="15502" y="1437"/>
                      </a:lnTo>
                      <a:lnTo>
                        <a:pt x="14915" y="1401"/>
                      </a:lnTo>
                      <a:lnTo>
                        <a:pt x="14364" y="1365"/>
                      </a:lnTo>
                      <a:lnTo>
                        <a:pt x="14033" y="1329"/>
                      </a:lnTo>
                      <a:lnTo>
                        <a:pt x="13813" y="1329"/>
                      </a:lnTo>
                      <a:lnTo>
                        <a:pt x="13151" y="1258"/>
                      </a:lnTo>
                      <a:lnTo>
                        <a:pt x="12233" y="1186"/>
                      </a:lnTo>
                      <a:lnTo>
                        <a:pt x="11498" y="1114"/>
                      </a:lnTo>
                      <a:lnTo>
                        <a:pt x="11204" y="1078"/>
                      </a:lnTo>
                      <a:lnTo>
                        <a:pt x="10837" y="1078"/>
                      </a:lnTo>
                      <a:lnTo>
                        <a:pt x="10359" y="1006"/>
                      </a:lnTo>
                      <a:lnTo>
                        <a:pt x="10066" y="970"/>
                      </a:lnTo>
                      <a:lnTo>
                        <a:pt x="9404" y="898"/>
                      </a:lnTo>
                      <a:lnTo>
                        <a:pt x="8302" y="790"/>
                      </a:lnTo>
                      <a:lnTo>
                        <a:pt x="8008" y="755"/>
                      </a:lnTo>
                      <a:lnTo>
                        <a:pt x="7310" y="647"/>
                      </a:lnTo>
                      <a:lnTo>
                        <a:pt x="6429" y="539"/>
                      </a:lnTo>
                      <a:lnTo>
                        <a:pt x="6061" y="503"/>
                      </a:lnTo>
                      <a:lnTo>
                        <a:pt x="6025" y="503"/>
                      </a:lnTo>
                      <a:lnTo>
                        <a:pt x="5804" y="467"/>
                      </a:lnTo>
                      <a:lnTo>
                        <a:pt x="4959" y="359"/>
                      </a:lnTo>
                      <a:lnTo>
                        <a:pt x="4151" y="252"/>
                      </a:lnTo>
                      <a:lnTo>
                        <a:pt x="3857" y="216"/>
                      </a:lnTo>
                      <a:lnTo>
                        <a:pt x="3637" y="180"/>
                      </a:lnTo>
                      <a:lnTo>
                        <a:pt x="3159" y="144"/>
                      </a:lnTo>
                      <a:lnTo>
                        <a:pt x="2645" y="72"/>
                      </a:lnTo>
                      <a:lnTo>
                        <a:pt x="2351" y="0"/>
                      </a:lnTo>
                      <a:lnTo>
                        <a:pt x="1947" y="2874"/>
                      </a:lnTo>
                      <a:lnTo>
                        <a:pt x="1506" y="5857"/>
                      </a:lnTo>
                      <a:lnTo>
                        <a:pt x="1322" y="6934"/>
                      </a:lnTo>
                      <a:lnTo>
                        <a:pt x="992" y="9234"/>
                      </a:lnTo>
                      <a:lnTo>
                        <a:pt x="771" y="10851"/>
                      </a:lnTo>
                      <a:lnTo>
                        <a:pt x="588" y="12036"/>
                      </a:lnTo>
                      <a:lnTo>
                        <a:pt x="441" y="13043"/>
                      </a:lnTo>
                      <a:lnTo>
                        <a:pt x="0" y="16097"/>
                      </a:lnTo>
                      <a:lnTo>
                        <a:pt x="404" y="16168"/>
                      </a:lnTo>
                      <a:lnTo>
                        <a:pt x="1359" y="16312"/>
                      </a:lnTo>
                      <a:lnTo>
                        <a:pt x="2057" y="16384"/>
                      </a:lnTo>
                      <a:lnTo>
                        <a:pt x="2204" y="15486"/>
                      </a:lnTo>
                      <a:lnTo>
                        <a:pt x="2278" y="15162"/>
                      </a:lnTo>
                      <a:lnTo>
                        <a:pt x="4518" y="15414"/>
                      </a:lnTo>
                      <a:lnTo>
                        <a:pt x="6392" y="15665"/>
                      </a:lnTo>
                      <a:lnTo>
                        <a:pt x="6282" y="15522"/>
                      </a:lnTo>
                      <a:lnTo>
                        <a:pt x="6208" y="15378"/>
                      </a:lnTo>
                      <a:lnTo>
                        <a:pt x="6208" y="15270"/>
                      </a:lnTo>
                      <a:lnTo>
                        <a:pt x="6245" y="15162"/>
                      </a:lnTo>
                      <a:lnTo>
                        <a:pt x="6208" y="15055"/>
                      </a:lnTo>
                      <a:lnTo>
                        <a:pt x="6282" y="15019"/>
                      </a:lnTo>
                      <a:lnTo>
                        <a:pt x="6686" y="15091"/>
                      </a:lnTo>
                      <a:lnTo>
                        <a:pt x="6870" y="15126"/>
                      </a:lnTo>
                      <a:lnTo>
                        <a:pt x="7825" y="15198"/>
                      </a:lnTo>
                      <a:lnTo>
                        <a:pt x="10543" y="15486"/>
                      </a:lnTo>
                      <a:lnTo>
                        <a:pt x="10690" y="15486"/>
                      </a:lnTo>
                      <a:close/>
                    </a:path>
                  </a:pathLst>
                </a:custGeom>
                <a:solidFill>
                  <a:srgbClr val="FFFF00"/>
                </a:solidFill>
                <a:ln w="9525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defTabSz="121917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</a:endParaRPr>
                </a:p>
              </p:txBody>
            </p:sp>
            <p:grpSp>
              <p:nvGrpSpPr>
                <p:cNvPr id="50" name="New_York">
                  <a:extLst>
                    <a:ext uri="{FF2B5EF4-FFF2-40B4-BE49-F238E27FC236}">
                      <a16:creationId xmlns:a16="http://schemas.microsoft.com/office/drawing/2014/main" id="{757D5338-C9D9-0750-4CAA-6D1FBD2593DD}"/>
                    </a:ext>
                  </a:extLst>
                </p:cNvPr>
                <p:cNvGrpSpPr>
                  <a:grpSpLocks/>
                </p:cNvGrpSpPr>
                <p:nvPr/>
              </p:nvGrpSpPr>
              <p:grpSpPr bwMode="auto">
                <a:xfrm>
                  <a:off x="24831675" y="3302651"/>
                  <a:ext cx="4486287" cy="3257563"/>
                  <a:chOff x="24831675" y="3302651"/>
                  <a:chExt cx="20202" cy="182"/>
                </a:xfrm>
              </p:grpSpPr>
              <p:sp>
                <p:nvSpPr>
                  <p:cNvPr id="148" name="ny2">
                    <a:extLst>
                      <a:ext uri="{FF2B5EF4-FFF2-40B4-BE49-F238E27FC236}">
                        <a16:creationId xmlns:a16="http://schemas.microsoft.com/office/drawing/2014/main" id="{B2D33776-B742-0AA5-C76B-617D454D80A8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24846837" y="3302817"/>
                    <a:ext cx="168" cy="6"/>
                  </a:xfrm>
                  <a:custGeom>
                    <a:avLst/>
                    <a:gdLst>
                      <a:gd name="T0" fmla="*/ 0 w 16384"/>
                      <a:gd name="T1" fmla="*/ 0 h 16384"/>
                      <a:gd name="T2" fmla="*/ 0 w 16384"/>
                      <a:gd name="T3" fmla="*/ 0 h 16384"/>
                      <a:gd name="T4" fmla="*/ 0 w 16384"/>
                      <a:gd name="T5" fmla="*/ 0 h 16384"/>
                      <a:gd name="T6" fmla="*/ 0 w 16384"/>
                      <a:gd name="T7" fmla="*/ 0 h 16384"/>
                      <a:gd name="T8" fmla="*/ 0 w 16384"/>
                      <a:gd name="T9" fmla="*/ 0 h 16384"/>
                      <a:gd name="T10" fmla="*/ 0 w 16384"/>
                      <a:gd name="T11" fmla="*/ 0 h 16384"/>
                      <a:gd name="T12" fmla="*/ 0 w 16384"/>
                      <a:gd name="T13" fmla="*/ 0 h 16384"/>
                      <a:gd name="T14" fmla="*/ 0 w 16384"/>
                      <a:gd name="T15" fmla="*/ 0 h 16384"/>
                      <a:gd name="T16" fmla="*/ 0 w 16384"/>
                      <a:gd name="T17" fmla="*/ 0 h 16384"/>
                      <a:gd name="T18" fmla="*/ 0 w 16384"/>
                      <a:gd name="T19" fmla="*/ 0 h 16384"/>
                      <a:gd name="T20" fmla="*/ 0 w 16384"/>
                      <a:gd name="T21" fmla="*/ 0 h 16384"/>
                      <a:gd name="T22" fmla="*/ 0 w 16384"/>
                      <a:gd name="T23" fmla="*/ 0 h 16384"/>
                      <a:gd name="T24" fmla="*/ 0 w 16384"/>
                      <a:gd name="T25" fmla="*/ 0 h 16384"/>
                      <a:gd name="T26" fmla="*/ 0 w 16384"/>
                      <a:gd name="T27" fmla="*/ 0 h 16384"/>
                      <a:gd name="T28" fmla="*/ 0 w 16384"/>
                      <a:gd name="T29" fmla="*/ 0 h 16384"/>
                      <a:gd name="T30" fmla="*/ 0 w 16384"/>
                      <a:gd name="T31" fmla="*/ 0 h 16384"/>
                      <a:gd name="T32" fmla="*/ 0 60000 65536"/>
                      <a:gd name="T33" fmla="*/ 0 60000 65536"/>
                      <a:gd name="T34" fmla="*/ 0 60000 65536"/>
                      <a:gd name="T35" fmla="*/ 0 60000 65536"/>
                      <a:gd name="T36" fmla="*/ 0 60000 65536"/>
                      <a:gd name="T37" fmla="*/ 0 60000 65536"/>
                      <a:gd name="T38" fmla="*/ 0 60000 65536"/>
                      <a:gd name="T39" fmla="*/ 0 60000 65536"/>
                      <a:gd name="T40" fmla="*/ 0 60000 65536"/>
                      <a:gd name="T41" fmla="*/ 0 60000 65536"/>
                      <a:gd name="T42" fmla="*/ 0 60000 65536"/>
                      <a:gd name="T43" fmla="*/ 0 60000 65536"/>
                      <a:gd name="T44" fmla="*/ 0 60000 65536"/>
                      <a:gd name="T45" fmla="*/ 0 60000 65536"/>
                      <a:gd name="T46" fmla="*/ 0 60000 65536"/>
                      <a:gd name="T47" fmla="*/ 0 60000 65536"/>
                      <a:gd name="T48" fmla="*/ 0 w 16384"/>
                      <a:gd name="T49" fmla="*/ 0 h 16384"/>
                      <a:gd name="T50" fmla="*/ 16384 w 16384"/>
                      <a:gd name="T51" fmla="*/ 16384 h 16384"/>
                    </a:gdLst>
                    <a:ahLst/>
                    <a:cxnLst>
                      <a:cxn ang="T32">
                        <a:pos x="T0" y="T1"/>
                      </a:cxn>
                      <a:cxn ang="T33">
                        <a:pos x="T2" y="T3"/>
                      </a:cxn>
                      <a:cxn ang="T34">
                        <a:pos x="T4" y="T5"/>
                      </a:cxn>
                      <a:cxn ang="T35">
                        <a:pos x="T6" y="T7"/>
                      </a:cxn>
                      <a:cxn ang="T36">
                        <a:pos x="T8" y="T9"/>
                      </a:cxn>
                      <a:cxn ang="T37">
                        <a:pos x="T10" y="T11"/>
                      </a:cxn>
                      <a:cxn ang="T38">
                        <a:pos x="T12" y="T13"/>
                      </a:cxn>
                      <a:cxn ang="T39">
                        <a:pos x="T14" y="T15"/>
                      </a:cxn>
                      <a:cxn ang="T40">
                        <a:pos x="T16" y="T17"/>
                      </a:cxn>
                      <a:cxn ang="T41">
                        <a:pos x="T18" y="T19"/>
                      </a:cxn>
                      <a:cxn ang="T42">
                        <a:pos x="T20" y="T21"/>
                      </a:cxn>
                      <a:cxn ang="T43">
                        <a:pos x="T22" y="T23"/>
                      </a:cxn>
                      <a:cxn ang="T44">
                        <a:pos x="T24" y="T25"/>
                      </a:cxn>
                      <a:cxn ang="T45">
                        <a:pos x="T26" y="T27"/>
                      </a:cxn>
                      <a:cxn ang="T46">
                        <a:pos x="T28" y="T29"/>
                      </a:cxn>
                      <a:cxn ang="T47">
                        <a:pos x="T30" y="T31"/>
                      </a:cxn>
                    </a:cxnLst>
                    <a:rect l="T48" t="T49" r="T50" b="T51"/>
                    <a:pathLst>
                      <a:path w="16384" h="16384">
                        <a:moveTo>
                          <a:pt x="12288" y="12288"/>
                        </a:moveTo>
                        <a:lnTo>
                          <a:pt x="12288" y="13653"/>
                        </a:lnTo>
                        <a:lnTo>
                          <a:pt x="8192" y="15019"/>
                        </a:lnTo>
                        <a:lnTo>
                          <a:pt x="4096" y="16384"/>
                        </a:lnTo>
                        <a:lnTo>
                          <a:pt x="0" y="15019"/>
                        </a:lnTo>
                        <a:lnTo>
                          <a:pt x="4096" y="9557"/>
                        </a:lnTo>
                        <a:lnTo>
                          <a:pt x="8192" y="5461"/>
                        </a:lnTo>
                        <a:lnTo>
                          <a:pt x="12288" y="1365"/>
                        </a:lnTo>
                        <a:lnTo>
                          <a:pt x="12288" y="0"/>
                        </a:lnTo>
                        <a:lnTo>
                          <a:pt x="16384" y="1365"/>
                        </a:lnTo>
                        <a:lnTo>
                          <a:pt x="16384" y="2731"/>
                        </a:lnTo>
                        <a:lnTo>
                          <a:pt x="16384" y="4096"/>
                        </a:lnTo>
                        <a:lnTo>
                          <a:pt x="16384" y="5461"/>
                        </a:lnTo>
                        <a:lnTo>
                          <a:pt x="16384" y="6827"/>
                        </a:lnTo>
                        <a:lnTo>
                          <a:pt x="16384" y="9557"/>
                        </a:lnTo>
                        <a:lnTo>
                          <a:pt x="12288" y="12288"/>
                        </a:lnTo>
                        <a:close/>
                      </a:path>
                    </a:pathLst>
                  </a:custGeom>
                  <a:solidFill>
                    <a:srgbClr val="CCFFFF"/>
                  </a:solidFill>
                  <a:ln w="952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marL="0" marR="0" lvl="0" indent="0" defTabSz="121917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149" name="ny1">
                    <a:extLst>
                      <a:ext uri="{FF2B5EF4-FFF2-40B4-BE49-F238E27FC236}">
                        <a16:creationId xmlns:a16="http://schemas.microsoft.com/office/drawing/2014/main" id="{4EE2342C-3E83-826B-473E-7608AB81444F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24846333" y="3302825"/>
                    <a:ext cx="504" cy="8"/>
                  </a:xfrm>
                  <a:custGeom>
                    <a:avLst/>
                    <a:gdLst>
                      <a:gd name="T0" fmla="*/ 0 w 16384"/>
                      <a:gd name="T1" fmla="*/ 0 h 16384"/>
                      <a:gd name="T2" fmla="*/ 0 w 16384"/>
                      <a:gd name="T3" fmla="*/ 0 h 16384"/>
                      <a:gd name="T4" fmla="*/ 0 w 16384"/>
                      <a:gd name="T5" fmla="*/ 0 h 16384"/>
                      <a:gd name="T6" fmla="*/ 0 w 16384"/>
                      <a:gd name="T7" fmla="*/ 0 h 16384"/>
                      <a:gd name="T8" fmla="*/ 0 w 16384"/>
                      <a:gd name="T9" fmla="*/ 0 h 16384"/>
                      <a:gd name="T10" fmla="*/ 0 w 16384"/>
                      <a:gd name="T11" fmla="*/ 0 h 16384"/>
                      <a:gd name="T12" fmla="*/ 0 w 16384"/>
                      <a:gd name="T13" fmla="*/ 0 h 16384"/>
                      <a:gd name="T14" fmla="*/ 0 w 16384"/>
                      <a:gd name="T15" fmla="*/ 0 h 16384"/>
                      <a:gd name="T16" fmla="*/ 0 w 16384"/>
                      <a:gd name="T17" fmla="*/ 0 h 16384"/>
                      <a:gd name="T18" fmla="*/ 0 w 16384"/>
                      <a:gd name="T19" fmla="*/ 0 h 16384"/>
                      <a:gd name="T20" fmla="*/ 0 w 16384"/>
                      <a:gd name="T21" fmla="*/ 0 h 16384"/>
                      <a:gd name="T22" fmla="*/ 0 w 16384"/>
                      <a:gd name="T23" fmla="*/ 0 h 16384"/>
                      <a:gd name="T24" fmla="*/ 0 w 16384"/>
                      <a:gd name="T25" fmla="*/ 0 h 16384"/>
                      <a:gd name="T26" fmla="*/ 0 w 16384"/>
                      <a:gd name="T27" fmla="*/ 0 h 16384"/>
                      <a:gd name="T28" fmla="*/ 0 w 16384"/>
                      <a:gd name="T29" fmla="*/ 0 h 16384"/>
                      <a:gd name="T30" fmla="*/ 0 w 16384"/>
                      <a:gd name="T31" fmla="*/ 0 h 16384"/>
                      <a:gd name="T32" fmla="*/ 0 w 16384"/>
                      <a:gd name="T33" fmla="*/ 0 h 16384"/>
                      <a:gd name="T34" fmla="*/ 0 w 16384"/>
                      <a:gd name="T35" fmla="*/ 0 h 16384"/>
                      <a:gd name="T36" fmla="*/ 0 60000 65536"/>
                      <a:gd name="T37" fmla="*/ 0 60000 65536"/>
                      <a:gd name="T38" fmla="*/ 0 60000 65536"/>
                      <a:gd name="T39" fmla="*/ 0 60000 65536"/>
                      <a:gd name="T40" fmla="*/ 0 60000 65536"/>
                      <a:gd name="T41" fmla="*/ 0 60000 65536"/>
                      <a:gd name="T42" fmla="*/ 0 60000 65536"/>
                      <a:gd name="T43" fmla="*/ 0 60000 65536"/>
                      <a:gd name="T44" fmla="*/ 0 60000 65536"/>
                      <a:gd name="T45" fmla="*/ 0 60000 65536"/>
                      <a:gd name="T46" fmla="*/ 0 60000 65536"/>
                      <a:gd name="T47" fmla="*/ 0 60000 65536"/>
                      <a:gd name="T48" fmla="*/ 0 60000 65536"/>
                      <a:gd name="T49" fmla="*/ 0 60000 65536"/>
                      <a:gd name="T50" fmla="*/ 0 60000 65536"/>
                      <a:gd name="T51" fmla="*/ 0 60000 65536"/>
                      <a:gd name="T52" fmla="*/ 0 60000 65536"/>
                      <a:gd name="T53" fmla="*/ 0 60000 65536"/>
                      <a:gd name="T54" fmla="*/ 0 w 16384"/>
                      <a:gd name="T55" fmla="*/ 0 h 16384"/>
                      <a:gd name="T56" fmla="*/ 16384 w 16384"/>
                      <a:gd name="T57" fmla="*/ 16384 h 16384"/>
                    </a:gdLst>
                    <a:ahLst/>
                    <a:cxnLst>
                      <a:cxn ang="T36">
                        <a:pos x="T0" y="T1"/>
                      </a:cxn>
                      <a:cxn ang="T37">
                        <a:pos x="T2" y="T3"/>
                      </a:cxn>
                      <a:cxn ang="T38">
                        <a:pos x="T4" y="T5"/>
                      </a:cxn>
                      <a:cxn ang="T39">
                        <a:pos x="T6" y="T7"/>
                      </a:cxn>
                      <a:cxn ang="T40">
                        <a:pos x="T8" y="T9"/>
                      </a:cxn>
                      <a:cxn ang="T41">
                        <a:pos x="T10" y="T11"/>
                      </a:cxn>
                      <a:cxn ang="T42">
                        <a:pos x="T12" y="T13"/>
                      </a:cxn>
                      <a:cxn ang="T43">
                        <a:pos x="T14" y="T15"/>
                      </a:cxn>
                      <a:cxn ang="T44">
                        <a:pos x="T16" y="T17"/>
                      </a:cxn>
                      <a:cxn ang="T45">
                        <a:pos x="T18" y="T19"/>
                      </a:cxn>
                      <a:cxn ang="T46">
                        <a:pos x="T20" y="T21"/>
                      </a:cxn>
                      <a:cxn ang="T47">
                        <a:pos x="T22" y="T23"/>
                      </a:cxn>
                      <a:cxn ang="T48">
                        <a:pos x="T24" y="T25"/>
                      </a:cxn>
                      <a:cxn ang="T49">
                        <a:pos x="T26" y="T27"/>
                      </a:cxn>
                      <a:cxn ang="T50">
                        <a:pos x="T28" y="T29"/>
                      </a:cxn>
                      <a:cxn ang="T51">
                        <a:pos x="T30" y="T31"/>
                      </a:cxn>
                      <a:cxn ang="T52">
                        <a:pos x="T32" y="T33"/>
                      </a:cxn>
                      <a:cxn ang="T53">
                        <a:pos x="T34" y="T35"/>
                      </a:cxn>
                    </a:cxnLst>
                    <a:rect l="T54" t="T55" r="T56" b="T57"/>
                    <a:pathLst>
                      <a:path w="16384" h="16384">
                        <a:moveTo>
                          <a:pt x="12288" y="0"/>
                        </a:moveTo>
                        <a:lnTo>
                          <a:pt x="16384" y="3855"/>
                        </a:lnTo>
                        <a:lnTo>
                          <a:pt x="15019" y="5783"/>
                        </a:lnTo>
                        <a:lnTo>
                          <a:pt x="12288" y="8674"/>
                        </a:lnTo>
                        <a:lnTo>
                          <a:pt x="10923" y="10601"/>
                        </a:lnTo>
                        <a:lnTo>
                          <a:pt x="9557" y="12529"/>
                        </a:lnTo>
                        <a:lnTo>
                          <a:pt x="5461" y="15420"/>
                        </a:lnTo>
                        <a:lnTo>
                          <a:pt x="2731" y="16384"/>
                        </a:lnTo>
                        <a:lnTo>
                          <a:pt x="0" y="14456"/>
                        </a:lnTo>
                        <a:lnTo>
                          <a:pt x="0" y="13493"/>
                        </a:lnTo>
                        <a:lnTo>
                          <a:pt x="2731" y="12529"/>
                        </a:lnTo>
                        <a:lnTo>
                          <a:pt x="2731" y="10601"/>
                        </a:lnTo>
                        <a:lnTo>
                          <a:pt x="2731" y="7710"/>
                        </a:lnTo>
                        <a:lnTo>
                          <a:pt x="4096" y="5783"/>
                        </a:lnTo>
                        <a:lnTo>
                          <a:pt x="4096" y="4819"/>
                        </a:lnTo>
                        <a:lnTo>
                          <a:pt x="6827" y="1928"/>
                        </a:lnTo>
                        <a:lnTo>
                          <a:pt x="8192" y="1928"/>
                        </a:lnTo>
                        <a:lnTo>
                          <a:pt x="12288" y="0"/>
                        </a:lnTo>
                        <a:close/>
                      </a:path>
                    </a:pathLst>
                  </a:custGeom>
                  <a:solidFill>
                    <a:srgbClr val="CCFFFF"/>
                  </a:solidFill>
                  <a:ln w="952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marL="0" marR="0" lvl="0" indent="0" defTabSz="121917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150" name="ny3">
                    <a:extLst>
                      <a:ext uri="{FF2B5EF4-FFF2-40B4-BE49-F238E27FC236}">
                        <a16:creationId xmlns:a16="http://schemas.microsoft.com/office/drawing/2014/main" id="{BFB85464-0F69-B711-D308-FFF807631A9A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24846921" y="3302793"/>
                    <a:ext cx="4956" cy="35"/>
                  </a:xfrm>
                  <a:custGeom>
                    <a:avLst/>
                    <a:gdLst>
                      <a:gd name="T0" fmla="*/ 0 w 16384"/>
                      <a:gd name="T1" fmla="*/ 0 h 16384"/>
                      <a:gd name="T2" fmla="*/ 0 w 16384"/>
                      <a:gd name="T3" fmla="*/ 0 h 16384"/>
                      <a:gd name="T4" fmla="*/ 0 w 16384"/>
                      <a:gd name="T5" fmla="*/ 0 h 16384"/>
                      <a:gd name="T6" fmla="*/ 0 w 16384"/>
                      <a:gd name="T7" fmla="*/ 0 h 16384"/>
                      <a:gd name="T8" fmla="*/ 0 w 16384"/>
                      <a:gd name="T9" fmla="*/ 0 h 16384"/>
                      <a:gd name="T10" fmla="*/ 0 w 16384"/>
                      <a:gd name="T11" fmla="*/ 0 h 16384"/>
                      <a:gd name="T12" fmla="*/ 0 w 16384"/>
                      <a:gd name="T13" fmla="*/ 0 h 16384"/>
                      <a:gd name="T14" fmla="*/ 0 w 16384"/>
                      <a:gd name="T15" fmla="*/ 0 h 16384"/>
                      <a:gd name="T16" fmla="*/ 0 w 16384"/>
                      <a:gd name="T17" fmla="*/ 0 h 16384"/>
                      <a:gd name="T18" fmla="*/ 0 w 16384"/>
                      <a:gd name="T19" fmla="*/ 0 h 16384"/>
                      <a:gd name="T20" fmla="*/ 0 w 16384"/>
                      <a:gd name="T21" fmla="*/ 0 h 16384"/>
                      <a:gd name="T22" fmla="*/ 0 w 16384"/>
                      <a:gd name="T23" fmla="*/ 0 h 16384"/>
                      <a:gd name="T24" fmla="*/ 0 w 16384"/>
                      <a:gd name="T25" fmla="*/ 0 h 16384"/>
                      <a:gd name="T26" fmla="*/ 0 w 16384"/>
                      <a:gd name="T27" fmla="*/ 0 h 16384"/>
                      <a:gd name="T28" fmla="*/ 0 w 16384"/>
                      <a:gd name="T29" fmla="*/ 0 h 16384"/>
                      <a:gd name="T30" fmla="*/ 0 w 16384"/>
                      <a:gd name="T31" fmla="*/ 0 h 16384"/>
                      <a:gd name="T32" fmla="*/ 0 w 16384"/>
                      <a:gd name="T33" fmla="*/ 0 h 16384"/>
                      <a:gd name="T34" fmla="*/ 0 w 16384"/>
                      <a:gd name="T35" fmla="*/ 0 h 16384"/>
                      <a:gd name="T36" fmla="*/ 0 w 16384"/>
                      <a:gd name="T37" fmla="*/ 0 h 16384"/>
                      <a:gd name="T38" fmla="*/ 0 w 16384"/>
                      <a:gd name="T39" fmla="*/ 0 h 16384"/>
                      <a:gd name="T40" fmla="*/ 0 w 16384"/>
                      <a:gd name="T41" fmla="*/ 0 h 16384"/>
                      <a:gd name="T42" fmla="*/ 0 w 16384"/>
                      <a:gd name="T43" fmla="*/ 0 h 16384"/>
                      <a:gd name="T44" fmla="*/ 0 w 16384"/>
                      <a:gd name="T45" fmla="*/ 0 h 16384"/>
                      <a:gd name="T46" fmla="*/ 0 w 16384"/>
                      <a:gd name="T47" fmla="*/ 0 h 16384"/>
                      <a:gd name="T48" fmla="*/ 0 w 16384"/>
                      <a:gd name="T49" fmla="*/ 0 h 16384"/>
                      <a:gd name="T50" fmla="*/ 0 w 16384"/>
                      <a:gd name="T51" fmla="*/ 0 h 16384"/>
                      <a:gd name="T52" fmla="*/ 0 w 16384"/>
                      <a:gd name="T53" fmla="*/ 0 h 16384"/>
                      <a:gd name="T54" fmla="*/ 0 w 16384"/>
                      <a:gd name="T55" fmla="*/ 0 h 16384"/>
                      <a:gd name="T56" fmla="*/ 0 w 16384"/>
                      <a:gd name="T57" fmla="*/ 0 h 16384"/>
                      <a:gd name="T58" fmla="*/ 0 w 16384"/>
                      <a:gd name="T59" fmla="*/ 0 h 16384"/>
                      <a:gd name="T60" fmla="*/ 0 w 16384"/>
                      <a:gd name="T61" fmla="*/ 0 h 16384"/>
                      <a:gd name="T62" fmla="*/ 0 w 16384"/>
                      <a:gd name="T63" fmla="*/ 0 h 16384"/>
                      <a:gd name="T64" fmla="*/ 0 w 16384"/>
                      <a:gd name="T65" fmla="*/ 0 h 16384"/>
                      <a:gd name="T66" fmla="*/ 0 w 16384"/>
                      <a:gd name="T67" fmla="*/ 0 h 16384"/>
                      <a:gd name="T68" fmla="*/ 0 w 16384"/>
                      <a:gd name="T69" fmla="*/ 0 h 16384"/>
                      <a:gd name="T70" fmla="*/ 0 w 16384"/>
                      <a:gd name="T71" fmla="*/ 0 h 16384"/>
                      <a:gd name="T72" fmla="*/ 0 w 16384"/>
                      <a:gd name="T73" fmla="*/ 0 h 16384"/>
                      <a:gd name="T74" fmla="*/ 0 w 16384"/>
                      <a:gd name="T75" fmla="*/ 0 h 16384"/>
                      <a:gd name="T76" fmla="*/ 0 w 16384"/>
                      <a:gd name="T77" fmla="*/ 0 h 16384"/>
                      <a:gd name="T78" fmla="*/ 0 w 16384"/>
                      <a:gd name="T79" fmla="*/ 0 h 16384"/>
                      <a:gd name="T80" fmla="*/ 0 w 16384"/>
                      <a:gd name="T81" fmla="*/ 0 h 16384"/>
                      <a:gd name="T82" fmla="*/ 0 w 16384"/>
                      <a:gd name="T83" fmla="*/ 0 h 16384"/>
                      <a:gd name="T84" fmla="*/ 0 w 16384"/>
                      <a:gd name="T85" fmla="*/ 0 h 16384"/>
                      <a:gd name="T86" fmla="*/ 0 w 16384"/>
                      <a:gd name="T87" fmla="*/ 0 h 16384"/>
                      <a:gd name="T88" fmla="*/ 0 w 16384"/>
                      <a:gd name="T89" fmla="*/ 0 h 16384"/>
                      <a:gd name="T90" fmla="*/ 0 w 16384"/>
                      <a:gd name="T91" fmla="*/ 0 h 16384"/>
                      <a:gd name="T92" fmla="*/ 0 w 16384"/>
                      <a:gd name="T93" fmla="*/ 0 h 16384"/>
                      <a:gd name="T94" fmla="*/ 0 w 16384"/>
                      <a:gd name="T95" fmla="*/ 0 h 16384"/>
                      <a:gd name="T96" fmla="*/ 0 w 16384"/>
                      <a:gd name="T97" fmla="*/ 0 h 16384"/>
                      <a:gd name="T98" fmla="*/ 0 w 16384"/>
                      <a:gd name="T99" fmla="*/ 0 h 16384"/>
                      <a:gd name="T100" fmla="*/ 0 w 16384"/>
                      <a:gd name="T101" fmla="*/ 0 h 16384"/>
                      <a:gd name="T102" fmla="*/ 0 w 16384"/>
                      <a:gd name="T103" fmla="*/ 0 h 16384"/>
                      <a:gd name="T104" fmla="*/ 0 w 16384"/>
                      <a:gd name="T105" fmla="*/ 0 h 16384"/>
                      <a:gd name="T106" fmla="*/ 0 w 16384"/>
                      <a:gd name="T107" fmla="*/ 0 h 16384"/>
                      <a:gd name="T108" fmla="*/ 0 w 16384"/>
                      <a:gd name="T109" fmla="*/ 0 h 16384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60000 65536"/>
                      <a:gd name="T130" fmla="*/ 0 60000 65536"/>
                      <a:gd name="T131" fmla="*/ 0 60000 65536"/>
                      <a:gd name="T132" fmla="*/ 0 60000 65536"/>
                      <a:gd name="T133" fmla="*/ 0 60000 65536"/>
                      <a:gd name="T134" fmla="*/ 0 60000 65536"/>
                      <a:gd name="T135" fmla="*/ 0 60000 65536"/>
                      <a:gd name="T136" fmla="*/ 0 60000 65536"/>
                      <a:gd name="T137" fmla="*/ 0 60000 65536"/>
                      <a:gd name="T138" fmla="*/ 0 60000 65536"/>
                      <a:gd name="T139" fmla="*/ 0 60000 65536"/>
                      <a:gd name="T140" fmla="*/ 0 60000 65536"/>
                      <a:gd name="T141" fmla="*/ 0 60000 65536"/>
                      <a:gd name="T142" fmla="*/ 0 60000 65536"/>
                      <a:gd name="T143" fmla="*/ 0 60000 65536"/>
                      <a:gd name="T144" fmla="*/ 0 60000 65536"/>
                      <a:gd name="T145" fmla="*/ 0 60000 65536"/>
                      <a:gd name="T146" fmla="*/ 0 60000 65536"/>
                      <a:gd name="T147" fmla="*/ 0 60000 65536"/>
                      <a:gd name="T148" fmla="*/ 0 60000 65536"/>
                      <a:gd name="T149" fmla="*/ 0 60000 65536"/>
                      <a:gd name="T150" fmla="*/ 0 60000 65536"/>
                      <a:gd name="T151" fmla="*/ 0 60000 65536"/>
                      <a:gd name="T152" fmla="*/ 0 60000 65536"/>
                      <a:gd name="T153" fmla="*/ 0 60000 65536"/>
                      <a:gd name="T154" fmla="*/ 0 60000 65536"/>
                      <a:gd name="T155" fmla="*/ 0 60000 65536"/>
                      <a:gd name="T156" fmla="*/ 0 60000 65536"/>
                      <a:gd name="T157" fmla="*/ 0 60000 65536"/>
                      <a:gd name="T158" fmla="*/ 0 60000 65536"/>
                      <a:gd name="T159" fmla="*/ 0 60000 65536"/>
                      <a:gd name="T160" fmla="*/ 0 60000 65536"/>
                      <a:gd name="T161" fmla="*/ 0 60000 65536"/>
                      <a:gd name="T162" fmla="*/ 0 60000 65536"/>
                      <a:gd name="T163" fmla="*/ 0 60000 65536"/>
                      <a:gd name="T164" fmla="*/ 0 60000 65536"/>
                      <a:gd name="T165" fmla="*/ 0 w 16384"/>
                      <a:gd name="T166" fmla="*/ 0 h 16384"/>
                      <a:gd name="T167" fmla="*/ 16384 w 16384"/>
                      <a:gd name="T168" fmla="*/ 16384 h 16384"/>
                    </a:gdLst>
                    <a:ahLst/>
                    <a:cxnLst>
                      <a:cxn ang="T110">
                        <a:pos x="T0" y="T1"/>
                      </a:cxn>
                      <a:cxn ang="T111">
                        <a:pos x="T2" y="T3"/>
                      </a:cxn>
                      <a:cxn ang="T112">
                        <a:pos x="T4" y="T5"/>
                      </a:cxn>
                      <a:cxn ang="T113">
                        <a:pos x="T6" y="T7"/>
                      </a:cxn>
                      <a:cxn ang="T114">
                        <a:pos x="T8" y="T9"/>
                      </a:cxn>
                      <a:cxn ang="T115">
                        <a:pos x="T10" y="T11"/>
                      </a:cxn>
                      <a:cxn ang="T116">
                        <a:pos x="T12" y="T13"/>
                      </a:cxn>
                      <a:cxn ang="T117">
                        <a:pos x="T14" y="T15"/>
                      </a:cxn>
                      <a:cxn ang="T118">
                        <a:pos x="T16" y="T17"/>
                      </a:cxn>
                      <a:cxn ang="T119">
                        <a:pos x="T18" y="T19"/>
                      </a:cxn>
                      <a:cxn ang="T120">
                        <a:pos x="T20" y="T21"/>
                      </a:cxn>
                      <a:cxn ang="T121">
                        <a:pos x="T22" y="T23"/>
                      </a:cxn>
                      <a:cxn ang="T122">
                        <a:pos x="T24" y="T25"/>
                      </a:cxn>
                      <a:cxn ang="T123">
                        <a:pos x="T26" y="T27"/>
                      </a:cxn>
                      <a:cxn ang="T124">
                        <a:pos x="T28" y="T29"/>
                      </a:cxn>
                      <a:cxn ang="T125">
                        <a:pos x="T30" y="T31"/>
                      </a:cxn>
                      <a:cxn ang="T126">
                        <a:pos x="T32" y="T33"/>
                      </a:cxn>
                      <a:cxn ang="T127">
                        <a:pos x="T34" y="T35"/>
                      </a:cxn>
                      <a:cxn ang="T128">
                        <a:pos x="T36" y="T37"/>
                      </a:cxn>
                      <a:cxn ang="T129">
                        <a:pos x="T38" y="T39"/>
                      </a:cxn>
                      <a:cxn ang="T130">
                        <a:pos x="T40" y="T41"/>
                      </a:cxn>
                      <a:cxn ang="T131">
                        <a:pos x="T42" y="T43"/>
                      </a:cxn>
                      <a:cxn ang="T132">
                        <a:pos x="T44" y="T45"/>
                      </a:cxn>
                      <a:cxn ang="T133">
                        <a:pos x="T46" y="T47"/>
                      </a:cxn>
                      <a:cxn ang="T134">
                        <a:pos x="T48" y="T49"/>
                      </a:cxn>
                      <a:cxn ang="T135">
                        <a:pos x="T50" y="T51"/>
                      </a:cxn>
                      <a:cxn ang="T136">
                        <a:pos x="T52" y="T53"/>
                      </a:cxn>
                      <a:cxn ang="T137">
                        <a:pos x="T54" y="T55"/>
                      </a:cxn>
                      <a:cxn ang="T138">
                        <a:pos x="T56" y="T57"/>
                      </a:cxn>
                      <a:cxn ang="T139">
                        <a:pos x="T58" y="T59"/>
                      </a:cxn>
                      <a:cxn ang="T140">
                        <a:pos x="T60" y="T61"/>
                      </a:cxn>
                      <a:cxn ang="T141">
                        <a:pos x="T62" y="T63"/>
                      </a:cxn>
                      <a:cxn ang="T142">
                        <a:pos x="T64" y="T65"/>
                      </a:cxn>
                      <a:cxn ang="T143">
                        <a:pos x="T66" y="T67"/>
                      </a:cxn>
                      <a:cxn ang="T144">
                        <a:pos x="T68" y="T69"/>
                      </a:cxn>
                      <a:cxn ang="T145">
                        <a:pos x="T70" y="T71"/>
                      </a:cxn>
                      <a:cxn ang="T146">
                        <a:pos x="T72" y="T73"/>
                      </a:cxn>
                      <a:cxn ang="T147">
                        <a:pos x="T74" y="T75"/>
                      </a:cxn>
                      <a:cxn ang="T148">
                        <a:pos x="T76" y="T77"/>
                      </a:cxn>
                      <a:cxn ang="T149">
                        <a:pos x="T78" y="T79"/>
                      </a:cxn>
                      <a:cxn ang="T150">
                        <a:pos x="T80" y="T81"/>
                      </a:cxn>
                      <a:cxn ang="T151">
                        <a:pos x="T82" y="T83"/>
                      </a:cxn>
                      <a:cxn ang="T152">
                        <a:pos x="T84" y="T85"/>
                      </a:cxn>
                      <a:cxn ang="T153">
                        <a:pos x="T86" y="T87"/>
                      </a:cxn>
                      <a:cxn ang="T154">
                        <a:pos x="T88" y="T89"/>
                      </a:cxn>
                      <a:cxn ang="T155">
                        <a:pos x="T90" y="T91"/>
                      </a:cxn>
                      <a:cxn ang="T156">
                        <a:pos x="T92" y="T93"/>
                      </a:cxn>
                      <a:cxn ang="T157">
                        <a:pos x="T94" y="T95"/>
                      </a:cxn>
                      <a:cxn ang="T158">
                        <a:pos x="T96" y="T97"/>
                      </a:cxn>
                      <a:cxn ang="T159">
                        <a:pos x="T98" y="T99"/>
                      </a:cxn>
                      <a:cxn ang="T160">
                        <a:pos x="T100" y="T101"/>
                      </a:cxn>
                      <a:cxn ang="T161">
                        <a:pos x="T102" y="T103"/>
                      </a:cxn>
                      <a:cxn ang="T162">
                        <a:pos x="T104" y="T105"/>
                      </a:cxn>
                      <a:cxn ang="T163">
                        <a:pos x="T106" y="T107"/>
                      </a:cxn>
                      <a:cxn ang="T164">
                        <a:pos x="T108" y="T109"/>
                      </a:cxn>
                    </a:cxnLst>
                    <a:rect l="T165" t="T166" r="T167" b="T168"/>
                    <a:pathLst>
                      <a:path w="16384" h="16384">
                        <a:moveTo>
                          <a:pt x="4999" y="13107"/>
                        </a:moveTo>
                        <a:lnTo>
                          <a:pt x="5276" y="12639"/>
                        </a:lnTo>
                        <a:lnTo>
                          <a:pt x="5415" y="12405"/>
                        </a:lnTo>
                        <a:lnTo>
                          <a:pt x="5832" y="12171"/>
                        </a:lnTo>
                        <a:lnTo>
                          <a:pt x="6109" y="11937"/>
                        </a:lnTo>
                        <a:lnTo>
                          <a:pt x="6109" y="11469"/>
                        </a:lnTo>
                        <a:lnTo>
                          <a:pt x="6665" y="11469"/>
                        </a:lnTo>
                        <a:lnTo>
                          <a:pt x="6942" y="11235"/>
                        </a:lnTo>
                        <a:lnTo>
                          <a:pt x="6804" y="10767"/>
                        </a:lnTo>
                        <a:lnTo>
                          <a:pt x="7220" y="10767"/>
                        </a:lnTo>
                        <a:lnTo>
                          <a:pt x="7498" y="10767"/>
                        </a:lnTo>
                        <a:lnTo>
                          <a:pt x="7775" y="10299"/>
                        </a:lnTo>
                        <a:lnTo>
                          <a:pt x="8053" y="10064"/>
                        </a:lnTo>
                        <a:lnTo>
                          <a:pt x="8331" y="10064"/>
                        </a:lnTo>
                        <a:lnTo>
                          <a:pt x="9025" y="9362"/>
                        </a:lnTo>
                        <a:lnTo>
                          <a:pt x="9442" y="8894"/>
                        </a:lnTo>
                        <a:lnTo>
                          <a:pt x="9580" y="8426"/>
                        </a:lnTo>
                        <a:lnTo>
                          <a:pt x="9858" y="8192"/>
                        </a:lnTo>
                        <a:lnTo>
                          <a:pt x="10552" y="7490"/>
                        </a:lnTo>
                        <a:lnTo>
                          <a:pt x="10691" y="7490"/>
                        </a:lnTo>
                        <a:lnTo>
                          <a:pt x="10830" y="7724"/>
                        </a:lnTo>
                        <a:lnTo>
                          <a:pt x="10691" y="7958"/>
                        </a:lnTo>
                        <a:lnTo>
                          <a:pt x="9997" y="8894"/>
                        </a:lnTo>
                        <a:lnTo>
                          <a:pt x="8609" y="10533"/>
                        </a:lnTo>
                        <a:lnTo>
                          <a:pt x="7220" y="12171"/>
                        </a:lnTo>
                        <a:lnTo>
                          <a:pt x="6942" y="12405"/>
                        </a:lnTo>
                        <a:lnTo>
                          <a:pt x="6665" y="12639"/>
                        </a:lnTo>
                        <a:lnTo>
                          <a:pt x="6526" y="12873"/>
                        </a:lnTo>
                        <a:lnTo>
                          <a:pt x="6804" y="13107"/>
                        </a:lnTo>
                        <a:lnTo>
                          <a:pt x="7081" y="12873"/>
                        </a:lnTo>
                        <a:lnTo>
                          <a:pt x="7914" y="11937"/>
                        </a:lnTo>
                        <a:lnTo>
                          <a:pt x="9580" y="10064"/>
                        </a:lnTo>
                        <a:lnTo>
                          <a:pt x="11663" y="7256"/>
                        </a:lnTo>
                        <a:lnTo>
                          <a:pt x="13052" y="5617"/>
                        </a:lnTo>
                        <a:lnTo>
                          <a:pt x="13746" y="4213"/>
                        </a:lnTo>
                        <a:lnTo>
                          <a:pt x="14718" y="3043"/>
                        </a:lnTo>
                        <a:lnTo>
                          <a:pt x="15412" y="2107"/>
                        </a:lnTo>
                        <a:lnTo>
                          <a:pt x="16245" y="936"/>
                        </a:lnTo>
                        <a:lnTo>
                          <a:pt x="16384" y="702"/>
                        </a:lnTo>
                        <a:lnTo>
                          <a:pt x="16384" y="234"/>
                        </a:lnTo>
                        <a:lnTo>
                          <a:pt x="16245" y="0"/>
                        </a:lnTo>
                        <a:lnTo>
                          <a:pt x="15967" y="234"/>
                        </a:lnTo>
                        <a:lnTo>
                          <a:pt x="15551" y="702"/>
                        </a:lnTo>
                        <a:lnTo>
                          <a:pt x="15273" y="1170"/>
                        </a:lnTo>
                        <a:lnTo>
                          <a:pt x="15134" y="1638"/>
                        </a:lnTo>
                        <a:lnTo>
                          <a:pt x="14718" y="2107"/>
                        </a:lnTo>
                        <a:lnTo>
                          <a:pt x="14301" y="2107"/>
                        </a:lnTo>
                        <a:lnTo>
                          <a:pt x="14162" y="1638"/>
                        </a:lnTo>
                        <a:lnTo>
                          <a:pt x="14024" y="1638"/>
                        </a:lnTo>
                        <a:lnTo>
                          <a:pt x="13885" y="2107"/>
                        </a:lnTo>
                        <a:lnTo>
                          <a:pt x="13746" y="2341"/>
                        </a:lnTo>
                        <a:lnTo>
                          <a:pt x="13468" y="2107"/>
                        </a:lnTo>
                        <a:lnTo>
                          <a:pt x="13329" y="2575"/>
                        </a:lnTo>
                        <a:lnTo>
                          <a:pt x="13191" y="2809"/>
                        </a:lnTo>
                        <a:lnTo>
                          <a:pt x="13052" y="2809"/>
                        </a:lnTo>
                        <a:lnTo>
                          <a:pt x="12774" y="2575"/>
                        </a:lnTo>
                        <a:lnTo>
                          <a:pt x="12774" y="3043"/>
                        </a:lnTo>
                        <a:lnTo>
                          <a:pt x="12496" y="3277"/>
                        </a:lnTo>
                        <a:lnTo>
                          <a:pt x="12357" y="3511"/>
                        </a:lnTo>
                        <a:lnTo>
                          <a:pt x="12357" y="3979"/>
                        </a:lnTo>
                        <a:lnTo>
                          <a:pt x="12357" y="4447"/>
                        </a:lnTo>
                        <a:lnTo>
                          <a:pt x="12219" y="4447"/>
                        </a:lnTo>
                        <a:lnTo>
                          <a:pt x="12080" y="5149"/>
                        </a:lnTo>
                        <a:lnTo>
                          <a:pt x="11802" y="5383"/>
                        </a:lnTo>
                        <a:lnTo>
                          <a:pt x="12080" y="5851"/>
                        </a:lnTo>
                        <a:lnTo>
                          <a:pt x="11802" y="6320"/>
                        </a:lnTo>
                        <a:lnTo>
                          <a:pt x="11524" y="6554"/>
                        </a:lnTo>
                        <a:lnTo>
                          <a:pt x="11524" y="6085"/>
                        </a:lnTo>
                        <a:lnTo>
                          <a:pt x="11385" y="5617"/>
                        </a:lnTo>
                        <a:lnTo>
                          <a:pt x="11247" y="5617"/>
                        </a:lnTo>
                        <a:lnTo>
                          <a:pt x="10830" y="5617"/>
                        </a:lnTo>
                        <a:lnTo>
                          <a:pt x="10691" y="5617"/>
                        </a:lnTo>
                        <a:lnTo>
                          <a:pt x="10552" y="5149"/>
                        </a:lnTo>
                        <a:lnTo>
                          <a:pt x="10830" y="4915"/>
                        </a:lnTo>
                        <a:lnTo>
                          <a:pt x="11108" y="4681"/>
                        </a:lnTo>
                        <a:lnTo>
                          <a:pt x="11247" y="4213"/>
                        </a:lnTo>
                        <a:lnTo>
                          <a:pt x="11247" y="3979"/>
                        </a:lnTo>
                        <a:lnTo>
                          <a:pt x="11524" y="3979"/>
                        </a:lnTo>
                        <a:lnTo>
                          <a:pt x="11802" y="3511"/>
                        </a:lnTo>
                        <a:lnTo>
                          <a:pt x="11802" y="3043"/>
                        </a:lnTo>
                        <a:lnTo>
                          <a:pt x="12080" y="2809"/>
                        </a:lnTo>
                        <a:lnTo>
                          <a:pt x="11941" y="2107"/>
                        </a:lnTo>
                        <a:lnTo>
                          <a:pt x="12080" y="1638"/>
                        </a:lnTo>
                        <a:lnTo>
                          <a:pt x="12357" y="1404"/>
                        </a:lnTo>
                        <a:lnTo>
                          <a:pt x="12496" y="702"/>
                        </a:lnTo>
                        <a:lnTo>
                          <a:pt x="12913" y="702"/>
                        </a:lnTo>
                        <a:lnTo>
                          <a:pt x="13052" y="468"/>
                        </a:lnTo>
                        <a:lnTo>
                          <a:pt x="13052" y="0"/>
                        </a:lnTo>
                        <a:lnTo>
                          <a:pt x="12635" y="0"/>
                        </a:lnTo>
                        <a:lnTo>
                          <a:pt x="12357" y="234"/>
                        </a:lnTo>
                        <a:lnTo>
                          <a:pt x="11802" y="1404"/>
                        </a:lnTo>
                        <a:lnTo>
                          <a:pt x="11385" y="2575"/>
                        </a:lnTo>
                        <a:lnTo>
                          <a:pt x="10830" y="3511"/>
                        </a:lnTo>
                        <a:lnTo>
                          <a:pt x="10414" y="4213"/>
                        </a:lnTo>
                        <a:lnTo>
                          <a:pt x="9858" y="4681"/>
                        </a:lnTo>
                        <a:lnTo>
                          <a:pt x="9025" y="5383"/>
                        </a:lnTo>
                        <a:lnTo>
                          <a:pt x="7775" y="6085"/>
                        </a:lnTo>
                        <a:lnTo>
                          <a:pt x="6804" y="6320"/>
                        </a:lnTo>
                        <a:lnTo>
                          <a:pt x="6387" y="6320"/>
                        </a:lnTo>
                        <a:lnTo>
                          <a:pt x="6109" y="6554"/>
                        </a:lnTo>
                        <a:lnTo>
                          <a:pt x="6109" y="7256"/>
                        </a:lnTo>
                        <a:lnTo>
                          <a:pt x="5970" y="7490"/>
                        </a:lnTo>
                        <a:lnTo>
                          <a:pt x="5693" y="7724"/>
                        </a:lnTo>
                        <a:lnTo>
                          <a:pt x="4721" y="7724"/>
                        </a:lnTo>
                        <a:lnTo>
                          <a:pt x="4582" y="7724"/>
                        </a:lnTo>
                        <a:lnTo>
                          <a:pt x="4443" y="8192"/>
                        </a:lnTo>
                        <a:lnTo>
                          <a:pt x="4304" y="8426"/>
                        </a:lnTo>
                        <a:lnTo>
                          <a:pt x="3749" y="7958"/>
                        </a:lnTo>
                        <a:lnTo>
                          <a:pt x="3610" y="8192"/>
                        </a:lnTo>
                        <a:lnTo>
                          <a:pt x="3610" y="8426"/>
                        </a:lnTo>
                        <a:lnTo>
                          <a:pt x="3749" y="8894"/>
                        </a:lnTo>
                        <a:lnTo>
                          <a:pt x="3610" y="9128"/>
                        </a:lnTo>
                        <a:lnTo>
                          <a:pt x="3332" y="8894"/>
                        </a:lnTo>
                        <a:lnTo>
                          <a:pt x="3055" y="8894"/>
                        </a:lnTo>
                        <a:lnTo>
                          <a:pt x="2638" y="9596"/>
                        </a:lnTo>
                        <a:lnTo>
                          <a:pt x="2360" y="10064"/>
                        </a:lnTo>
                        <a:lnTo>
                          <a:pt x="2499" y="10533"/>
                        </a:lnTo>
                        <a:lnTo>
                          <a:pt x="2499" y="10767"/>
                        </a:lnTo>
                        <a:lnTo>
                          <a:pt x="2222" y="10533"/>
                        </a:lnTo>
                        <a:lnTo>
                          <a:pt x="2083" y="10533"/>
                        </a:lnTo>
                        <a:lnTo>
                          <a:pt x="1944" y="10767"/>
                        </a:lnTo>
                        <a:lnTo>
                          <a:pt x="2083" y="11235"/>
                        </a:lnTo>
                        <a:lnTo>
                          <a:pt x="1944" y="11469"/>
                        </a:lnTo>
                        <a:lnTo>
                          <a:pt x="1805" y="11469"/>
                        </a:lnTo>
                        <a:lnTo>
                          <a:pt x="1805" y="11937"/>
                        </a:lnTo>
                        <a:lnTo>
                          <a:pt x="1666" y="11937"/>
                        </a:lnTo>
                        <a:lnTo>
                          <a:pt x="1388" y="11937"/>
                        </a:lnTo>
                        <a:lnTo>
                          <a:pt x="1250" y="11703"/>
                        </a:lnTo>
                        <a:lnTo>
                          <a:pt x="1250" y="12171"/>
                        </a:lnTo>
                        <a:lnTo>
                          <a:pt x="1111" y="12405"/>
                        </a:lnTo>
                        <a:lnTo>
                          <a:pt x="972" y="12639"/>
                        </a:lnTo>
                        <a:lnTo>
                          <a:pt x="833" y="12639"/>
                        </a:lnTo>
                        <a:lnTo>
                          <a:pt x="555" y="12405"/>
                        </a:lnTo>
                        <a:lnTo>
                          <a:pt x="417" y="13575"/>
                        </a:lnTo>
                        <a:lnTo>
                          <a:pt x="278" y="14043"/>
                        </a:lnTo>
                        <a:lnTo>
                          <a:pt x="139" y="14277"/>
                        </a:lnTo>
                        <a:lnTo>
                          <a:pt x="0" y="14746"/>
                        </a:lnTo>
                        <a:lnTo>
                          <a:pt x="0" y="15214"/>
                        </a:lnTo>
                        <a:lnTo>
                          <a:pt x="139" y="15448"/>
                        </a:lnTo>
                        <a:lnTo>
                          <a:pt x="278" y="15916"/>
                        </a:lnTo>
                        <a:lnTo>
                          <a:pt x="278" y="16150"/>
                        </a:lnTo>
                        <a:lnTo>
                          <a:pt x="694" y="16150"/>
                        </a:lnTo>
                        <a:lnTo>
                          <a:pt x="833" y="15916"/>
                        </a:lnTo>
                        <a:lnTo>
                          <a:pt x="972" y="15448"/>
                        </a:lnTo>
                        <a:lnTo>
                          <a:pt x="1111" y="14980"/>
                        </a:lnTo>
                        <a:lnTo>
                          <a:pt x="1250" y="14980"/>
                        </a:lnTo>
                        <a:lnTo>
                          <a:pt x="1527" y="14746"/>
                        </a:lnTo>
                        <a:lnTo>
                          <a:pt x="1805" y="14512"/>
                        </a:lnTo>
                        <a:lnTo>
                          <a:pt x="2083" y="14746"/>
                        </a:lnTo>
                        <a:lnTo>
                          <a:pt x="2083" y="14980"/>
                        </a:lnTo>
                        <a:lnTo>
                          <a:pt x="2083" y="15448"/>
                        </a:lnTo>
                        <a:lnTo>
                          <a:pt x="1805" y="15448"/>
                        </a:lnTo>
                        <a:lnTo>
                          <a:pt x="1388" y="15916"/>
                        </a:lnTo>
                        <a:lnTo>
                          <a:pt x="1250" y="16150"/>
                        </a:lnTo>
                        <a:lnTo>
                          <a:pt x="1111" y="16384"/>
                        </a:lnTo>
                        <a:lnTo>
                          <a:pt x="1388" y="16384"/>
                        </a:lnTo>
                        <a:lnTo>
                          <a:pt x="1527" y="16384"/>
                        </a:lnTo>
                        <a:lnTo>
                          <a:pt x="1944" y="15916"/>
                        </a:lnTo>
                        <a:lnTo>
                          <a:pt x="2222" y="15682"/>
                        </a:lnTo>
                        <a:lnTo>
                          <a:pt x="2638" y="15448"/>
                        </a:lnTo>
                        <a:lnTo>
                          <a:pt x="2777" y="14746"/>
                        </a:lnTo>
                        <a:lnTo>
                          <a:pt x="3055" y="14512"/>
                        </a:lnTo>
                        <a:lnTo>
                          <a:pt x="4027" y="13809"/>
                        </a:lnTo>
                        <a:lnTo>
                          <a:pt x="4304" y="13341"/>
                        </a:lnTo>
                        <a:lnTo>
                          <a:pt x="4582" y="13341"/>
                        </a:lnTo>
                        <a:lnTo>
                          <a:pt x="4999" y="13107"/>
                        </a:lnTo>
                        <a:close/>
                      </a:path>
                    </a:pathLst>
                  </a:custGeom>
                  <a:solidFill>
                    <a:sysClr val="window" lastClr="FFFFFF"/>
                  </a:solidFill>
                  <a:ln w="952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marL="0" marR="0" lvl="0" indent="0" defTabSz="121917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151" name="ny4">
                    <a:extLst>
                      <a:ext uri="{FF2B5EF4-FFF2-40B4-BE49-F238E27FC236}">
                        <a16:creationId xmlns:a16="http://schemas.microsoft.com/office/drawing/2014/main" id="{DBF63790-04F4-8712-B7EE-6D2CD7A378B9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24831675" y="3302651"/>
                    <a:ext cx="16086" cy="167"/>
                  </a:xfrm>
                  <a:custGeom>
                    <a:avLst/>
                    <a:gdLst>
                      <a:gd name="T0" fmla="*/ 2788 w 16384"/>
                      <a:gd name="T1" fmla="*/ 0 h 16384"/>
                      <a:gd name="T2" fmla="*/ 2883 w 16384"/>
                      <a:gd name="T3" fmla="*/ 0 h 16384"/>
                      <a:gd name="T4" fmla="*/ 2942 w 16384"/>
                      <a:gd name="T5" fmla="*/ 0 h 16384"/>
                      <a:gd name="T6" fmla="*/ 3020 w 16384"/>
                      <a:gd name="T7" fmla="*/ 0 h 16384"/>
                      <a:gd name="T8" fmla="*/ 3142 w 16384"/>
                      <a:gd name="T9" fmla="*/ 0 h 16384"/>
                      <a:gd name="T10" fmla="*/ 3458 w 16384"/>
                      <a:gd name="T11" fmla="*/ 0 h 16384"/>
                      <a:gd name="T12" fmla="*/ 3790 w 16384"/>
                      <a:gd name="T13" fmla="*/ 0 h 16384"/>
                      <a:gd name="T14" fmla="*/ 3873 w 16384"/>
                      <a:gd name="T15" fmla="*/ 0 h 16384"/>
                      <a:gd name="T16" fmla="*/ 3892 w 16384"/>
                      <a:gd name="T17" fmla="*/ 0 h 16384"/>
                      <a:gd name="T18" fmla="*/ 3873 w 16384"/>
                      <a:gd name="T19" fmla="*/ 0 h 16384"/>
                      <a:gd name="T20" fmla="*/ 3904 w 16384"/>
                      <a:gd name="T21" fmla="*/ 0 h 16384"/>
                      <a:gd name="T22" fmla="*/ 3820 w 16384"/>
                      <a:gd name="T23" fmla="*/ 0 h 16384"/>
                      <a:gd name="T24" fmla="*/ 3820 w 16384"/>
                      <a:gd name="T25" fmla="*/ 0 h 16384"/>
                      <a:gd name="T26" fmla="*/ 3776 w 16384"/>
                      <a:gd name="T27" fmla="*/ 0 h 16384"/>
                      <a:gd name="T28" fmla="*/ 3735 w 16384"/>
                      <a:gd name="T29" fmla="*/ 0 h 16384"/>
                      <a:gd name="T30" fmla="*/ 3684 w 16384"/>
                      <a:gd name="T31" fmla="*/ 0 h 16384"/>
                      <a:gd name="T32" fmla="*/ 3622 w 16384"/>
                      <a:gd name="T33" fmla="*/ 0 h 16384"/>
                      <a:gd name="T34" fmla="*/ 3581 w 16384"/>
                      <a:gd name="T35" fmla="*/ 0 h 16384"/>
                      <a:gd name="T36" fmla="*/ 3570 w 16384"/>
                      <a:gd name="T37" fmla="*/ 0 h 16384"/>
                      <a:gd name="T38" fmla="*/ 3506 w 16384"/>
                      <a:gd name="T39" fmla="*/ 0 h 16384"/>
                      <a:gd name="T40" fmla="*/ 3466 w 16384"/>
                      <a:gd name="T41" fmla="*/ 0 h 16384"/>
                      <a:gd name="T42" fmla="*/ 3477 w 16384"/>
                      <a:gd name="T43" fmla="*/ 0 h 16384"/>
                      <a:gd name="T44" fmla="*/ 3415 w 16384"/>
                      <a:gd name="T45" fmla="*/ 0 h 16384"/>
                      <a:gd name="T46" fmla="*/ 3353 w 16384"/>
                      <a:gd name="T47" fmla="*/ 0 h 16384"/>
                      <a:gd name="T48" fmla="*/ 2942 w 16384"/>
                      <a:gd name="T49" fmla="*/ 0 h 16384"/>
                      <a:gd name="T50" fmla="*/ 2549 w 16384"/>
                      <a:gd name="T51" fmla="*/ 0 h 16384"/>
                      <a:gd name="T52" fmla="*/ 2426 w 16384"/>
                      <a:gd name="T53" fmla="*/ 0 h 16384"/>
                      <a:gd name="T54" fmla="*/ 2249 w 16384"/>
                      <a:gd name="T55" fmla="*/ 0 h 16384"/>
                      <a:gd name="T56" fmla="*/ 2031 w 16384"/>
                      <a:gd name="T57" fmla="*/ 0 h 16384"/>
                      <a:gd name="T58" fmla="*/ 1946 w 16384"/>
                      <a:gd name="T59" fmla="*/ 0 h 16384"/>
                      <a:gd name="T60" fmla="*/ 1750 w 16384"/>
                      <a:gd name="T61" fmla="*/ 0 h 16384"/>
                      <a:gd name="T62" fmla="*/ 1811 w 16384"/>
                      <a:gd name="T63" fmla="*/ 0 h 16384"/>
                      <a:gd name="T64" fmla="*/ 1822 w 16384"/>
                      <a:gd name="T65" fmla="*/ 0 h 16384"/>
                      <a:gd name="T66" fmla="*/ 1885 w 16384"/>
                      <a:gd name="T67" fmla="*/ 0 h 16384"/>
                      <a:gd name="T68" fmla="*/ 1885 w 16384"/>
                      <a:gd name="T69" fmla="*/ 0 h 16384"/>
                      <a:gd name="T70" fmla="*/ 1830 w 16384"/>
                      <a:gd name="T71" fmla="*/ 0 h 16384"/>
                      <a:gd name="T72" fmla="*/ 1916 w 16384"/>
                      <a:gd name="T73" fmla="*/ 0 h 16384"/>
                      <a:gd name="T74" fmla="*/ 1853 w 16384"/>
                      <a:gd name="T75" fmla="*/ 0 h 16384"/>
                      <a:gd name="T76" fmla="*/ 1769 w 16384"/>
                      <a:gd name="T77" fmla="*/ 0 h 16384"/>
                      <a:gd name="T78" fmla="*/ 1695 w 16384"/>
                      <a:gd name="T79" fmla="*/ 0 h 16384"/>
                      <a:gd name="T80" fmla="*/ 1612 w 16384"/>
                      <a:gd name="T81" fmla="*/ 0 h 16384"/>
                      <a:gd name="T82" fmla="*/ 1533 w 16384"/>
                      <a:gd name="T83" fmla="*/ 0 h 16384"/>
                      <a:gd name="T84" fmla="*/ 1280 w 16384"/>
                      <a:gd name="T85" fmla="*/ 0 h 16384"/>
                      <a:gd name="T86" fmla="*/ 1173 w 16384"/>
                      <a:gd name="T87" fmla="*/ 0 h 16384"/>
                      <a:gd name="T88" fmla="*/ 1009 w 16384"/>
                      <a:gd name="T89" fmla="*/ 0 h 16384"/>
                      <a:gd name="T90" fmla="*/ 769 w 16384"/>
                      <a:gd name="T91" fmla="*/ 0 h 16384"/>
                      <a:gd name="T92" fmla="*/ 499 w 16384"/>
                      <a:gd name="T93" fmla="*/ 0 h 16384"/>
                      <a:gd name="T94" fmla="*/ 313 w 16384"/>
                      <a:gd name="T95" fmla="*/ 0 h 16384"/>
                      <a:gd name="T96" fmla="*/ 313 w 16384"/>
                      <a:gd name="T97" fmla="*/ 0 h 16384"/>
                      <a:gd name="T98" fmla="*/ 376 w 16384"/>
                      <a:gd name="T99" fmla="*/ 0 h 16384"/>
                      <a:gd name="T100" fmla="*/ 427 w 16384"/>
                      <a:gd name="T101" fmla="*/ 0 h 16384"/>
                      <a:gd name="T102" fmla="*/ 397 w 16384"/>
                      <a:gd name="T103" fmla="*/ 0 h 16384"/>
                      <a:gd name="T104" fmla="*/ 344 w 16384"/>
                      <a:gd name="T105" fmla="*/ 0 h 16384"/>
                      <a:gd name="T106" fmla="*/ 219 w 16384"/>
                      <a:gd name="T107" fmla="*/ 0 h 16384"/>
                      <a:gd name="T108" fmla="*/ 28 w 16384"/>
                      <a:gd name="T109" fmla="*/ 0 h 16384"/>
                      <a:gd name="T110" fmla="*/ 552 w 16384"/>
                      <a:gd name="T111" fmla="*/ 0 h 16384"/>
                      <a:gd name="T112" fmla="*/ 1739 w 16384"/>
                      <a:gd name="T113" fmla="*/ 0 h 16384"/>
                      <a:gd name="T114" fmla="*/ 2633 w 16384"/>
                      <a:gd name="T115" fmla="*/ 0 h 16384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60000 65536"/>
                      <a:gd name="T130" fmla="*/ 0 60000 65536"/>
                      <a:gd name="T131" fmla="*/ 0 60000 65536"/>
                      <a:gd name="T132" fmla="*/ 0 60000 65536"/>
                      <a:gd name="T133" fmla="*/ 0 60000 65536"/>
                      <a:gd name="T134" fmla="*/ 0 60000 65536"/>
                      <a:gd name="T135" fmla="*/ 0 60000 65536"/>
                      <a:gd name="T136" fmla="*/ 0 60000 65536"/>
                      <a:gd name="T137" fmla="*/ 0 60000 65536"/>
                      <a:gd name="T138" fmla="*/ 0 60000 65536"/>
                      <a:gd name="T139" fmla="*/ 0 60000 65536"/>
                      <a:gd name="T140" fmla="*/ 0 60000 65536"/>
                      <a:gd name="T141" fmla="*/ 0 60000 65536"/>
                      <a:gd name="T142" fmla="*/ 0 60000 65536"/>
                      <a:gd name="T143" fmla="*/ 0 60000 65536"/>
                      <a:gd name="T144" fmla="*/ 0 60000 65536"/>
                      <a:gd name="T145" fmla="*/ 0 60000 65536"/>
                      <a:gd name="T146" fmla="*/ 0 60000 65536"/>
                      <a:gd name="T147" fmla="*/ 0 60000 65536"/>
                      <a:gd name="T148" fmla="*/ 0 60000 65536"/>
                      <a:gd name="T149" fmla="*/ 0 60000 65536"/>
                      <a:gd name="T150" fmla="*/ 0 60000 65536"/>
                      <a:gd name="T151" fmla="*/ 0 60000 65536"/>
                      <a:gd name="T152" fmla="*/ 0 60000 65536"/>
                      <a:gd name="T153" fmla="*/ 0 60000 65536"/>
                      <a:gd name="T154" fmla="*/ 0 60000 65536"/>
                      <a:gd name="T155" fmla="*/ 0 60000 65536"/>
                      <a:gd name="T156" fmla="*/ 0 60000 65536"/>
                      <a:gd name="T157" fmla="*/ 0 60000 65536"/>
                      <a:gd name="T158" fmla="*/ 0 60000 65536"/>
                      <a:gd name="T159" fmla="*/ 0 60000 65536"/>
                      <a:gd name="T160" fmla="*/ 0 60000 65536"/>
                      <a:gd name="T161" fmla="*/ 0 60000 65536"/>
                      <a:gd name="T162" fmla="*/ 0 60000 65536"/>
                      <a:gd name="T163" fmla="*/ 0 60000 65536"/>
                      <a:gd name="T164" fmla="*/ 0 60000 65536"/>
                      <a:gd name="T165" fmla="*/ 0 60000 65536"/>
                      <a:gd name="T166" fmla="*/ 0 60000 65536"/>
                      <a:gd name="T167" fmla="*/ 0 60000 65536"/>
                      <a:gd name="T168" fmla="*/ 0 60000 65536"/>
                      <a:gd name="T169" fmla="*/ 0 60000 65536"/>
                      <a:gd name="T170" fmla="*/ 0 60000 65536"/>
                      <a:gd name="T171" fmla="*/ 0 60000 65536"/>
                      <a:gd name="T172" fmla="*/ 0 60000 65536"/>
                      <a:gd name="T173" fmla="*/ 0 60000 65536"/>
                      <a:gd name="T174" fmla="*/ 0 w 16384"/>
                      <a:gd name="T175" fmla="*/ 0 h 16384"/>
                      <a:gd name="T176" fmla="*/ 16384 w 16384"/>
                      <a:gd name="T177" fmla="*/ 16384 h 16384"/>
                    </a:gdLst>
                    <a:ahLst/>
                    <a:cxnLst>
                      <a:cxn ang="T116">
                        <a:pos x="T0" y="T1"/>
                      </a:cxn>
                      <a:cxn ang="T117">
                        <a:pos x="T2" y="T3"/>
                      </a:cxn>
                      <a:cxn ang="T118">
                        <a:pos x="T4" y="T5"/>
                      </a:cxn>
                      <a:cxn ang="T119">
                        <a:pos x="T6" y="T7"/>
                      </a:cxn>
                      <a:cxn ang="T120">
                        <a:pos x="T8" y="T9"/>
                      </a:cxn>
                      <a:cxn ang="T121">
                        <a:pos x="T10" y="T11"/>
                      </a:cxn>
                      <a:cxn ang="T122">
                        <a:pos x="T12" y="T13"/>
                      </a:cxn>
                      <a:cxn ang="T123">
                        <a:pos x="T14" y="T15"/>
                      </a:cxn>
                      <a:cxn ang="T124">
                        <a:pos x="T16" y="T17"/>
                      </a:cxn>
                      <a:cxn ang="T125">
                        <a:pos x="T18" y="T19"/>
                      </a:cxn>
                      <a:cxn ang="T126">
                        <a:pos x="T20" y="T21"/>
                      </a:cxn>
                      <a:cxn ang="T127">
                        <a:pos x="T22" y="T23"/>
                      </a:cxn>
                      <a:cxn ang="T128">
                        <a:pos x="T24" y="T25"/>
                      </a:cxn>
                      <a:cxn ang="T129">
                        <a:pos x="T26" y="T27"/>
                      </a:cxn>
                      <a:cxn ang="T130">
                        <a:pos x="T28" y="T29"/>
                      </a:cxn>
                      <a:cxn ang="T131">
                        <a:pos x="T30" y="T31"/>
                      </a:cxn>
                      <a:cxn ang="T132">
                        <a:pos x="T32" y="T33"/>
                      </a:cxn>
                      <a:cxn ang="T133">
                        <a:pos x="T34" y="T35"/>
                      </a:cxn>
                      <a:cxn ang="T134">
                        <a:pos x="T36" y="T37"/>
                      </a:cxn>
                      <a:cxn ang="T135">
                        <a:pos x="T38" y="T39"/>
                      </a:cxn>
                      <a:cxn ang="T136">
                        <a:pos x="T40" y="T41"/>
                      </a:cxn>
                      <a:cxn ang="T137">
                        <a:pos x="T42" y="T43"/>
                      </a:cxn>
                      <a:cxn ang="T138">
                        <a:pos x="T44" y="T45"/>
                      </a:cxn>
                      <a:cxn ang="T139">
                        <a:pos x="T46" y="T47"/>
                      </a:cxn>
                      <a:cxn ang="T140">
                        <a:pos x="T48" y="T49"/>
                      </a:cxn>
                      <a:cxn ang="T141">
                        <a:pos x="T50" y="T51"/>
                      </a:cxn>
                      <a:cxn ang="T142">
                        <a:pos x="T52" y="T53"/>
                      </a:cxn>
                      <a:cxn ang="T143">
                        <a:pos x="T54" y="T55"/>
                      </a:cxn>
                      <a:cxn ang="T144">
                        <a:pos x="T56" y="T57"/>
                      </a:cxn>
                      <a:cxn ang="T145">
                        <a:pos x="T58" y="T59"/>
                      </a:cxn>
                      <a:cxn ang="T146">
                        <a:pos x="T60" y="T61"/>
                      </a:cxn>
                      <a:cxn ang="T147">
                        <a:pos x="T62" y="T63"/>
                      </a:cxn>
                      <a:cxn ang="T148">
                        <a:pos x="T64" y="T65"/>
                      </a:cxn>
                      <a:cxn ang="T149">
                        <a:pos x="T66" y="T67"/>
                      </a:cxn>
                      <a:cxn ang="T150">
                        <a:pos x="T68" y="T69"/>
                      </a:cxn>
                      <a:cxn ang="T151">
                        <a:pos x="T70" y="T71"/>
                      </a:cxn>
                      <a:cxn ang="T152">
                        <a:pos x="T72" y="T73"/>
                      </a:cxn>
                      <a:cxn ang="T153">
                        <a:pos x="T74" y="T75"/>
                      </a:cxn>
                      <a:cxn ang="T154">
                        <a:pos x="T76" y="T77"/>
                      </a:cxn>
                      <a:cxn ang="T155">
                        <a:pos x="T78" y="T79"/>
                      </a:cxn>
                      <a:cxn ang="T156">
                        <a:pos x="T80" y="T81"/>
                      </a:cxn>
                      <a:cxn ang="T157">
                        <a:pos x="T82" y="T83"/>
                      </a:cxn>
                      <a:cxn ang="T158">
                        <a:pos x="T84" y="T85"/>
                      </a:cxn>
                      <a:cxn ang="T159">
                        <a:pos x="T86" y="T87"/>
                      </a:cxn>
                      <a:cxn ang="T160">
                        <a:pos x="T88" y="T89"/>
                      </a:cxn>
                      <a:cxn ang="T161">
                        <a:pos x="T90" y="T91"/>
                      </a:cxn>
                      <a:cxn ang="T162">
                        <a:pos x="T92" y="T93"/>
                      </a:cxn>
                      <a:cxn ang="T163">
                        <a:pos x="T94" y="T95"/>
                      </a:cxn>
                      <a:cxn ang="T164">
                        <a:pos x="T96" y="T97"/>
                      </a:cxn>
                      <a:cxn ang="T165">
                        <a:pos x="T98" y="T99"/>
                      </a:cxn>
                      <a:cxn ang="T166">
                        <a:pos x="T100" y="T101"/>
                      </a:cxn>
                      <a:cxn ang="T167">
                        <a:pos x="T102" y="T103"/>
                      </a:cxn>
                      <a:cxn ang="T168">
                        <a:pos x="T104" y="T105"/>
                      </a:cxn>
                      <a:cxn ang="T169">
                        <a:pos x="T106" y="T107"/>
                      </a:cxn>
                      <a:cxn ang="T170">
                        <a:pos x="T108" y="T109"/>
                      </a:cxn>
                      <a:cxn ang="T171">
                        <a:pos x="T110" y="T111"/>
                      </a:cxn>
                      <a:cxn ang="T172">
                        <a:pos x="T112" y="T113"/>
                      </a:cxn>
                      <a:cxn ang="T173">
                        <a:pos x="T114" y="T115"/>
                      </a:cxn>
                    </a:cxnLst>
                    <a:rect l="T174" t="T175" r="T176" b="T177"/>
                    <a:pathLst>
                      <a:path w="16384" h="16384">
                        <a:moveTo>
                          <a:pt x="11037" y="12803"/>
                        </a:moveTo>
                        <a:lnTo>
                          <a:pt x="11165" y="12754"/>
                        </a:lnTo>
                        <a:lnTo>
                          <a:pt x="11293" y="12901"/>
                        </a:lnTo>
                        <a:lnTo>
                          <a:pt x="11379" y="12950"/>
                        </a:lnTo>
                        <a:lnTo>
                          <a:pt x="11465" y="13146"/>
                        </a:lnTo>
                        <a:lnTo>
                          <a:pt x="11507" y="13245"/>
                        </a:lnTo>
                        <a:lnTo>
                          <a:pt x="11593" y="13245"/>
                        </a:lnTo>
                        <a:lnTo>
                          <a:pt x="11721" y="13195"/>
                        </a:lnTo>
                        <a:lnTo>
                          <a:pt x="11764" y="13245"/>
                        </a:lnTo>
                        <a:lnTo>
                          <a:pt x="11850" y="13294"/>
                        </a:lnTo>
                        <a:lnTo>
                          <a:pt x="11892" y="13343"/>
                        </a:lnTo>
                        <a:lnTo>
                          <a:pt x="11935" y="13441"/>
                        </a:lnTo>
                        <a:lnTo>
                          <a:pt x="12021" y="13539"/>
                        </a:lnTo>
                        <a:lnTo>
                          <a:pt x="12106" y="13588"/>
                        </a:lnTo>
                        <a:lnTo>
                          <a:pt x="12106" y="13686"/>
                        </a:lnTo>
                        <a:lnTo>
                          <a:pt x="12149" y="14078"/>
                        </a:lnTo>
                        <a:lnTo>
                          <a:pt x="12192" y="14128"/>
                        </a:lnTo>
                        <a:lnTo>
                          <a:pt x="12277" y="14226"/>
                        </a:lnTo>
                        <a:lnTo>
                          <a:pt x="12363" y="14373"/>
                        </a:lnTo>
                        <a:lnTo>
                          <a:pt x="12406" y="14471"/>
                        </a:lnTo>
                        <a:lnTo>
                          <a:pt x="12491" y="14520"/>
                        </a:lnTo>
                        <a:lnTo>
                          <a:pt x="12577" y="14520"/>
                        </a:lnTo>
                        <a:lnTo>
                          <a:pt x="12705" y="14569"/>
                        </a:lnTo>
                        <a:lnTo>
                          <a:pt x="12833" y="14618"/>
                        </a:lnTo>
                        <a:lnTo>
                          <a:pt x="12919" y="14618"/>
                        </a:lnTo>
                        <a:lnTo>
                          <a:pt x="13047" y="14569"/>
                        </a:lnTo>
                        <a:lnTo>
                          <a:pt x="13090" y="14667"/>
                        </a:lnTo>
                        <a:lnTo>
                          <a:pt x="13176" y="14716"/>
                        </a:lnTo>
                        <a:lnTo>
                          <a:pt x="13218" y="14814"/>
                        </a:lnTo>
                        <a:lnTo>
                          <a:pt x="14202" y="15207"/>
                        </a:lnTo>
                        <a:lnTo>
                          <a:pt x="14587" y="15305"/>
                        </a:lnTo>
                        <a:lnTo>
                          <a:pt x="14716" y="15354"/>
                        </a:lnTo>
                        <a:lnTo>
                          <a:pt x="15571" y="15697"/>
                        </a:lnTo>
                        <a:lnTo>
                          <a:pt x="15614" y="16041"/>
                        </a:lnTo>
                        <a:lnTo>
                          <a:pt x="15571" y="16041"/>
                        </a:lnTo>
                        <a:lnTo>
                          <a:pt x="15742" y="16384"/>
                        </a:lnTo>
                        <a:lnTo>
                          <a:pt x="15700" y="16384"/>
                        </a:lnTo>
                        <a:lnTo>
                          <a:pt x="15657" y="16237"/>
                        </a:lnTo>
                        <a:lnTo>
                          <a:pt x="15913" y="16335"/>
                        </a:lnTo>
                        <a:lnTo>
                          <a:pt x="15913" y="16286"/>
                        </a:lnTo>
                        <a:lnTo>
                          <a:pt x="15871" y="16139"/>
                        </a:lnTo>
                        <a:lnTo>
                          <a:pt x="15828" y="16090"/>
                        </a:lnTo>
                        <a:lnTo>
                          <a:pt x="15871" y="16041"/>
                        </a:lnTo>
                        <a:lnTo>
                          <a:pt x="15999" y="15943"/>
                        </a:lnTo>
                        <a:lnTo>
                          <a:pt x="15999" y="15844"/>
                        </a:lnTo>
                        <a:lnTo>
                          <a:pt x="16042" y="15795"/>
                        </a:lnTo>
                        <a:lnTo>
                          <a:pt x="16085" y="15697"/>
                        </a:lnTo>
                        <a:lnTo>
                          <a:pt x="16127" y="15599"/>
                        </a:lnTo>
                        <a:lnTo>
                          <a:pt x="16127" y="15452"/>
                        </a:lnTo>
                        <a:lnTo>
                          <a:pt x="15913" y="15109"/>
                        </a:lnTo>
                        <a:lnTo>
                          <a:pt x="16298" y="14667"/>
                        </a:lnTo>
                        <a:lnTo>
                          <a:pt x="16384" y="14520"/>
                        </a:lnTo>
                        <a:lnTo>
                          <a:pt x="16170" y="14275"/>
                        </a:lnTo>
                        <a:lnTo>
                          <a:pt x="16127" y="14029"/>
                        </a:lnTo>
                        <a:lnTo>
                          <a:pt x="16042" y="13392"/>
                        </a:lnTo>
                        <a:lnTo>
                          <a:pt x="15956" y="12803"/>
                        </a:lnTo>
                        <a:lnTo>
                          <a:pt x="15742" y="11381"/>
                        </a:lnTo>
                        <a:lnTo>
                          <a:pt x="15657" y="11233"/>
                        </a:lnTo>
                        <a:lnTo>
                          <a:pt x="15700" y="10890"/>
                        </a:lnTo>
                        <a:lnTo>
                          <a:pt x="15700" y="10252"/>
                        </a:lnTo>
                        <a:lnTo>
                          <a:pt x="15700" y="9762"/>
                        </a:lnTo>
                        <a:lnTo>
                          <a:pt x="15742" y="9516"/>
                        </a:lnTo>
                        <a:lnTo>
                          <a:pt x="15742" y="9173"/>
                        </a:lnTo>
                        <a:lnTo>
                          <a:pt x="15742" y="8732"/>
                        </a:lnTo>
                        <a:lnTo>
                          <a:pt x="15700" y="8584"/>
                        </a:lnTo>
                        <a:lnTo>
                          <a:pt x="15657" y="8437"/>
                        </a:lnTo>
                        <a:lnTo>
                          <a:pt x="15614" y="8290"/>
                        </a:lnTo>
                        <a:lnTo>
                          <a:pt x="15657" y="8241"/>
                        </a:lnTo>
                        <a:lnTo>
                          <a:pt x="15571" y="7996"/>
                        </a:lnTo>
                        <a:lnTo>
                          <a:pt x="15528" y="7800"/>
                        </a:lnTo>
                        <a:lnTo>
                          <a:pt x="15486" y="7603"/>
                        </a:lnTo>
                        <a:lnTo>
                          <a:pt x="15443" y="7309"/>
                        </a:lnTo>
                        <a:lnTo>
                          <a:pt x="15443" y="7162"/>
                        </a:lnTo>
                        <a:lnTo>
                          <a:pt x="15400" y="6966"/>
                        </a:lnTo>
                        <a:lnTo>
                          <a:pt x="15357" y="6868"/>
                        </a:lnTo>
                        <a:lnTo>
                          <a:pt x="15272" y="6377"/>
                        </a:lnTo>
                        <a:lnTo>
                          <a:pt x="15229" y="6132"/>
                        </a:lnTo>
                        <a:lnTo>
                          <a:pt x="15186" y="5837"/>
                        </a:lnTo>
                        <a:lnTo>
                          <a:pt x="15143" y="5739"/>
                        </a:lnTo>
                        <a:lnTo>
                          <a:pt x="15143" y="5494"/>
                        </a:lnTo>
                        <a:lnTo>
                          <a:pt x="15101" y="5494"/>
                        </a:lnTo>
                        <a:lnTo>
                          <a:pt x="15058" y="5445"/>
                        </a:lnTo>
                        <a:lnTo>
                          <a:pt x="15015" y="5396"/>
                        </a:lnTo>
                        <a:lnTo>
                          <a:pt x="14972" y="5298"/>
                        </a:lnTo>
                        <a:lnTo>
                          <a:pt x="14887" y="5298"/>
                        </a:lnTo>
                        <a:lnTo>
                          <a:pt x="14844" y="5298"/>
                        </a:lnTo>
                        <a:lnTo>
                          <a:pt x="14801" y="5347"/>
                        </a:lnTo>
                        <a:lnTo>
                          <a:pt x="14758" y="5445"/>
                        </a:lnTo>
                        <a:lnTo>
                          <a:pt x="14758" y="5543"/>
                        </a:lnTo>
                        <a:lnTo>
                          <a:pt x="14716" y="5494"/>
                        </a:lnTo>
                        <a:lnTo>
                          <a:pt x="14630" y="5200"/>
                        </a:lnTo>
                        <a:lnTo>
                          <a:pt x="14630" y="5053"/>
                        </a:lnTo>
                        <a:lnTo>
                          <a:pt x="14673" y="4905"/>
                        </a:lnTo>
                        <a:lnTo>
                          <a:pt x="14673" y="4807"/>
                        </a:lnTo>
                        <a:lnTo>
                          <a:pt x="14673" y="4709"/>
                        </a:lnTo>
                        <a:lnTo>
                          <a:pt x="14630" y="4660"/>
                        </a:lnTo>
                        <a:lnTo>
                          <a:pt x="14587" y="4562"/>
                        </a:lnTo>
                        <a:lnTo>
                          <a:pt x="14545" y="4415"/>
                        </a:lnTo>
                        <a:lnTo>
                          <a:pt x="14502" y="4268"/>
                        </a:lnTo>
                        <a:lnTo>
                          <a:pt x="14416" y="4121"/>
                        </a:lnTo>
                        <a:lnTo>
                          <a:pt x="14373" y="4022"/>
                        </a:lnTo>
                        <a:lnTo>
                          <a:pt x="14331" y="3875"/>
                        </a:lnTo>
                        <a:lnTo>
                          <a:pt x="14245" y="3679"/>
                        </a:lnTo>
                        <a:lnTo>
                          <a:pt x="14245" y="3385"/>
                        </a:lnTo>
                        <a:lnTo>
                          <a:pt x="14245" y="3238"/>
                        </a:lnTo>
                        <a:lnTo>
                          <a:pt x="14288" y="3139"/>
                        </a:lnTo>
                        <a:lnTo>
                          <a:pt x="14373" y="2943"/>
                        </a:lnTo>
                        <a:lnTo>
                          <a:pt x="14373" y="2796"/>
                        </a:lnTo>
                        <a:lnTo>
                          <a:pt x="14331" y="2649"/>
                        </a:lnTo>
                        <a:lnTo>
                          <a:pt x="14288" y="2453"/>
                        </a:lnTo>
                        <a:lnTo>
                          <a:pt x="14245" y="2256"/>
                        </a:lnTo>
                        <a:lnTo>
                          <a:pt x="14202" y="2060"/>
                        </a:lnTo>
                        <a:lnTo>
                          <a:pt x="14117" y="1913"/>
                        </a:lnTo>
                        <a:lnTo>
                          <a:pt x="14031" y="1766"/>
                        </a:lnTo>
                        <a:lnTo>
                          <a:pt x="14031" y="1717"/>
                        </a:lnTo>
                        <a:lnTo>
                          <a:pt x="13988" y="1570"/>
                        </a:lnTo>
                        <a:lnTo>
                          <a:pt x="13903" y="1275"/>
                        </a:lnTo>
                        <a:lnTo>
                          <a:pt x="13903" y="883"/>
                        </a:lnTo>
                        <a:lnTo>
                          <a:pt x="13860" y="785"/>
                        </a:lnTo>
                        <a:lnTo>
                          <a:pt x="13775" y="736"/>
                        </a:lnTo>
                        <a:lnTo>
                          <a:pt x="13732" y="589"/>
                        </a:lnTo>
                        <a:lnTo>
                          <a:pt x="13775" y="245"/>
                        </a:lnTo>
                        <a:lnTo>
                          <a:pt x="13732" y="196"/>
                        </a:lnTo>
                        <a:lnTo>
                          <a:pt x="13689" y="0"/>
                        </a:lnTo>
                        <a:lnTo>
                          <a:pt x="12106" y="491"/>
                        </a:lnTo>
                        <a:lnTo>
                          <a:pt x="11678" y="589"/>
                        </a:lnTo>
                        <a:lnTo>
                          <a:pt x="11293" y="736"/>
                        </a:lnTo>
                        <a:lnTo>
                          <a:pt x="10994" y="785"/>
                        </a:lnTo>
                        <a:lnTo>
                          <a:pt x="10695" y="834"/>
                        </a:lnTo>
                        <a:lnTo>
                          <a:pt x="10481" y="932"/>
                        </a:lnTo>
                        <a:lnTo>
                          <a:pt x="10438" y="981"/>
                        </a:lnTo>
                        <a:lnTo>
                          <a:pt x="10267" y="932"/>
                        </a:lnTo>
                        <a:lnTo>
                          <a:pt x="10181" y="932"/>
                        </a:lnTo>
                        <a:lnTo>
                          <a:pt x="10053" y="1079"/>
                        </a:lnTo>
                        <a:lnTo>
                          <a:pt x="9967" y="1079"/>
                        </a:lnTo>
                        <a:lnTo>
                          <a:pt x="9839" y="1177"/>
                        </a:lnTo>
                        <a:lnTo>
                          <a:pt x="9753" y="1324"/>
                        </a:lnTo>
                        <a:lnTo>
                          <a:pt x="9668" y="1423"/>
                        </a:lnTo>
                        <a:lnTo>
                          <a:pt x="9368" y="1668"/>
                        </a:lnTo>
                        <a:lnTo>
                          <a:pt x="9240" y="1815"/>
                        </a:lnTo>
                        <a:lnTo>
                          <a:pt x="8855" y="2453"/>
                        </a:lnTo>
                        <a:lnTo>
                          <a:pt x="8556" y="2992"/>
                        </a:lnTo>
                        <a:lnTo>
                          <a:pt x="8385" y="3287"/>
                        </a:lnTo>
                        <a:lnTo>
                          <a:pt x="8299" y="3483"/>
                        </a:lnTo>
                        <a:lnTo>
                          <a:pt x="8342" y="3532"/>
                        </a:lnTo>
                        <a:lnTo>
                          <a:pt x="8342" y="3679"/>
                        </a:lnTo>
                        <a:lnTo>
                          <a:pt x="8299" y="3777"/>
                        </a:lnTo>
                        <a:lnTo>
                          <a:pt x="8256" y="3924"/>
                        </a:lnTo>
                        <a:lnTo>
                          <a:pt x="8085" y="4170"/>
                        </a:lnTo>
                        <a:lnTo>
                          <a:pt x="7999" y="4366"/>
                        </a:lnTo>
                        <a:lnTo>
                          <a:pt x="7871" y="4562"/>
                        </a:lnTo>
                        <a:lnTo>
                          <a:pt x="7614" y="4807"/>
                        </a:lnTo>
                        <a:lnTo>
                          <a:pt x="7272" y="5151"/>
                        </a:lnTo>
                        <a:lnTo>
                          <a:pt x="7229" y="5200"/>
                        </a:lnTo>
                        <a:lnTo>
                          <a:pt x="7187" y="5298"/>
                        </a:lnTo>
                        <a:lnTo>
                          <a:pt x="7187" y="5396"/>
                        </a:lnTo>
                        <a:lnTo>
                          <a:pt x="7315" y="5494"/>
                        </a:lnTo>
                        <a:lnTo>
                          <a:pt x="7401" y="5690"/>
                        </a:lnTo>
                        <a:lnTo>
                          <a:pt x="7443" y="5788"/>
                        </a:lnTo>
                        <a:lnTo>
                          <a:pt x="7443" y="5837"/>
                        </a:lnTo>
                        <a:lnTo>
                          <a:pt x="7529" y="5837"/>
                        </a:lnTo>
                        <a:lnTo>
                          <a:pt x="7572" y="5739"/>
                        </a:lnTo>
                        <a:lnTo>
                          <a:pt x="7572" y="5592"/>
                        </a:lnTo>
                        <a:lnTo>
                          <a:pt x="7486" y="5543"/>
                        </a:lnTo>
                        <a:lnTo>
                          <a:pt x="7486" y="5494"/>
                        </a:lnTo>
                        <a:lnTo>
                          <a:pt x="7486" y="5445"/>
                        </a:lnTo>
                        <a:lnTo>
                          <a:pt x="7572" y="5445"/>
                        </a:lnTo>
                        <a:lnTo>
                          <a:pt x="7614" y="5445"/>
                        </a:lnTo>
                        <a:lnTo>
                          <a:pt x="7657" y="5543"/>
                        </a:lnTo>
                        <a:lnTo>
                          <a:pt x="7743" y="5494"/>
                        </a:lnTo>
                        <a:lnTo>
                          <a:pt x="7743" y="5543"/>
                        </a:lnTo>
                        <a:lnTo>
                          <a:pt x="7657" y="5739"/>
                        </a:lnTo>
                        <a:lnTo>
                          <a:pt x="7786" y="5788"/>
                        </a:lnTo>
                        <a:lnTo>
                          <a:pt x="7786" y="5985"/>
                        </a:lnTo>
                        <a:lnTo>
                          <a:pt x="7743" y="6132"/>
                        </a:lnTo>
                        <a:lnTo>
                          <a:pt x="7657" y="6181"/>
                        </a:lnTo>
                        <a:lnTo>
                          <a:pt x="7614" y="6132"/>
                        </a:lnTo>
                        <a:lnTo>
                          <a:pt x="7572" y="6132"/>
                        </a:lnTo>
                        <a:lnTo>
                          <a:pt x="7529" y="6230"/>
                        </a:lnTo>
                        <a:lnTo>
                          <a:pt x="7529" y="6328"/>
                        </a:lnTo>
                        <a:lnTo>
                          <a:pt x="7572" y="6377"/>
                        </a:lnTo>
                        <a:lnTo>
                          <a:pt x="7700" y="6524"/>
                        </a:lnTo>
                        <a:lnTo>
                          <a:pt x="7743" y="6671"/>
                        </a:lnTo>
                        <a:lnTo>
                          <a:pt x="7828" y="6868"/>
                        </a:lnTo>
                        <a:lnTo>
                          <a:pt x="7871" y="7015"/>
                        </a:lnTo>
                        <a:lnTo>
                          <a:pt x="7871" y="7211"/>
                        </a:lnTo>
                        <a:lnTo>
                          <a:pt x="7871" y="7309"/>
                        </a:lnTo>
                        <a:lnTo>
                          <a:pt x="7828" y="7456"/>
                        </a:lnTo>
                        <a:lnTo>
                          <a:pt x="7786" y="7554"/>
                        </a:lnTo>
                        <a:lnTo>
                          <a:pt x="7614" y="7554"/>
                        </a:lnTo>
                        <a:lnTo>
                          <a:pt x="7486" y="7554"/>
                        </a:lnTo>
                        <a:lnTo>
                          <a:pt x="7401" y="7603"/>
                        </a:lnTo>
                        <a:lnTo>
                          <a:pt x="7315" y="7701"/>
                        </a:lnTo>
                        <a:lnTo>
                          <a:pt x="7315" y="7800"/>
                        </a:lnTo>
                        <a:lnTo>
                          <a:pt x="7272" y="7898"/>
                        </a:lnTo>
                        <a:lnTo>
                          <a:pt x="7272" y="7947"/>
                        </a:lnTo>
                        <a:lnTo>
                          <a:pt x="7101" y="7947"/>
                        </a:lnTo>
                        <a:lnTo>
                          <a:pt x="7058" y="8094"/>
                        </a:lnTo>
                        <a:lnTo>
                          <a:pt x="6973" y="8143"/>
                        </a:lnTo>
                        <a:lnTo>
                          <a:pt x="6973" y="8241"/>
                        </a:lnTo>
                        <a:lnTo>
                          <a:pt x="6887" y="8339"/>
                        </a:lnTo>
                        <a:lnTo>
                          <a:pt x="6887" y="8486"/>
                        </a:lnTo>
                        <a:lnTo>
                          <a:pt x="6844" y="8486"/>
                        </a:lnTo>
                        <a:lnTo>
                          <a:pt x="6759" y="8486"/>
                        </a:lnTo>
                        <a:lnTo>
                          <a:pt x="6631" y="8633"/>
                        </a:lnTo>
                        <a:lnTo>
                          <a:pt x="6588" y="8683"/>
                        </a:lnTo>
                        <a:lnTo>
                          <a:pt x="6417" y="8732"/>
                        </a:lnTo>
                        <a:lnTo>
                          <a:pt x="6331" y="8732"/>
                        </a:lnTo>
                        <a:lnTo>
                          <a:pt x="6331" y="8830"/>
                        </a:lnTo>
                        <a:lnTo>
                          <a:pt x="6288" y="8928"/>
                        </a:lnTo>
                        <a:lnTo>
                          <a:pt x="6203" y="8830"/>
                        </a:lnTo>
                        <a:lnTo>
                          <a:pt x="5946" y="8879"/>
                        </a:lnTo>
                        <a:lnTo>
                          <a:pt x="5689" y="8928"/>
                        </a:lnTo>
                        <a:lnTo>
                          <a:pt x="5433" y="8977"/>
                        </a:lnTo>
                        <a:lnTo>
                          <a:pt x="5262" y="9026"/>
                        </a:lnTo>
                        <a:lnTo>
                          <a:pt x="5176" y="9075"/>
                        </a:lnTo>
                        <a:lnTo>
                          <a:pt x="5005" y="9173"/>
                        </a:lnTo>
                        <a:lnTo>
                          <a:pt x="4962" y="9271"/>
                        </a:lnTo>
                        <a:lnTo>
                          <a:pt x="4919" y="9369"/>
                        </a:lnTo>
                        <a:lnTo>
                          <a:pt x="4834" y="9271"/>
                        </a:lnTo>
                        <a:lnTo>
                          <a:pt x="4748" y="9320"/>
                        </a:lnTo>
                        <a:lnTo>
                          <a:pt x="4663" y="9271"/>
                        </a:lnTo>
                        <a:lnTo>
                          <a:pt x="4492" y="9173"/>
                        </a:lnTo>
                        <a:lnTo>
                          <a:pt x="4321" y="9075"/>
                        </a:lnTo>
                        <a:lnTo>
                          <a:pt x="4149" y="9026"/>
                        </a:lnTo>
                        <a:lnTo>
                          <a:pt x="3850" y="9075"/>
                        </a:lnTo>
                        <a:lnTo>
                          <a:pt x="3679" y="9075"/>
                        </a:lnTo>
                        <a:lnTo>
                          <a:pt x="3465" y="9075"/>
                        </a:lnTo>
                        <a:lnTo>
                          <a:pt x="3251" y="9173"/>
                        </a:lnTo>
                        <a:lnTo>
                          <a:pt x="3166" y="9173"/>
                        </a:lnTo>
                        <a:lnTo>
                          <a:pt x="3037" y="9222"/>
                        </a:lnTo>
                        <a:lnTo>
                          <a:pt x="2695" y="9320"/>
                        </a:lnTo>
                        <a:lnTo>
                          <a:pt x="2567" y="9320"/>
                        </a:lnTo>
                        <a:lnTo>
                          <a:pt x="2396" y="9369"/>
                        </a:lnTo>
                        <a:lnTo>
                          <a:pt x="2053" y="9516"/>
                        </a:lnTo>
                        <a:lnTo>
                          <a:pt x="1668" y="9713"/>
                        </a:lnTo>
                        <a:lnTo>
                          <a:pt x="1369" y="9860"/>
                        </a:lnTo>
                        <a:lnTo>
                          <a:pt x="1241" y="9909"/>
                        </a:lnTo>
                        <a:lnTo>
                          <a:pt x="1283" y="10056"/>
                        </a:lnTo>
                        <a:lnTo>
                          <a:pt x="1283" y="10252"/>
                        </a:lnTo>
                        <a:lnTo>
                          <a:pt x="1326" y="10448"/>
                        </a:lnTo>
                        <a:lnTo>
                          <a:pt x="1283" y="10498"/>
                        </a:lnTo>
                        <a:lnTo>
                          <a:pt x="1241" y="10547"/>
                        </a:lnTo>
                        <a:lnTo>
                          <a:pt x="1241" y="10596"/>
                        </a:lnTo>
                        <a:lnTo>
                          <a:pt x="1283" y="10694"/>
                        </a:lnTo>
                        <a:lnTo>
                          <a:pt x="1326" y="10694"/>
                        </a:lnTo>
                        <a:lnTo>
                          <a:pt x="1412" y="10792"/>
                        </a:lnTo>
                        <a:lnTo>
                          <a:pt x="1412" y="10890"/>
                        </a:lnTo>
                        <a:lnTo>
                          <a:pt x="1412" y="10988"/>
                        </a:lnTo>
                        <a:lnTo>
                          <a:pt x="1540" y="11086"/>
                        </a:lnTo>
                        <a:lnTo>
                          <a:pt x="1540" y="11184"/>
                        </a:lnTo>
                        <a:lnTo>
                          <a:pt x="1583" y="11086"/>
                        </a:lnTo>
                        <a:lnTo>
                          <a:pt x="1668" y="11086"/>
                        </a:lnTo>
                        <a:lnTo>
                          <a:pt x="1754" y="11184"/>
                        </a:lnTo>
                        <a:lnTo>
                          <a:pt x="1754" y="11331"/>
                        </a:lnTo>
                        <a:lnTo>
                          <a:pt x="1839" y="11479"/>
                        </a:lnTo>
                        <a:lnTo>
                          <a:pt x="1925" y="11675"/>
                        </a:lnTo>
                        <a:lnTo>
                          <a:pt x="1925" y="11822"/>
                        </a:lnTo>
                        <a:lnTo>
                          <a:pt x="1839" y="11920"/>
                        </a:lnTo>
                        <a:lnTo>
                          <a:pt x="1626" y="12067"/>
                        </a:lnTo>
                        <a:lnTo>
                          <a:pt x="1583" y="12116"/>
                        </a:lnTo>
                        <a:lnTo>
                          <a:pt x="1540" y="12214"/>
                        </a:lnTo>
                        <a:lnTo>
                          <a:pt x="1497" y="12362"/>
                        </a:lnTo>
                        <a:lnTo>
                          <a:pt x="1454" y="12558"/>
                        </a:lnTo>
                        <a:lnTo>
                          <a:pt x="1412" y="12705"/>
                        </a:lnTo>
                        <a:lnTo>
                          <a:pt x="1326" y="12754"/>
                        </a:lnTo>
                        <a:lnTo>
                          <a:pt x="1198" y="12852"/>
                        </a:lnTo>
                        <a:lnTo>
                          <a:pt x="1027" y="12999"/>
                        </a:lnTo>
                        <a:lnTo>
                          <a:pt x="941" y="13097"/>
                        </a:lnTo>
                        <a:lnTo>
                          <a:pt x="898" y="13146"/>
                        </a:lnTo>
                        <a:lnTo>
                          <a:pt x="813" y="13195"/>
                        </a:lnTo>
                        <a:lnTo>
                          <a:pt x="770" y="13343"/>
                        </a:lnTo>
                        <a:lnTo>
                          <a:pt x="727" y="13392"/>
                        </a:lnTo>
                        <a:lnTo>
                          <a:pt x="471" y="13735"/>
                        </a:lnTo>
                        <a:lnTo>
                          <a:pt x="128" y="14078"/>
                        </a:lnTo>
                        <a:lnTo>
                          <a:pt x="0" y="14226"/>
                        </a:lnTo>
                        <a:lnTo>
                          <a:pt x="128" y="15207"/>
                        </a:lnTo>
                        <a:lnTo>
                          <a:pt x="513" y="15158"/>
                        </a:lnTo>
                        <a:lnTo>
                          <a:pt x="1882" y="14863"/>
                        </a:lnTo>
                        <a:lnTo>
                          <a:pt x="2267" y="14814"/>
                        </a:lnTo>
                        <a:lnTo>
                          <a:pt x="3764" y="14471"/>
                        </a:lnTo>
                        <a:lnTo>
                          <a:pt x="4021" y="14422"/>
                        </a:lnTo>
                        <a:lnTo>
                          <a:pt x="5176" y="14177"/>
                        </a:lnTo>
                        <a:lnTo>
                          <a:pt x="5518" y="14128"/>
                        </a:lnTo>
                        <a:lnTo>
                          <a:pt x="7144" y="13735"/>
                        </a:lnTo>
                        <a:lnTo>
                          <a:pt x="7229" y="13735"/>
                        </a:lnTo>
                        <a:lnTo>
                          <a:pt x="8171" y="13490"/>
                        </a:lnTo>
                        <a:lnTo>
                          <a:pt x="9197" y="13245"/>
                        </a:lnTo>
                        <a:lnTo>
                          <a:pt x="9283" y="13245"/>
                        </a:lnTo>
                        <a:lnTo>
                          <a:pt x="10823" y="12852"/>
                        </a:lnTo>
                        <a:lnTo>
                          <a:pt x="11037" y="12803"/>
                        </a:lnTo>
                        <a:close/>
                      </a:path>
                    </a:pathLst>
                  </a:custGeom>
                  <a:solidFill>
                    <a:srgbClr val="FF0000"/>
                  </a:solidFill>
                  <a:ln w="952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marL="0" marR="0" lvl="0" indent="0" defTabSz="121917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</a:endParaRPr>
                  </a:p>
                </p:txBody>
              </p:sp>
            </p:grpSp>
            <p:sp>
              <p:nvSpPr>
                <p:cNvPr id="51" name="North_Carolina">
                  <a:extLst>
                    <a:ext uri="{FF2B5EF4-FFF2-40B4-BE49-F238E27FC236}">
                      <a16:creationId xmlns:a16="http://schemas.microsoft.com/office/drawing/2014/main" id="{CF401697-DE25-CFF9-5DDF-F2613D47D83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2983827" y="9544050"/>
                  <a:ext cx="5076825" cy="2171701"/>
                </a:xfrm>
                <a:custGeom>
                  <a:avLst/>
                  <a:gdLst>
                    <a:gd name="T0" fmla="*/ 2147483647 w 16384"/>
                    <a:gd name="T1" fmla="*/ 2147483647 h 16384"/>
                    <a:gd name="T2" fmla="*/ 2147483647 w 16384"/>
                    <a:gd name="T3" fmla="*/ 2147483647 h 16384"/>
                    <a:gd name="T4" fmla="*/ 2147483647 w 16384"/>
                    <a:gd name="T5" fmla="*/ 2147483647 h 16384"/>
                    <a:gd name="T6" fmla="*/ 2147483647 w 16384"/>
                    <a:gd name="T7" fmla="*/ 2147483647 h 16384"/>
                    <a:gd name="T8" fmla="*/ 2147483647 w 16384"/>
                    <a:gd name="T9" fmla="*/ 2147483647 h 16384"/>
                    <a:gd name="T10" fmla="*/ 2147483647 w 16384"/>
                    <a:gd name="T11" fmla="*/ 2147483647 h 16384"/>
                    <a:gd name="T12" fmla="*/ 2147483647 w 16384"/>
                    <a:gd name="T13" fmla="*/ 2147483647 h 16384"/>
                    <a:gd name="T14" fmla="*/ 2147483647 w 16384"/>
                    <a:gd name="T15" fmla="*/ 2147483647 h 16384"/>
                    <a:gd name="T16" fmla="*/ 2147483647 w 16384"/>
                    <a:gd name="T17" fmla="*/ 2147483647 h 16384"/>
                    <a:gd name="T18" fmla="*/ 2147483647 w 16384"/>
                    <a:gd name="T19" fmla="*/ 2147483647 h 16384"/>
                    <a:gd name="T20" fmla="*/ 2147483647 w 16384"/>
                    <a:gd name="T21" fmla="*/ 2147483647 h 16384"/>
                    <a:gd name="T22" fmla="*/ 2147483647 w 16384"/>
                    <a:gd name="T23" fmla="*/ 2147483647 h 16384"/>
                    <a:gd name="T24" fmla="*/ 2147483647 w 16384"/>
                    <a:gd name="T25" fmla="*/ 2147483647 h 16384"/>
                    <a:gd name="T26" fmla="*/ 2147483647 w 16384"/>
                    <a:gd name="T27" fmla="*/ 2147483647 h 16384"/>
                    <a:gd name="T28" fmla="*/ 2147483647 w 16384"/>
                    <a:gd name="T29" fmla="*/ 2147483647 h 16384"/>
                    <a:gd name="T30" fmla="*/ 2147483647 w 16384"/>
                    <a:gd name="T31" fmla="*/ 2147483647 h 16384"/>
                    <a:gd name="T32" fmla="*/ 2147483647 w 16384"/>
                    <a:gd name="T33" fmla="*/ 2147483647 h 16384"/>
                    <a:gd name="T34" fmla="*/ 2147483647 w 16384"/>
                    <a:gd name="T35" fmla="*/ 2147483647 h 16384"/>
                    <a:gd name="T36" fmla="*/ 2147483647 w 16384"/>
                    <a:gd name="T37" fmla="*/ 2147483647 h 16384"/>
                    <a:gd name="T38" fmla="*/ 2147483647 w 16384"/>
                    <a:gd name="T39" fmla="*/ 2147483647 h 16384"/>
                    <a:gd name="T40" fmla="*/ 2147483647 w 16384"/>
                    <a:gd name="T41" fmla="*/ 2147483647 h 16384"/>
                    <a:gd name="T42" fmla="*/ 2147483647 w 16384"/>
                    <a:gd name="T43" fmla="*/ 2147483647 h 16384"/>
                    <a:gd name="T44" fmla="*/ 2147483647 w 16384"/>
                    <a:gd name="T45" fmla="*/ 2147483647 h 16384"/>
                    <a:gd name="T46" fmla="*/ 2147483647 w 16384"/>
                    <a:gd name="T47" fmla="*/ 2147483647 h 16384"/>
                    <a:gd name="T48" fmla="*/ 2147483647 w 16384"/>
                    <a:gd name="T49" fmla="*/ 2147483647 h 16384"/>
                    <a:gd name="T50" fmla="*/ 2147483647 w 16384"/>
                    <a:gd name="T51" fmla="*/ 2147483647 h 16384"/>
                    <a:gd name="T52" fmla="*/ 2147483647 w 16384"/>
                    <a:gd name="T53" fmla="*/ 2147483647 h 16384"/>
                    <a:gd name="T54" fmla="*/ 2147483647 w 16384"/>
                    <a:gd name="T55" fmla="*/ 2147483647 h 16384"/>
                    <a:gd name="T56" fmla="*/ 2147483647 w 16384"/>
                    <a:gd name="T57" fmla="*/ 2147483647 h 16384"/>
                    <a:gd name="T58" fmla="*/ 2147483647 w 16384"/>
                    <a:gd name="T59" fmla="*/ 2147483647 h 16384"/>
                    <a:gd name="T60" fmla="*/ 2147483647 w 16384"/>
                    <a:gd name="T61" fmla="*/ 2147483647 h 16384"/>
                    <a:gd name="T62" fmla="*/ 2147483647 w 16384"/>
                    <a:gd name="T63" fmla="*/ 2147483647 h 16384"/>
                    <a:gd name="T64" fmla="*/ 2147483647 w 16384"/>
                    <a:gd name="T65" fmla="*/ 2147483647 h 16384"/>
                    <a:gd name="T66" fmla="*/ 2147483647 w 16384"/>
                    <a:gd name="T67" fmla="*/ 2147483647 h 16384"/>
                    <a:gd name="T68" fmla="*/ 2147483647 w 16384"/>
                    <a:gd name="T69" fmla="*/ 2147483647 h 16384"/>
                    <a:gd name="T70" fmla="*/ 2147483647 w 16384"/>
                    <a:gd name="T71" fmla="*/ 2147483647 h 16384"/>
                    <a:gd name="T72" fmla="*/ 2147483647 w 16384"/>
                    <a:gd name="T73" fmla="*/ 2147483647 h 16384"/>
                    <a:gd name="T74" fmla="*/ 2147483647 w 16384"/>
                    <a:gd name="T75" fmla="*/ 2147483647 h 16384"/>
                    <a:gd name="T76" fmla="*/ 2147483647 w 16384"/>
                    <a:gd name="T77" fmla="*/ 2147483647 h 16384"/>
                    <a:gd name="T78" fmla="*/ 2147483647 w 16384"/>
                    <a:gd name="T79" fmla="*/ 2147483647 h 16384"/>
                    <a:gd name="T80" fmla="*/ 2147483647 w 16384"/>
                    <a:gd name="T81" fmla="*/ 2147483647 h 16384"/>
                    <a:gd name="T82" fmla="*/ 2147483647 w 16384"/>
                    <a:gd name="T83" fmla="*/ 2147483647 h 16384"/>
                    <a:gd name="T84" fmla="*/ 2147483647 w 16384"/>
                    <a:gd name="T85" fmla="*/ 2147483647 h 16384"/>
                    <a:gd name="T86" fmla="*/ 2147483647 w 16384"/>
                    <a:gd name="T87" fmla="*/ 2147483647 h 16384"/>
                    <a:gd name="T88" fmla="*/ 2147483647 w 16384"/>
                    <a:gd name="T89" fmla="*/ 2147483647 h 16384"/>
                    <a:gd name="T90" fmla="*/ 2147483647 w 16384"/>
                    <a:gd name="T91" fmla="*/ 2147483647 h 16384"/>
                    <a:gd name="T92" fmla="*/ 2147483647 w 16384"/>
                    <a:gd name="T93" fmla="*/ 2147483647 h 16384"/>
                    <a:gd name="T94" fmla="*/ 2147483647 w 16384"/>
                    <a:gd name="T95" fmla="*/ 2147483647 h 16384"/>
                    <a:gd name="T96" fmla="*/ 2147483647 w 16384"/>
                    <a:gd name="T97" fmla="*/ 2147483647 h 16384"/>
                    <a:gd name="T98" fmla="*/ 2147483647 w 16384"/>
                    <a:gd name="T99" fmla="*/ 2147483647 h 16384"/>
                    <a:gd name="T100" fmla="*/ 2147483647 w 16384"/>
                    <a:gd name="T101" fmla="*/ 2147483647 h 16384"/>
                    <a:gd name="T102" fmla="*/ 2147483647 w 16384"/>
                    <a:gd name="T103" fmla="*/ 2147483647 h 16384"/>
                    <a:gd name="T104" fmla="*/ 2147483647 w 16384"/>
                    <a:gd name="T105" fmla="*/ 2147483647 h 16384"/>
                    <a:gd name="T106" fmla="*/ 2147483647 w 16384"/>
                    <a:gd name="T107" fmla="*/ 2147483647 h 16384"/>
                    <a:gd name="T108" fmla="*/ 2147483647 w 16384"/>
                    <a:gd name="T109" fmla="*/ 2147483647 h 16384"/>
                    <a:gd name="T110" fmla="*/ 2147483647 w 16384"/>
                    <a:gd name="T111" fmla="*/ 2147483647 h 16384"/>
                    <a:gd name="T112" fmla="*/ 2147483647 w 16384"/>
                    <a:gd name="T113" fmla="*/ 2147483647 h 16384"/>
                    <a:gd name="T114" fmla="*/ 2147483647 w 16384"/>
                    <a:gd name="T115" fmla="*/ 2147483647 h 16384"/>
                    <a:gd name="T116" fmla="*/ 2147483647 w 16384"/>
                    <a:gd name="T117" fmla="*/ 2147483647 h 16384"/>
                    <a:gd name="T118" fmla="*/ 2147483647 w 16384"/>
                    <a:gd name="T119" fmla="*/ 2147483647 h 16384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60000 65536"/>
                    <a:gd name="T178" fmla="*/ 0 60000 65536"/>
                    <a:gd name="T179" fmla="*/ 0 60000 65536"/>
                    <a:gd name="T180" fmla="*/ 0 w 16384"/>
                    <a:gd name="T181" fmla="*/ 0 h 16384"/>
                    <a:gd name="T182" fmla="*/ 16384 w 16384"/>
                    <a:gd name="T183" fmla="*/ 16384 h 16384"/>
                  </a:gdLst>
                  <a:ahLst/>
                  <a:cxnLst>
                    <a:cxn ang="T120">
                      <a:pos x="T0" y="T1"/>
                    </a:cxn>
                    <a:cxn ang="T121">
                      <a:pos x="T2" y="T3"/>
                    </a:cxn>
                    <a:cxn ang="T122">
                      <a:pos x="T4" y="T5"/>
                    </a:cxn>
                    <a:cxn ang="T123">
                      <a:pos x="T6" y="T7"/>
                    </a:cxn>
                    <a:cxn ang="T124">
                      <a:pos x="T8" y="T9"/>
                    </a:cxn>
                    <a:cxn ang="T125">
                      <a:pos x="T10" y="T11"/>
                    </a:cxn>
                    <a:cxn ang="T126">
                      <a:pos x="T12" y="T13"/>
                    </a:cxn>
                    <a:cxn ang="T127">
                      <a:pos x="T14" y="T15"/>
                    </a:cxn>
                    <a:cxn ang="T128">
                      <a:pos x="T16" y="T17"/>
                    </a:cxn>
                    <a:cxn ang="T129">
                      <a:pos x="T18" y="T19"/>
                    </a:cxn>
                    <a:cxn ang="T130">
                      <a:pos x="T20" y="T21"/>
                    </a:cxn>
                    <a:cxn ang="T131">
                      <a:pos x="T22" y="T23"/>
                    </a:cxn>
                    <a:cxn ang="T132">
                      <a:pos x="T24" y="T25"/>
                    </a:cxn>
                    <a:cxn ang="T133">
                      <a:pos x="T26" y="T27"/>
                    </a:cxn>
                    <a:cxn ang="T134">
                      <a:pos x="T28" y="T29"/>
                    </a:cxn>
                    <a:cxn ang="T135">
                      <a:pos x="T30" y="T31"/>
                    </a:cxn>
                    <a:cxn ang="T136">
                      <a:pos x="T32" y="T33"/>
                    </a:cxn>
                    <a:cxn ang="T137">
                      <a:pos x="T34" y="T35"/>
                    </a:cxn>
                    <a:cxn ang="T138">
                      <a:pos x="T36" y="T37"/>
                    </a:cxn>
                    <a:cxn ang="T139">
                      <a:pos x="T38" y="T39"/>
                    </a:cxn>
                    <a:cxn ang="T140">
                      <a:pos x="T40" y="T41"/>
                    </a:cxn>
                    <a:cxn ang="T141">
                      <a:pos x="T42" y="T43"/>
                    </a:cxn>
                    <a:cxn ang="T142">
                      <a:pos x="T44" y="T45"/>
                    </a:cxn>
                    <a:cxn ang="T143">
                      <a:pos x="T46" y="T47"/>
                    </a:cxn>
                    <a:cxn ang="T144">
                      <a:pos x="T48" y="T49"/>
                    </a:cxn>
                    <a:cxn ang="T145">
                      <a:pos x="T50" y="T51"/>
                    </a:cxn>
                    <a:cxn ang="T146">
                      <a:pos x="T52" y="T53"/>
                    </a:cxn>
                    <a:cxn ang="T147">
                      <a:pos x="T54" y="T55"/>
                    </a:cxn>
                    <a:cxn ang="T148">
                      <a:pos x="T56" y="T57"/>
                    </a:cxn>
                    <a:cxn ang="T149">
                      <a:pos x="T58" y="T59"/>
                    </a:cxn>
                    <a:cxn ang="T150">
                      <a:pos x="T60" y="T61"/>
                    </a:cxn>
                    <a:cxn ang="T151">
                      <a:pos x="T62" y="T63"/>
                    </a:cxn>
                    <a:cxn ang="T152">
                      <a:pos x="T64" y="T65"/>
                    </a:cxn>
                    <a:cxn ang="T153">
                      <a:pos x="T66" y="T67"/>
                    </a:cxn>
                    <a:cxn ang="T154">
                      <a:pos x="T68" y="T69"/>
                    </a:cxn>
                    <a:cxn ang="T155">
                      <a:pos x="T70" y="T71"/>
                    </a:cxn>
                    <a:cxn ang="T156">
                      <a:pos x="T72" y="T73"/>
                    </a:cxn>
                    <a:cxn ang="T157">
                      <a:pos x="T74" y="T75"/>
                    </a:cxn>
                    <a:cxn ang="T158">
                      <a:pos x="T76" y="T77"/>
                    </a:cxn>
                    <a:cxn ang="T159">
                      <a:pos x="T78" y="T79"/>
                    </a:cxn>
                    <a:cxn ang="T160">
                      <a:pos x="T80" y="T81"/>
                    </a:cxn>
                    <a:cxn ang="T161">
                      <a:pos x="T82" y="T83"/>
                    </a:cxn>
                    <a:cxn ang="T162">
                      <a:pos x="T84" y="T85"/>
                    </a:cxn>
                    <a:cxn ang="T163">
                      <a:pos x="T86" y="T87"/>
                    </a:cxn>
                    <a:cxn ang="T164">
                      <a:pos x="T88" y="T89"/>
                    </a:cxn>
                    <a:cxn ang="T165">
                      <a:pos x="T90" y="T91"/>
                    </a:cxn>
                    <a:cxn ang="T166">
                      <a:pos x="T92" y="T93"/>
                    </a:cxn>
                    <a:cxn ang="T167">
                      <a:pos x="T94" y="T95"/>
                    </a:cxn>
                    <a:cxn ang="T168">
                      <a:pos x="T96" y="T97"/>
                    </a:cxn>
                    <a:cxn ang="T169">
                      <a:pos x="T98" y="T99"/>
                    </a:cxn>
                    <a:cxn ang="T170">
                      <a:pos x="T100" y="T101"/>
                    </a:cxn>
                    <a:cxn ang="T171">
                      <a:pos x="T102" y="T103"/>
                    </a:cxn>
                    <a:cxn ang="T172">
                      <a:pos x="T104" y="T105"/>
                    </a:cxn>
                    <a:cxn ang="T173">
                      <a:pos x="T106" y="T107"/>
                    </a:cxn>
                    <a:cxn ang="T174">
                      <a:pos x="T108" y="T109"/>
                    </a:cxn>
                    <a:cxn ang="T175">
                      <a:pos x="T110" y="T111"/>
                    </a:cxn>
                    <a:cxn ang="T176">
                      <a:pos x="T112" y="T113"/>
                    </a:cxn>
                    <a:cxn ang="T177">
                      <a:pos x="T114" y="T115"/>
                    </a:cxn>
                    <a:cxn ang="T178">
                      <a:pos x="T116" y="T117"/>
                    </a:cxn>
                    <a:cxn ang="T179">
                      <a:pos x="T118" y="T119"/>
                    </a:cxn>
                  </a:cxnLst>
                  <a:rect l="T180" t="T181" r="T182" b="T183"/>
                  <a:pathLst>
                    <a:path w="16384" h="16384">
                      <a:moveTo>
                        <a:pt x="14968" y="5596"/>
                      </a:moveTo>
                      <a:lnTo>
                        <a:pt x="14999" y="5596"/>
                      </a:lnTo>
                      <a:lnTo>
                        <a:pt x="15059" y="5664"/>
                      </a:lnTo>
                      <a:lnTo>
                        <a:pt x="15029" y="5798"/>
                      </a:lnTo>
                      <a:lnTo>
                        <a:pt x="15059" y="5866"/>
                      </a:lnTo>
                      <a:lnTo>
                        <a:pt x="14908" y="6001"/>
                      </a:lnTo>
                      <a:lnTo>
                        <a:pt x="14908" y="6068"/>
                      </a:lnTo>
                      <a:lnTo>
                        <a:pt x="14938" y="6203"/>
                      </a:lnTo>
                      <a:lnTo>
                        <a:pt x="14999" y="6608"/>
                      </a:lnTo>
                      <a:lnTo>
                        <a:pt x="15089" y="6540"/>
                      </a:lnTo>
                      <a:lnTo>
                        <a:pt x="15119" y="6405"/>
                      </a:lnTo>
                      <a:lnTo>
                        <a:pt x="15179" y="6338"/>
                      </a:lnTo>
                      <a:lnTo>
                        <a:pt x="15179" y="6203"/>
                      </a:lnTo>
                      <a:lnTo>
                        <a:pt x="15209" y="6203"/>
                      </a:lnTo>
                      <a:lnTo>
                        <a:pt x="15270" y="6203"/>
                      </a:lnTo>
                      <a:lnTo>
                        <a:pt x="15240" y="6473"/>
                      </a:lnTo>
                      <a:lnTo>
                        <a:pt x="15300" y="6608"/>
                      </a:lnTo>
                      <a:lnTo>
                        <a:pt x="15330" y="6608"/>
                      </a:lnTo>
                      <a:lnTo>
                        <a:pt x="15360" y="6608"/>
                      </a:lnTo>
                      <a:lnTo>
                        <a:pt x="15330" y="6405"/>
                      </a:lnTo>
                      <a:lnTo>
                        <a:pt x="15360" y="6338"/>
                      </a:lnTo>
                      <a:lnTo>
                        <a:pt x="15390" y="6338"/>
                      </a:lnTo>
                      <a:lnTo>
                        <a:pt x="15450" y="6540"/>
                      </a:lnTo>
                      <a:lnTo>
                        <a:pt x="15511" y="6540"/>
                      </a:lnTo>
                      <a:lnTo>
                        <a:pt x="15511" y="6405"/>
                      </a:lnTo>
                      <a:lnTo>
                        <a:pt x="15571" y="6405"/>
                      </a:lnTo>
                      <a:lnTo>
                        <a:pt x="15631" y="6540"/>
                      </a:lnTo>
                      <a:lnTo>
                        <a:pt x="15752" y="6540"/>
                      </a:lnTo>
                      <a:lnTo>
                        <a:pt x="15782" y="6405"/>
                      </a:lnTo>
                      <a:lnTo>
                        <a:pt x="15812" y="6338"/>
                      </a:lnTo>
                      <a:lnTo>
                        <a:pt x="15872" y="6270"/>
                      </a:lnTo>
                      <a:lnTo>
                        <a:pt x="15872" y="6203"/>
                      </a:lnTo>
                      <a:lnTo>
                        <a:pt x="15872" y="6068"/>
                      </a:lnTo>
                      <a:lnTo>
                        <a:pt x="15842" y="5866"/>
                      </a:lnTo>
                      <a:lnTo>
                        <a:pt x="15872" y="5798"/>
                      </a:lnTo>
                      <a:lnTo>
                        <a:pt x="15902" y="5866"/>
                      </a:lnTo>
                      <a:lnTo>
                        <a:pt x="15962" y="5933"/>
                      </a:lnTo>
                      <a:lnTo>
                        <a:pt x="15992" y="5933"/>
                      </a:lnTo>
                      <a:lnTo>
                        <a:pt x="15992" y="5731"/>
                      </a:lnTo>
                      <a:lnTo>
                        <a:pt x="16023" y="5596"/>
                      </a:lnTo>
                      <a:lnTo>
                        <a:pt x="16023" y="5394"/>
                      </a:lnTo>
                      <a:lnTo>
                        <a:pt x="16023" y="5326"/>
                      </a:lnTo>
                      <a:lnTo>
                        <a:pt x="16113" y="5259"/>
                      </a:lnTo>
                      <a:lnTo>
                        <a:pt x="16113" y="5057"/>
                      </a:lnTo>
                      <a:lnTo>
                        <a:pt x="16113" y="4855"/>
                      </a:lnTo>
                      <a:lnTo>
                        <a:pt x="16143" y="4855"/>
                      </a:lnTo>
                      <a:lnTo>
                        <a:pt x="16203" y="4922"/>
                      </a:lnTo>
                      <a:lnTo>
                        <a:pt x="16233" y="4989"/>
                      </a:lnTo>
                      <a:lnTo>
                        <a:pt x="16294" y="4922"/>
                      </a:lnTo>
                      <a:lnTo>
                        <a:pt x="16384" y="4720"/>
                      </a:lnTo>
                      <a:lnTo>
                        <a:pt x="16384" y="4652"/>
                      </a:lnTo>
                      <a:lnTo>
                        <a:pt x="16384" y="4517"/>
                      </a:lnTo>
                      <a:lnTo>
                        <a:pt x="16294" y="4315"/>
                      </a:lnTo>
                      <a:lnTo>
                        <a:pt x="16294" y="4248"/>
                      </a:lnTo>
                      <a:lnTo>
                        <a:pt x="16324" y="4248"/>
                      </a:lnTo>
                      <a:lnTo>
                        <a:pt x="16384" y="4248"/>
                      </a:lnTo>
                      <a:lnTo>
                        <a:pt x="16384" y="4180"/>
                      </a:lnTo>
                      <a:lnTo>
                        <a:pt x="16354" y="3978"/>
                      </a:lnTo>
                      <a:lnTo>
                        <a:pt x="16354" y="3776"/>
                      </a:lnTo>
                      <a:lnTo>
                        <a:pt x="16354" y="3641"/>
                      </a:lnTo>
                      <a:lnTo>
                        <a:pt x="16324" y="3573"/>
                      </a:lnTo>
                      <a:lnTo>
                        <a:pt x="16294" y="3439"/>
                      </a:lnTo>
                      <a:lnTo>
                        <a:pt x="16203" y="3304"/>
                      </a:lnTo>
                      <a:lnTo>
                        <a:pt x="16173" y="3101"/>
                      </a:lnTo>
                      <a:lnTo>
                        <a:pt x="15992" y="2899"/>
                      </a:lnTo>
                      <a:lnTo>
                        <a:pt x="15992" y="3034"/>
                      </a:lnTo>
                      <a:lnTo>
                        <a:pt x="15962" y="3101"/>
                      </a:lnTo>
                      <a:lnTo>
                        <a:pt x="15932" y="3101"/>
                      </a:lnTo>
                      <a:lnTo>
                        <a:pt x="15962" y="3304"/>
                      </a:lnTo>
                      <a:lnTo>
                        <a:pt x="15872" y="3304"/>
                      </a:lnTo>
                      <a:lnTo>
                        <a:pt x="15842" y="3371"/>
                      </a:lnTo>
                      <a:lnTo>
                        <a:pt x="15812" y="3439"/>
                      </a:lnTo>
                      <a:lnTo>
                        <a:pt x="15782" y="3573"/>
                      </a:lnTo>
                      <a:lnTo>
                        <a:pt x="15842" y="3843"/>
                      </a:lnTo>
                      <a:lnTo>
                        <a:pt x="15812" y="3978"/>
                      </a:lnTo>
                      <a:lnTo>
                        <a:pt x="15842" y="4248"/>
                      </a:lnTo>
                      <a:lnTo>
                        <a:pt x="15812" y="4383"/>
                      </a:lnTo>
                      <a:lnTo>
                        <a:pt x="15812" y="4652"/>
                      </a:lnTo>
                      <a:lnTo>
                        <a:pt x="15812" y="4720"/>
                      </a:lnTo>
                      <a:lnTo>
                        <a:pt x="15721" y="4720"/>
                      </a:lnTo>
                      <a:lnTo>
                        <a:pt x="15631" y="4720"/>
                      </a:lnTo>
                      <a:lnTo>
                        <a:pt x="15601" y="4652"/>
                      </a:lnTo>
                      <a:lnTo>
                        <a:pt x="15571" y="4585"/>
                      </a:lnTo>
                      <a:lnTo>
                        <a:pt x="15631" y="4585"/>
                      </a:lnTo>
                      <a:lnTo>
                        <a:pt x="15752" y="4652"/>
                      </a:lnTo>
                      <a:lnTo>
                        <a:pt x="15752" y="4517"/>
                      </a:lnTo>
                      <a:lnTo>
                        <a:pt x="15721" y="4383"/>
                      </a:lnTo>
                      <a:lnTo>
                        <a:pt x="15721" y="4248"/>
                      </a:lnTo>
                      <a:lnTo>
                        <a:pt x="15691" y="4248"/>
                      </a:lnTo>
                      <a:lnTo>
                        <a:pt x="15631" y="4180"/>
                      </a:lnTo>
                      <a:lnTo>
                        <a:pt x="15631" y="4113"/>
                      </a:lnTo>
                      <a:lnTo>
                        <a:pt x="15691" y="4045"/>
                      </a:lnTo>
                      <a:lnTo>
                        <a:pt x="15691" y="3978"/>
                      </a:lnTo>
                      <a:lnTo>
                        <a:pt x="15661" y="3708"/>
                      </a:lnTo>
                      <a:lnTo>
                        <a:pt x="15631" y="3641"/>
                      </a:lnTo>
                      <a:lnTo>
                        <a:pt x="15601" y="3641"/>
                      </a:lnTo>
                      <a:lnTo>
                        <a:pt x="15631" y="3573"/>
                      </a:lnTo>
                      <a:lnTo>
                        <a:pt x="15691" y="3506"/>
                      </a:lnTo>
                      <a:lnTo>
                        <a:pt x="15691" y="3236"/>
                      </a:lnTo>
                      <a:lnTo>
                        <a:pt x="15631" y="3236"/>
                      </a:lnTo>
                      <a:lnTo>
                        <a:pt x="15661" y="3101"/>
                      </a:lnTo>
                      <a:lnTo>
                        <a:pt x="15631" y="3034"/>
                      </a:lnTo>
                      <a:lnTo>
                        <a:pt x="15571" y="3034"/>
                      </a:lnTo>
                      <a:lnTo>
                        <a:pt x="15420" y="3101"/>
                      </a:lnTo>
                      <a:lnTo>
                        <a:pt x="15270" y="3236"/>
                      </a:lnTo>
                      <a:lnTo>
                        <a:pt x="15149" y="3371"/>
                      </a:lnTo>
                      <a:lnTo>
                        <a:pt x="15149" y="3439"/>
                      </a:lnTo>
                      <a:lnTo>
                        <a:pt x="15119" y="3506"/>
                      </a:lnTo>
                      <a:lnTo>
                        <a:pt x="15059" y="3573"/>
                      </a:lnTo>
                      <a:lnTo>
                        <a:pt x="15029" y="3573"/>
                      </a:lnTo>
                      <a:lnTo>
                        <a:pt x="14999" y="3573"/>
                      </a:lnTo>
                      <a:lnTo>
                        <a:pt x="14999" y="3506"/>
                      </a:lnTo>
                      <a:lnTo>
                        <a:pt x="14968" y="3371"/>
                      </a:lnTo>
                      <a:lnTo>
                        <a:pt x="14938" y="3371"/>
                      </a:lnTo>
                      <a:lnTo>
                        <a:pt x="14908" y="3371"/>
                      </a:lnTo>
                      <a:lnTo>
                        <a:pt x="14848" y="3439"/>
                      </a:lnTo>
                      <a:lnTo>
                        <a:pt x="14818" y="3573"/>
                      </a:lnTo>
                      <a:lnTo>
                        <a:pt x="14758" y="3641"/>
                      </a:lnTo>
                      <a:lnTo>
                        <a:pt x="14667" y="3641"/>
                      </a:lnTo>
                      <a:lnTo>
                        <a:pt x="14426" y="3911"/>
                      </a:lnTo>
                      <a:lnTo>
                        <a:pt x="14336" y="3978"/>
                      </a:lnTo>
                      <a:lnTo>
                        <a:pt x="14336" y="3911"/>
                      </a:lnTo>
                      <a:lnTo>
                        <a:pt x="14336" y="3843"/>
                      </a:lnTo>
                      <a:lnTo>
                        <a:pt x="14336" y="3641"/>
                      </a:lnTo>
                      <a:lnTo>
                        <a:pt x="14396" y="3573"/>
                      </a:lnTo>
                      <a:lnTo>
                        <a:pt x="14396" y="3506"/>
                      </a:lnTo>
                      <a:lnTo>
                        <a:pt x="14366" y="3439"/>
                      </a:lnTo>
                      <a:lnTo>
                        <a:pt x="14336" y="3304"/>
                      </a:lnTo>
                      <a:lnTo>
                        <a:pt x="14246" y="3034"/>
                      </a:lnTo>
                      <a:lnTo>
                        <a:pt x="14185" y="2697"/>
                      </a:lnTo>
                      <a:lnTo>
                        <a:pt x="14155" y="2495"/>
                      </a:lnTo>
                      <a:lnTo>
                        <a:pt x="14155" y="2427"/>
                      </a:lnTo>
                      <a:lnTo>
                        <a:pt x="14185" y="2360"/>
                      </a:lnTo>
                      <a:lnTo>
                        <a:pt x="14216" y="2292"/>
                      </a:lnTo>
                      <a:lnTo>
                        <a:pt x="14216" y="2225"/>
                      </a:lnTo>
                      <a:lnTo>
                        <a:pt x="14216" y="2090"/>
                      </a:lnTo>
                      <a:lnTo>
                        <a:pt x="14216" y="2023"/>
                      </a:lnTo>
                      <a:lnTo>
                        <a:pt x="14155" y="1955"/>
                      </a:lnTo>
                      <a:lnTo>
                        <a:pt x="14125" y="1888"/>
                      </a:lnTo>
                      <a:lnTo>
                        <a:pt x="14095" y="1753"/>
                      </a:lnTo>
                      <a:lnTo>
                        <a:pt x="14125" y="1686"/>
                      </a:lnTo>
                      <a:lnTo>
                        <a:pt x="14155" y="1686"/>
                      </a:lnTo>
                      <a:lnTo>
                        <a:pt x="14216" y="1820"/>
                      </a:lnTo>
                      <a:lnTo>
                        <a:pt x="14246" y="1888"/>
                      </a:lnTo>
                      <a:lnTo>
                        <a:pt x="14306" y="1888"/>
                      </a:lnTo>
                      <a:lnTo>
                        <a:pt x="14306" y="2023"/>
                      </a:lnTo>
                      <a:lnTo>
                        <a:pt x="14306" y="2158"/>
                      </a:lnTo>
                      <a:lnTo>
                        <a:pt x="14246" y="2360"/>
                      </a:lnTo>
                      <a:lnTo>
                        <a:pt x="14246" y="2562"/>
                      </a:lnTo>
                      <a:lnTo>
                        <a:pt x="14276" y="2764"/>
                      </a:lnTo>
                      <a:lnTo>
                        <a:pt x="14336" y="2899"/>
                      </a:lnTo>
                      <a:lnTo>
                        <a:pt x="14336" y="3034"/>
                      </a:lnTo>
                      <a:lnTo>
                        <a:pt x="14366" y="3169"/>
                      </a:lnTo>
                      <a:lnTo>
                        <a:pt x="14426" y="3236"/>
                      </a:lnTo>
                      <a:lnTo>
                        <a:pt x="14456" y="3236"/>
                      </a:lnTo>
                      <a:lnTo>
                        <a:pt x="14487" y="3169"/>
                      </a:lnTo>
                      <a:lnTo>
                        <a:pt x="14577" y="3236"/>
                      </a:lnTo>
                      <a:lnTo>
                        <a:pt x="14697" y="3304"/>
                      </a:lnTo>
                      <a:lnTo>
                        <a:pt x="14758" y="3236"/>
                      </a:lnTo>
                      <a:lnTo>
                        <a:pt x="14818" y="3101"/>
                      </a:lnTo>
                      <a:lnTo>
                        <a:pt x="14848" y="2967"/>
                      </a:lnTo>
                      <a:lnTo>
                        <a:pt x="14818" y="2899"/>
                      </a:lnTo>
                      <a:lnTo>
                        <a:pt x="14788" y="2832"/>
                      </a:lnTo>
                      <a:lnTo>
                        <a:pt x="14818" y="2764"/>
                      </a:lnTo>
                      <a:lnTo>
                        <a:pt x="14938" y="2764"/>
                      </a:lnTo>
                      <a:lnTo>
                        <a:pt x="14968" y="2697"/>
                      </a:lnTo>
                      <a:lnTo>
                        <a:pt x="14999" y="2697"/>
                      </a:lnTo>
                      <a:lnTo>
                        <a:pt x="14999" y="2562"/>
                      </a:lnTo>
                      <a:lnTo>
                        <a:pt x="14938" y="2562"/>
                      </a:lnTo>
                      <a:lnTo>
                        <a:pt x="14848" y="2495"/>
                      </a:lnTo>
                      <a:lnTo>
                        <a:pt x="14848" y="2360"/>
                      </a:lnTo>
                      <a:lnTo>
                        <a:pt x="14878" y="2360"/>
                      </a:lnTo>
                      <a:lnTo>
                        <a:pt x="14908" y="2360"/>
                      </a:lnTo>
                      <a:lnTo>
                        <a:pt x="14999" y="2427"/>
                      </a:lnTo>
                      <a:lnTo>
                        <a:pt x="15149" y="2562"/>
                      </a:lnTo>
                      <a:lnTo>
                        <a:pt x="15209" y="2562"/>
                      </a:lnTo>
                      <a:lnTo>
                        <a:pt x="15209" y="2495"/>
                      </a:lnTo>
                      <a:lnTo>
                        <a:pt x="15209" y="2427"/>
                      </a:lnTo>
                      <a:lnTo>
                        <a:pt x="15179" y="2427"/>
                      </a:lnTo>
                      <a:lnTo>
                        <a:pt x="15149" y="2292"/>
                      </a:lnTo>
                      <a:lnTo>
                        <a:pt x="15149" y="2225"/>
                      </a:lnTo>
                      <a:lnTo>
                        <a:pt x="15089" y="2158"/>
                      </a:lnTo>
                      <a:lnTo>
                        <a:pt x="15059" y="2090"/>
                      </a:lnTo>
                      <a:lnTo>
                        <a:pt x="15089" y="2090"/>
                      </a:lnTo>
                      <a:lnTo>
                        <a:pt x="15149" y="2090"/>
                      </a:lnTo>
                      <a:lnTo>
                        <a:pt x="15209" y="2225"/>
                      </a:lnTo>
                      <a:lnTo>
                        <a:pt x="15300" y="2360"/>
                      </a:lnTo>
                      <a:lnTo>
                        <a:pt x="15330" y="2360"/>
                      </a:lnTo>
                      <a:lnTo>
                        <a:pt x="15330" y="2292"/>
                      </a:lnTo>
                      <a:lnTo>
                        <a:pt x="15360" y="2225"/>
                      </a:lnTo>
                      <a:lnTo>
                        <a:pt x="15450" y="2225"/>
                      </a:lnTo>
                      <a:lnTo>
                        <a:pt x="15480" y="2158"/>
                      </a:lnTo>
                      <a:lnTo>
                        <a:pt x="15511" y="2090"/>
                      </a:lnTo>
                      <a:lnTo>
                        <a:pt x="15480" y="2023"/>
                      </a:lnTo>
                      <a:lnTo>
                        <a:pt x="15420" y="1955"/>
                      </a:lnTo>
                      <a:lnTo>
                        <a:pt x="15330" y="1888"/>
                      </a:lnTo>
                      <a:lnTo>
                        <a:pt x="15330" y="1686"/>
                      </a:lnTo>
                      <a:lnTo>
                        <a:pt x="15300" y="1686"/>
                      </a:lnTo>
                      <a:lnTo>
                        <a:pt x="15240" y="1618"/>
                      </a:lnTo>
                      <a:lnTo>
                        <a:pt x="15209" y="1551"/>
                      </a:lnTo>
                      <a:lnTo>
                        <a:pt x="15209" y="1483"/>
                      </a:lnTo>
                      <a:lnTo>
                        <a:pt x="15240" y="1416"/>
                      </a:lnTo>
                      <a:lnTo>
                        <a:pt x="15300" y="1416"/>
                      </a:lnTo>
                      <a:lnTo>
                        <a:pt x="15360" y="1551"/>
                      </a:lnTo>
                      <a:lnTo>
                        <a:pt x="15390" y="1686"/>
                      </a:lnTo>
                      <a:lnTo>
                        <a:pt x="15450" y="1686"/>
                      </a:lnTo>
                      <a:lnTo>
                        <a:pt x="15631" y="1888"/>
                      </a:lnTo>
                      <a:lnTo>
                        <a:pt x="15721" y="1955"/>
                      </a:lnTo>
                      <a:lnTo>
                        <a:pt x="15721" y="1888"/>
                      </a:lnTo>
                      <a:lnTo>
                        <a:pt x="15721" y="1820"/>
                      </a:lnTo>
                      <a:lnTo>
                        <a:pt x="15661" y="1820"/>
                      </a:lnTo>
                      <a:lnTo>
                        <a:pt x="15631" y="1753"/>
                      </a:lnTo>
                      <a:lnTo>
                        <a:pt x="15631" y="1618"/>
                      </a:lnTo>
                      <a:lnTo>
                        <a:pt x="15631" y="1551"/>
                      </a:lnTo>
                      <a:lnTo>
                        <a:pt x="15601" y="1416"/>
                      </a:lnTo>
                      <a:lnTo>
                        <a:pt x="15571" y="1281"/>
                      </a:lnTo>
                      <a:lnTo>
                        <a:pt x="15601" y="1281"/>
                      </a:lnTo>
                      <a:lnTo>
                        <a:pt x="15631" y="1281"/>
                      </a:lnTo>
                      <a:lnTo>
                        <a:pt x="15691" y="1551"/>
                      </a:lnTo>
                      <a:lnTo>
                        <a:pt x="15752" y="1618"/>
                      </a:lnTo>
                      <a:lnTo>
                        <a:pt x="15782" y="1753"/>
                      </a:lnTo>
                      <a:lnTo>
                        <a:pt x="15812" y="1820"/>
                      </a:lnTo>
                      <a:lnTo>
                        <a:pt x="15842" y="1888"/>
                      </a:lnTo>
                      <a:lnTo>
                        <a:pt x="15902" y="2090"/>
                      </a:lnTo>
                      <a:lnTo>
                        <a:pt x="15932" y="2225"/>
                      </a:lnTo>
                      <a:lnTo>
                        <a:pt x="16023" y="2292"/>
                      </a:lnTo>
                      <a:lnTo>
                        <a:pt x="16023" y="2225"/>
                      </a:lnTo>
                      <a:lnTo>
                        <a:pt x="16023" y="2158"/>
                      </a:lnTo>
                      <a:lnTo>
                        <a:pt x="15992" y="2090"/>
                      </a:lnTo>
                      <a:lnTo>
                        <a:pt x="15962" y="2023"/>
                      </a:lnTo>
                      <a:lnTo>
                        <a:pt x="15932" y="1888"/>
                      </a:lnTo>
                      <a:lnTo>
                        <a:pt x="15902" y="1753"/>
                      </a:lnTo>
                      <a:lnTo>
                        <a:pt x="15902" y="1618"/>
                      </a:lnTo>
                      <a:lnTo>
                        <a:pt x="15872" y="1551"/>
                      </a:lnTo>
                      <a:lnTo>
                        <a:pt x="15782" y="1348"/>
                      </a:lnTo>
                      <a:lnTo>
                        <a:pt x="15752" y="1079"/>
                      </a:lnTo>
                      <a:lnTo>
                        <a:pt x="15691" y="809"/>
                      </a:lnTo>
                      <a:lnTo>
                        <a:pt x="15661" y="674"/>
                      </a:lnTo>
                      <a:lnTo>
                        <a:pt x="15631" y="607"/>
                      </a:lnTo>
                      <a:lnTo>
                        <a:pt x="15601" y="607"/>
                      </a:lnTo>
                      <a:lnTo>
                        <a:pt x="15601" y="674"/>
                      </a:lnTo>
                      <a:lnTo>
                        <a:pt x="15571" y="809"/>
                      </a:lnTo>
                      <a:lnTo>
                        <a:pt x="15541" y="742"/>
                      </a:lnTo>
                      <a:lnTo>
                        <a:pt x="15511" y="607"/>
                      </a:lnTo>
                      <a:lnTo>
                        <a:pt x="15541" y="539"/>
                      </a:lnTo>
                      <a:lnTo>
                        <a:pt x="15511" y="472"/>
                      </a:lnTo>
                      <a:lnTo>
                        <a:pt x="15450" y="472"/>
                      </a:lnTo>
                      <a:lnTo>
                        <a:pt x="15420" y="405"/>
                      </a:lnTo>
                      <a:lnTo>
                        <a:pt x="15390" y="337"/>
                      </a:lnTo>
                      <a:lnTo>
                        <a:pt x="15360" y="337"/>
                      </a:lnTo>
                      <a:lnTo>
                        <a:pt x="15330" y="337"/>
                      </a:lnTo>
                      <a:lnTo>
                        <a:pt x="15300" y="337"/>
                      </a:lnTo>
                      <a:lnTo>
                        <a:pt x="15270" y="270"/>
                      </a:lnTo>
                      <a:lnTo>
                        <a:pt x="15300" y="135"/>
                      </a:lnTo>
                      <a:lnTo>
                        <a:pt x="15360" y="135"/>
                      </a:lnTo>
                      <a:lnTo>
                        <a:pt x="15330" y="0"/>
                      </a:lnTo>
                      <a:lnTo>
                        <a:pt x="15209" y="67"/>
                      </a:lnTo>
                      <a:lnTo>
                        <a:pt x="14788" y="270"/>
                      </a:lnTo>
                      <a:lnTo>
                        <a:pt x="14487" y="405"/>
                      </a:lnTo>
                      <a:lnTo>
                        <a:pt x="14426" y="472"/>
                      </a:lnTo>
                      <a:lnTo>
                        <a:pt x="13673" y="809"/>
                      </a:lnTo>
                      <a:lnTo>
                        <a:pt x="13222" y="1011"/>
                      </a:lnTo>
                      <a:lnTo>
                        <a:pt x="12890" y="1146"/>
                      </a:lnTo>
                      <a:lnTo>
                        <a:pt x="12077" y="1483"/>
                      </a:lnTo>
                      <a:lnTo>
                        <a:pt x="11836" y="1618"/>
                      </a:lnTo>
                      <a:lnTo>
                        <a:pt x="11565" y="1753"/>
                      </a:lnTo>
                      <a:lnTo>
                        <a:pt x="11053" y="1955"/>
                      </a:lnTo>
                      <a:lnTo>
                        <a:pt x="10812" y="2090"/>
                      </a:lnTo>
                      <a:lnTo>
                        <a:pt x="10270" y="2292"/>
                      </a:lnTo>
                      <a:lnTo>
                        <a:pt x="10120" y="2360"/>
                      </a:lnTo>
                      <a:lnTo>
                        <a:pt x="9487" y="2562"/>
                      </a:lnTo>
                      <a:lnTo>
                        <a:pt x="9336" y="2630"/>
                      </a:lnTo>
                      <a:lnTo>
                        <a:pt x="8794" y="2832"/>
                      </a:lnTo>
                      <a:lnTo>
                        <a:pt x="8373" y="2967"/>
                      </a:lnTo>
                      <a:lnTo>
                        <a:pt x="7770" y="3236"/>
                      </a:lnTo>
                      <a:lnTo>
                        <a:pt x="7650" y="3236"/>
                      </a:lnTo>
                      <a:lnTo>
                        <a:pt x="6957" y="3439"/>
                      </a:lnTo>
                      <a:lnTo>
                        <a:pt x="6686" y="3573"/>
                      </a:lnTo>
                      <a:lnTo>
                        <a:pt x="6234" y="3708"/>
                      </a:lnTo>
                      <a:lnTo>
                        <a:pt x="6144" y="3708"/>
                      </a:lnTo>
                      <a:lnTo>
                        <a:pt x="5210" y="3978"/>
                      </a:lnTo>
                      <a:lnTo>
                        <a:pt x="4668" y="4045"/>
                      </a:lnTo>
                      <a:lnTo>
                        <a:pt x="4608" y="4113"/>
                      </a:lnTo>
                      <a:lnTo>
                        <a:pt x="4578" y="4315"/>
                      </a:lnTo>
                      <a:lnTo>
                        <a:pt x="4578" y="4450"/>
                      </a:lnTo>
                      <a:lnTo>
                        <a:pt x="4608" y="4585"/>
                      </a:lnTo>
                      <a:lnTo>
                        <a:pt x="4608" y="4720"/>
                      </a:lnTo>
                      <a:lnTo>
                        <a:pt x="4578" y="4922"/>
                      </a:lnTo>
                      <a:lnTo>
                        <a:pt x="4548" y="5124"/>
                      </a:lnTo>
                      <a:lnTo>
                        <a:pt x="4578" y="5259"/>
                      </a:lnTo>
                      <a:lnTo>
                        <a:pt x="4608" y="5326"/>
                      </a:lnTo>
                      <a:lnTo>
                        <a:pt x="4638" y="5461"/>
                      </a:lnTo>
                      <a:lnTo>
                        <a:pt x="4548" y="5461"/>
                      </a:lnTo>
                      <a:lnTo>
                        <a:pt x="4457" y="5461"/>
                      </a:lnTo>
                      <a:lnTo>
                        <a:pt x="4397" y="5461"/>
                      </a:lnTo>
                      <a:lnTo>
                        <a:pt x="4337" y="5664"/>
                      </a:lnTo>
                      <a:lnTo>
                        <a:pt x="4247" y="6001"/>
                      </a:lnTo>
                      <a:lnTo>
                        <a:pt x="4247" y="6068"/>
                      </a:lnTo>
                      <a:lnTo>
                        <a:pt x="4186" y="6338"/>
                      </a:lnTo>
                      <a:lnTo>
                        <a:pt x="4126" y="6742"/>
                      </a:lnTo>
                      <a:lnTo>
                        <a:pt x="4066" y="6877"/>
                      </a:lnTo>
                      <a:lnTo>
                        <a:pt x="4006" y="6945"/>
                      </a:lnTo>
                      <a:lnTo>
                        <a:pt x="3945" y="6945"/>
                      </a:lnTo>
                      <a:lnTo>
                        <a:pt x="3915" y="6945"/>
                      </a:lnTo>
                      <a:lnTo>
                        <a:pt x="3885" y="6877"/>
                      </a:lnTo>
                      <a:lnTo>
                        <a:pt x="3795" y="6810"/>
                      </a:lnTo>
                      <a:lnTo>
                        <a:pt x="3735" y="6877"/>
                      </a:lnTo>
                      <a:lnTo>
                        <a:pt x="3674" y="6945"/>
                      </a:lnTo>
                      <a:lnTo>
                        <a:pt x="3614" y="6945"/>
                      </a:lnTo>
                      <a:lnTo>
                        <a:pt x="3554" y="7012"/>
                      </a:lnTo>
                      <a:lnTo>
                        <a:pt x="3494" y="7080"/>
                      </a:lnTo>
                      <a:lnTo>
                        <a:pt x="3433" y="7282"/>
                      </a:lnTo>
                      <a:lnTo>
                        <a:pt x="3403" y="7349"/>
                      </a:lnTo>
                      <a:lnTo>
                        <a:pt x="3403" y="7484"/>
                      </a:lnTo>
                      <a:lnTo>
                        <a:pt x="3343" y="7686"/>
                      </a:lnTo>
                      <a:lnTo>
                        <a:pt x="3283" y="7821"/>
                      </a:lnTo>
                      <a:lnTo>
                        <a:pt x="3253" y="7956"/>
                      </a:lnTo>
                      <a:lnTo>
                        <a:pt x="3162" y="7956"/>
                      </a:lnTo>
                      <a:lnTo>
                        <a:pt x="3102" y="8023"/>
                      </a:lnTo>
                      <a:lnTo>
                        <a:pt x="3042" y="8023"/>
                      </a:lnTo>
                      <a:lnTo>
                        <a:pt x="3012" y="7956"/>
                      </a:lnTo>
                      <a:lnTo>
                        <a:pt x="3012" y="7821"/>
                      </a:lnTo>
                      <a:lnTo>
                        <a:pt x="3012" y="7619"/>
                      </a:lnTo>
                      <a:lnTo>
                        <a:pt x="2952" y="7484"/>
                      </a:lnTo>
                      <a:lnTo>
                        <a:pt x="2921" y="7484"/>
                      </a:lnTo>
                      <a:lnTo>
                        <a:pt x="2741" y="7889"/>
                      </a:lnTo>
                      <a:lnTo>
                        <a:pt x="2711" y="8023"/>
                      </a:lnTo>
                      <a:lnTo>
                        <a:pt x="2711" y="8158"/>
                      </a:lnTo>
                      <a:lnTo>
                        <a:pt x="2680" y="8293"/>
                      </a:lnTo>
                      <a:lnTo>
                        <a:pt x="2620" y="8361"/>
                      </a:lnTo>
                      <a:lnTo>
                        <a:pt x="2530" y="8293"/>
                      </a:lnTo>
                      <a:lnTo>
                        <a:pt x="2500" y="8361"/>
                      </a:lnTo>
                      <a:lnTo>
                        <a:pt x="2470" y="8428"/>
                      </a:lnTo>
                      <a:lnTo>
                        <a:pt x="2500" y="8630"/>
                      </a:lnTo>
                      <a:lnTo>
                        <a:pt x="2530" y="8698"/>
                      </a:lnTo>
                      <a:lnTo>
                        <a:pt x="2500" y="8833"/>
                      </a:lnTo>
                      <a:lnTo>
                        <a:pt x="2440" y="9035"/>
                      </a:lnTo>
                      <a:lnTo>
                        <a:pt x="2409" y="9102"/>
                      </a:lnTo>
                      <a:lnTo>
                        <a:pt x="2349" y="9237"/>
                      </a:lnTo>
                      <a:lnTo>
                        <a:pt x="2319" y="9237"/>
                      </a:lnTo>
                      <a:lnTo>
                        <a:pt x="2229" y="9237"/>
                      </a:lnTo>
                      <a:lnTo>
                        <a:pt x="2138" y="9372"/>
                      </a:lnTo>
                      <a:lnTo>
                        <a:pt x="2048" y="9507"/>
                      </a:lnTo>
                      <a:lnTo>
                        <a:pt x="1928" y="9709"/>
                      </a:lnTo>
                      <a:lnTo>
                        <a:pt x="1867" y="9844"/>
                      </a:lnTo>
                      <a:lnTo>
                        <a:pt x="1837" y="9979"/>
                      </a:lnTo>
                      <a:lnTo>
                        <a:pt x="1807" y="10046"/>
                      </a:lnTo>
                      <a:lnTo>
                        <a:pt x="1747" y="10046"/>
                      </a:lnTo>
                      <a:lnTo>
                        <a:pt x="1717" y="10114"/>
                      </a:lnTo>
                      <a:lnTo>
                        <a:pt x="1656" y="10181"/>
                      </a:lnTo>
                      <a:lnTo>
                        <a:pt x="1626" y="10316"/>
                      </a:lnTo>
                      <a:lnTo>
                        <a:pt x="1566" y="10383"/>
                      </a:lnTo>
                      <a:lnTo>
                        <a:pt x="1536" y="10451"/>
                      </a:lnTo>
                      <a:lnTo>
                        <a:pt x="1476" y="10653"/>
                      </a:lnTo>
                      <a:lnTo>
                        <a:pt x="1416" y="10720"/>
                      </a:lnTo>
                      <a:lnTo>
                        <a:pt x="1265" y="10720"/>
                      </a:lnTo>
                      <a:lnTo>
                        <a:pt x="1144" y="10720"/>
                      </a:lnTo>
                      <a:lnTo>
                        <a:pt x="1084" y="10788"/>
                      </a:lnTo>
                      <a:lnTo>
                        <a:pt x="994" y="10855"/>
                      </a:lnTo>
                      <a:lnTo>
                        <a:pt x="904" y="10923"/>
                      </a:lnTo>
                      <a:lnTo>
                        <a:pt x="813" y="11058"/>
                      </a:lnTo>
                      <a:lnTo>
                        <a:pt x="693" y="11327"/>
                      </a:lnTo>
                      <a:lnTo>
                        <a:pt x="602" y="11529"/>
                      </a:lnTo>
                      <a:lnTo>
                        <a:pt x="542" y="11664"/>
                      </a:lnTo>
                      <a:lnTo>
                        <a:pt x="512" y="11867"/>
                      </a:lnTo>
                      <a:lnTo>
                        <a:pt x="512" y="12001"/>
                      </a:lnTo>
                      <a:lnTo>
                        <a:pt x="512" y="12136"/>
                      </a:lnTo>
                      <a:lnTo>
                        <a:pt x="482" y="12271"/>
                      </a:lnTo>
                      <a:lnTo>
                        <a:pt x="512" y="12339"/>
                      </a:lnTo>
                      <a:lnTo>
                        <a:pt x="512" y="12473"/>
                      </a:lnTo>
                      <a:lnTo>
                        <a:pt x="452" y="12541"/>
                      </a:lnTo>
                      <a:lnTo>
                        <a:pt x="392" y="12676"/>
                      </a:lnTo>
                      <a:lnTo>
                        <a:pt x="331" y="12743"/>
                      </a:lnTo>
                      <a:lnTo>
                        <a:pt x="241" y="12811"/>
                      </a:lnTo>
                      <a:lnTo>
                        <a:pt x="181" y="12811"/>
                      </a:lnTo>
                      <a:lnTo>
                        <a:pt x="151" y="12743"/>
                      </a:lnTo>
                      <a:lnTo>
                        <a:pt x="90" y="12676"/>
                      </a:lnTo>
                      <a:lnTo>
                        <a:pt x="30" y="12878"/>
                      </a:lnTo>
                      <a:lnTo>
                        <a:pt x="0" y="13013"/>
                      </a:lnTo>
                      <a:lnTo>
                        <a:pt x="30" y="14226"/>
                      </a:lnTo>
                      <a:lnTo>
                        <a:pt x="361" y="14226"/>
                      </a:lnTo>
                      <a:lnTo>
                        <a:pt x="632" y="14092"/>
                      </a:lnTo>
                      <a:lnTo>
                        <a:pt x="753" y="14092"/>
                      </a:lnTo>
                      <a:lnTo>
                        <a:pt x="1476" y="13822"/>
                      </a:lnTo>
                      <a:lnTo>
                        <a:pt x="1596" y="13822"/>
                      </a:lnTo>
                      <a:lnTo>
                        <a:pt x="2349" y="13552"/>
                      </a:lnTo>
                      <a:lnTo>
                        <a:pt x="2379" y="13552"/>
                      </a:lnTo>
                      <a:lnTo>
                        <a:pt x="2590" y="13350"/>
                      </a:lnTo>
                      <a:lnTo>
                        <a:pt x="2620" y="13283"/>
                      </a:lnTo>
                      <a:lnTo>
                        <a:pt x="2831" y="13013"/>
                      </a:lnTo>
                      <a:lnTo>
                        <a:pt x="2952" y="12878"/>
                      </a:lnTo>
                      <a:lnTo>
                        <a:pt x="2982" y="12878"/>
                      </a:lnTo>
                      <a:lnTo>
                        <a:pt x="3042" y="12945"/>
                      </a:lnTo>
                      <a:lnTo>
                        <a:pt x="3072" y="12878"/>
                      </a:lnTo>
                      <a:lnTo>
                        <a:pt x="3162" y="12743"/>
                      </a:lnTo>
                      <a:lnTo>
                        <a:pt x="3162" y="12608"/>
                      </a:lnTo>
                      <a:lnTo>
                        <a:pt x="3162" y="12541"/>
                      </a:lnTo>
                      <a:lnTo>
                        <a:pt x="3192" y="12541"/>
                      </a:lnTo>
                      <a:lnTo>
                        <a:pt x="3253" y="12541"/>
                      </a:lnTo>
                      <a:lnTo>
                        <a:pt x="3343" y="12406"/>
                      </a:lnTo>
                      <a:lnTo>
                        <a:pt x="3524" y="12204"/>
                      </a:lnTo>
                      <a:lnTo>
                        <a:pt x="3554" y="12136"/>
                      </a:lnTo>
                      <a:lnTo>
                        <a:pt x="3614" y="12136"/>
                      </a:lnTo>
                      <a:lnTo>
                        <a:pt x="3674" y="12001"/>
                      </a:lnTo>
                      <a:lnTo>
                        <a:pt x="3704" y="11934"/>
                      </a:lnTo>
                      <a:lnTo>
                        <a:pt x="3735" y="12001"/>
                      </a:lnTo>
                      <a:lnTo>
                        <a:pt x="3795" y="12001"/>
                      </a:lnTo>
                      <a:lnTo>
                        <a:pt x="3885" y="12001"/>
                      </a:lnTo>
                      <a:lnTo>
                        <a:pt x="3945" y="11934"/>
                      </a:lnTo>
                      <a:lnTo>
                        <a:pt x="4066" y="11867"/>
                      </a:lnTo>
                      <a:lnTo>
                        <a:pt x="4518" y="11732"/>
                      </a:lnTo>
                      <a:lnTo>
                        <a:pt x="4728" y="11732"/>
                      </a:lnTo>
                      <a:lnTo>
                        <a:pt x="4939" y="11664"/>
                      </a:lnTo>
                      <a:lnTo>
                        <a:pt x="5722" y="11462"/>
                      </a:lnTo>
                      <a:lnTo>
                        <a:pt x="5813" y="11462"/>
                      </a:lnTo>
                      <a:lnTo>
                        <a:pt x="6385" y="11327"/>
                      </a:lnTo>
                      <a:lnTo>
                        <a:pt x="6385" y="11462"/>
                      </a:lnTo>
                      <a:lnTo>
                        <a:pt x="6385" y="11597"/>
                      </a:lnTo>
                      <a:lnTo>
                        <a:pt x="6355" y="11664"/>
                      </a:lnTo>
                      <a:lnTo>
                        <a:pt x="6355" y="11732"/>
                      </a:lnTo>
                      <a:lnTo>
                        <a:pt x="6415" y="11867"/>
                      </a:lnTo>
                      <a:lnTo>
                        <a:pt x="6566" y="11529"/>
                      </a:lnTo>
                      <a:lnTo>
                        <a:pt x="6656" y="11664"/>
                      </a:lnTo>
                      <a:lnTo>
                        <a:pt x="6776" y="11934"/>
                      </a:lnTo>
                      <a:lnTo>
                        <a:pt x="6957" y="12406"/>
                      </a:lnTo>
                      <a:lnTo>
                        <a:pt x="6987" y="13013"/>
                      </a:lnTo>
                      <a:lnTo>
                        <a:pt x="7469" y="12878"/>
                      </a:lnTo>
                      <a:lnTo>
                        <a:pt x="7891" y="12676"/>
                      </a:lnTo>
                      <a:lnTo>
                        <a:pt x="8704" y="12406"/>
                      </a:lnTo>
                      <a:lnTo>
                        <a:pt x="9126" y="12271"/>
                      </a:lnTo>
                      <a:lnTo>
                        <a:pt x="9156" y="12271"/>
                      </a:lnTo>
                      <a:lnTo>
                        <a:pt x="9698" y="13080"/>
                      </a:lnTo>
                      <a:lnTo>
                        <a:pt x="10571" y="14496"/>
                      </a:lnTo>
                      <a:lnTo>
                        <a:pt x="11565" y="15979"/>
                      </a:lnTo>
                      <a:lnTo>
                        <a:pt x="11746" y="16317"/>
                      </a:lnTo>
                      <a:lnTo>
                        <a:pt x="11836" y="16384"/>
                      </a:lnTo>
                      <a:lnTo>
                        <a:pt x="11927" y="16317"/>
                      </a:lnTo>
                      <a:lnTo>
                        <a:pt x="11987" y="16114"/>
                      </a:lnTo>
                      <a:lnTo>
                        <a:pt x="12047" y="16047"/>
                      </a:lnTo>
                      <a:lnTo>
                        <a:pt x="12077" y="15912"/>
                      </a:lnTo>
                      <a:lnTo>
                        <a:pt x="12137" y="15912"/>
                      </a:lnTo>
                      <a:lnTo>
                        <a:pt x="12137" y="15979"/>
                      </a:lnTo>
                      <a:lnTo>
                        <a:pt x="12198" y="15979"/>
                      </a:lnTo>
                      <a:lnTo>
                        <a:pt x="12318" y="15912"/>
                      </a:lnTo>
                      <a:lnTo>
                        <a:pt x="12408" y="15777"/>
                      </a:lnTo>
                      <a:lnTo>
                        <a:pt x="12469" y="15845"/>
                      </a:lnTo>
                      <a:lnTo>
                        <a:pt x="12559" y="15845"/>
                      </a:lnTo>
                      <a:lnTo>
                        <a:pt x="12649" y="15777"/>
                      </a:lnTo>
                      <a:lnTo>
                        <a:pt x="12740" y="15777"/>
                      </a:lnTo>
                      <a:lnTo>
                        <a:pt x="12770" y="15710"/>
                      </a:lnTo>
                      <a:lnTo>
                        <a:pt x="12770" y="15642"/>
                      </a:lnTo>
                      <a:lnTo>
                        <a:pt x="12830" y="15507"/>
                      </a:lnTo>
                      <a:lnTo>
                        <a:pt x="12860" y="15305"/>
                      </a:lnTo>
                      <a:lnTo>
                        <a:pt x="12860" y="15036"/>
                      </a:lnTo>
                      <a:lnTo>
                        <a:pt x="12860" y="14698"/>
                      </a:lnTo>
                      <a:lnTo>
                        <a:pt x="12890" y="14698"/>
                      </a:lnTo>
                      <a:lnTo>
                        <a:pt x="12920" y="14833"/>
                      </a:lnTo>
                      <a:lnTo>
                        <a:pt x="12920" y="15170"/>
                      </a:lnTo>
                      <a:lnTo>
                        <a:pt x="12951" y="15305"/>
                      </a:lnTo>
                      <a:lnTo>
                        <a:pt x="12981" y="15305"/>
                      </a:lnTo>
                      <a:lnTo>
                        <a:pt x="13011" y="15238"/>
                      </a:lnTo>
                      <a:lnTo>
                        <a:pt x="12981" y="15103"/>
                      </a:lnTo>
                      <a:lnTo>
                        <a:pt x="13011" y="14901"/>
                      </a:lnTo>
                      <a:lnTo>
                        <a:pt x="12981" y="14631"/>
                      </a:lnTo>
                      <a:lnTo>
                        <a:pt x="13011" y="14361"/>
                      </a:lnTo>
                      <a:lnTo>
                        <a:pt x="13041" y="14024"/>
                      </a:lnTo>
                      <a:lnTo>
                        <a:pt x="13101" y="13620"/>
                      </a:lnTo>
                      <a:lnTo>
                        <a:pt x="13131" y="13485"/>
                      </a:lnTo>
                      <a:lnTo>
                        <a:pt x="13161" y="13417"/>
                      </a:lnTo>
                      <a:lnTo>
                        <a:pt x="13222" y="13215"/>
                      </a:lnTo>
                      <a:lnTo>
                        <a:pt x="13372" y="12743"/>
                      </a:lnTo>
                      <a:lnTo>
                        <a:pt x="13463" y="12541"/>
                      </a:lnTo>
                      <a:lnTo>
                        <a:pt x="13493" y="12406"/>
                      </a:lnTo>
                      <a:lnTo>
                        <a:pt x="13553" y="12271"/>
                      </a:lnTo>
                      <a:lnTo>
                        <a:pt x="13704" y="12069"/>
                      </a:lnTo>
                      <a:lnTo>
                        <a:pt x="13794" y="11934"/>
                      </a:lnTo>
                      <a:lnTo>
                        <a:pt x="13824" y="11799"/>
                      </a:lnTo>
                      <a:lnTo>
                        <a:pt x="13794" y="11732"/>
                      </a:lnTo>
                      <a:lnTo>
                        <a:pt x="13764" y="11732"/>
                      </a:lnTo>
                      <a:lnTo>
                        <a:pt x="13673" y="11732"/>
                      </a:lnTo>
                      <a:lnTo>
                        <a:pt x="13643" y="11597"/>
                      </a:lnTo>
                      <a:lnTo>
                        <a:pt x="13613" y="11529"/>
                      </a:lnTo>
                      <a:lnTo>
                        <a:pt x="13613" y="11462"/>
                      </a:lnTo>
                      <a:lnTo>
                        <a:pt x="13704" y="11395"/>
                      </a:lnTo>
                      <a:lnTo>
                        <a:pt x="13704" y="11260"/>
                      </a:lnTo>
                      <a:lnTo>
                        <a:pt x="13704" y="11192"/>
                      </a:lnTo>
                      <a:lnTo>
                        <a:pt x="13643" y="11125"/>
                      </a:lnTo>
                      <a:lnTo>
                        <a:pt x="13613" y="11125"/>
                      </a:lnTo>
                      <a:lnTo>
                        <a:pt x="13583" y="11058"/>
                      </a:lnTo>
                      <a:lnTo>
                        <a:pt x="13553" y="10788"/>
                      </a:lnTo>
                      <a:lnTo>
                        <a:pt x="13553" y="10720"/>
                      </a:lnTo>
                      <a:lnTo>
                        <a:pt x="13583" y="10720"/>
                      </a:lnTo>
                      <a:lnTo>
                        <a:pt x="13613" y="10855"/>
                      </a:lnTo>
                      <a:lnTo>
                        <a:pt x="13643" y="10923"/>
                      </a:lnTo>
                      <a:lnTo>
                        <a:pt x="13734" y="10990"/>
                      </a:lnTo>
                      <a:lnTo>
                        <a:pt x="13734" y="11125"/>
                      </a:lnTo>
                      <a:lnTo>
                        <a:pt x="13794" y="11260"/>
                      </a:lnTo>
                      <a:lnTo>
                        <a:pt x="13734" y="11395"/>
                      </a:lnTo>
                      <a:lnTo>
                        <a:pt x="13734" y="11462"/>
                      </a:lnTo>
                      <a:lnTo>
                        <a:pt x="13764" y="11529"/>
                      </a:lnTo>
                      <a:lnTo>
                        <a:pt x="13854" y="11664"/>
                      </a:lnTo>
                      <a:lnTo>
                        <a:pt x="13884" y="11664"/>
                      </a:lnTo>
                      <a:lnTo>
                        <a:pt x="13914" y="11597"/>
                      </a:lnTo>
                      <a:lnTo>
                        <a:pt x="14005" y="11462"/>
                      </a:lnTo>
                      <a:lnTo>
                        <a:pt x="14065" y="11395"/>
                      </a:lnTo>
                      <a:lnTo>
                        <a:pt x="14035" y="11260"/>
                      </a:lnTo>
                      <a:lnTo>
                        <a:pt x="14065" y="11192"/>
                      </a:lnTo>
                      <a:lnTo>
                        <a:pt x="14125" y="11125"/>
                      </a:lnTo>
                      <a:lnTo>
                        <a:pt x="14155" y="11125"/>
                      </a:lnTo>
                      <a:lnTo>
                        <a:pt x="14155" y="11058"/>
                      </a:lnTo>
                      <a:lnTo>
                        <a:pt x="14155" y="10990"/>
                      </a:lnTo>
                      <a:lnTo>
                        <a:pt x="14155" y="10855"/>
                      </a:lnTo>
                      <a:lnTo>
                        <a:pt x="14155" y="10720"/>
                      </a:lnTo>
                      <a:lnTo>
                        <a:pt x="14155" y="10653"/>
                      </a:lnTo>
                      <a:lnTo>
                        <a:pt x="14125" y="10518"/>
                      </a:lnTo>
                      <a:lnTo>
                        <a:pt x="14095" y="10451"/>
                      </a:lnTo>
                      <a:lnTo>
                        <a:pt x="14095" y="10383"/>
                      </a:lnTo>
                      <a:lnTo>
                        <a:pt x="14125" y="10383"/>
                      </a:lnTo>
                      <a:lnTo>
                        <a:pt x="14155" y="10383"/>
                      </a:lnTo>
                      <a:lnTo>
                        <a:pt x="14185" y="10586"/>
                      </a:lnTo>
                      <a:lnTo>
                        <a:pt x="14246" y="10653"/>
                      </a:lnTo>
                      <a:lnTo>
                        <a:pt x="14246" y="10788"/>
                      </a:lnTo>
                      <a:lnTo>
                        <a:pt x="14276" y="10788"/>
                      </a:lnTo>
                      <a:lnTo>
                        <a:pt x="14336" y="10720"/>
                      </a:lnTo>
                      <a:lnTo>
                        <a:pt x="14607" y="10383"/>
                      </a:lnTo>
                      <a:lnTo>
                        <a:pt x="14728" y="10316"/>
                      </a:lnTo>
                      <a:lnTo>
                        <a:pt x="14968" y="10248"/>
                      </a:lnTo>
                      <a:lnTo>
                        <a:pt x="14968" y="10181"/>
                      </a:lnTo>
                      <a:lnTo>
                        <a:pt x="14968" y="10114"/>
                      </a:lnTo>
                      <a:lnTo>
                        <a:pt x="14938" y="10114"/>
                      </a:lnTo>
                      <a:lnTo>
                        <a:pt x="14878" y="10114"/>
                      </a:lnTo>
                      <a:lnTo>
                        <a:pt x="14908" y="9911"/>
                      </a:lnTo>
                      <a:lnTo>
                        <a:pt x="14999" y="9776"/>
                      </a:lnTo>
                      <a:lnTo>
                        <a:pt x="14999" y="9844"/>
                      </a:lnTo>
                      <a:lnTo>
                        <a:pt x="15029" y="10046"/>
                      </a:lnTo>
                      <a:lnTo>
                        <a:pt x="15089" y="10181"/>
                      </a:lnTo>
                      <a:lnTo>
                        <a:pt x="15119" y="10114"/>
                      </a:lnTo>
                      <a:lnTo>
                        <a:pt x="15119" y="10046"/>
                      </a:lnTo>
                      <a:lnTo>
                        <a:pt x="15119" y="9844"/>
                      </a:lnTo>
                      <a:lnTo>
                        <a:pt x="15149" y="9776"/>
                      </a:lnTo>
                      <a:lnTo>
                        <a:pt x="15209" y="9844"/>
                      </a:lnTo>
                      <a:lnTo>
                        <a:pt x="15209" y="9911"/>
                      </a:lnTo>
                      <a:lnTo>
                        <a:pt x="15209" y="10046"/>
                      </a:lnTo>
                      <a:lnTo>
                        <a:pt x="15270" y="10114"/>
                      </a:lnTo>
                      <a:lnTo>
                        <a:pt x="15330" y="10046"/>
                      </a:lnTo>
                      <a:lnTo>
                        <a:pt x="15360" y="9979"/>
                      </a:lnTo>
                      <a:lnTo>
                        <a:pt x="15360" y="9776"/>
                      </a:lnTo>
                      <a:lnTo>
                        <a:pt x="15420" y="9642"/>
                      </a:lnTo>
                      <a:lnTo>
                        <a:pt x="15420" y="9574"/>
                      </a:lnTo>
                      <a:lnTo>
                        <a:pt x="15420" y="9507"/>
                      </a:lnTo>
                      <a:lnTo>
                        <a:pt x="15480" y="9372"/>
                      </a:lnTo>
                      <a:lnTo>
                        <a:pt x="15480" y="9304"/>
                      </a:lnTo>
                      <a:lnTo>
                        <a:pt x="15480" y="9170"/>
                      </a:lnTo>
                      <a:lnTo>
                        <a:pt x="15541" y="9170"/>
                      </a:lnTo>
                      <a:lnTo>
                        <a:pt x="15601" y="9035"/>
                      </a:lnTo>
                      <a:lnTo>
                        <a:pt x="15631" y="8967"/>
                      </a:lnTo>
                      <a:lnTo>
                        <a:pt x="15601" y="8900"/>
                      </a:lnTo>
                      <a:lnTo>
                        <a:pt x="15601" y="8833"/>
                      </a:lnTo>
                      <a:lnTo>
                        <a:pt x="15631" y="8765"/>
                      </a:lnTo>
                      <a:lnTo>
                        <a:pt x="15661" y="8698"/>
                      </a:lnTo>
                      <a:lnTo>
                        <a:pt x="15631" y="8563"/>
                      </a:lnTo>
                      <a:lnTo>
                        <a:pt x="15601" y="8428"/>
                      </a:lnTo>
                      <a:lnTo>
                        <a:pt x="15571" y="8361"/>
                      </a:lnTo>
                      <a:lnTo>
                        <a:pt x="15511" y="8428"/>
                      </a:lnTo>
                      <a:lnTo>
                        <a:pt x="15541" y="8563"/>
                      </a:lnTo>
                      <a:lnTo>
                        <a:pt x="15511" y="8698"/>
                      </a:lnTo>
                      <a:lnTo>
                        <a:pt x="15511" y="8833"/>
                      </a:lnTo>
                      <a:lnTo>
                        <a:pt x="15480" y="8833"/>
                      </a:lnTo>
                      <a:lnTo>
                        <a:pt x="15450" y="8833"/>
                      </a:lnTo>
                      <a:lnTo>
                        <a:pt x="15450" y="8765"/>
                      </a:lnTo>
                      <a:lnTo>
                        <a:pt x="15420" y="8833"/>
                      </a:lnTo>
                      <a:lnTo>
                        <a:pt x="15360" y="8900"/>
                      </a:lnTo>
                      <a:lnTo>
                        <a:pt x="15360" y="8833"/>
                      </a:lnTo>
                      <a:lnTo>
                        <a:pt x="15360" y="8765"/>
                      </a:lnTo>
                      <a:lnTo>
                        <a:pt x="15390" y="8630"/>
                      </a:lnTo>
                      <a:lnTo>
                        <a:pt x="15420" y="8563"/>
                      </a:lnTo>
                      <a:lnTo>
                        <a:pt x="15360" y="8495"/>
                      </a:lnTo>
                      <a:lnTo>
                        <a:pt x="15360" y="8361"/>
                      </a:lnTo>
                      <a:lnTo>
                        <a:pt x="15360" y="8226"/>
                      </a:lnTo>
                      <a:lnTo>
                        <a:pt x="15300" y="8226"/>
                      </a:lnTo>
                      <a:lnTo>
                        <a:pt x="15270" y="8293"/>
                      </a:lnTo>
                      <a:lnTo>
                        <a:pt x="15300" y="8361"/>
                      </a:lnTo>
                      <a:lnTo>
                        <a:pt x="15270" y="8495"/>
                      </a:lnTo>
                      <a:lnTo>
                        <a:pt x="15270" y="8563"/>
                      </a:lnTo>
                      <a:lnTo>
                        <a:pt x="15270" y="8698"/>
                      </a:lnTo>
                      <a:lnTo>
                        <a:pt x="15209" y="8698"/>
                      </a:lnTo>
                      <a:lnTo>
                        <a:pt x="15149" y="8630"/>
                      </a:lnTo>
                      <a:lnTo>
                        <a:pt x="15119" y="8698"/>
                      </a:lnTo>
                      <a:lnTo>
                        <a:pt x="15119" y="8833"/>
                      </a:lnTo>
                      <a:lnTo>
                        <a:pt x="15179" y="8967"/>
                      </a:lnTo>
                      <a:lnTo>
                        <a:pt x="15179" y="9035"/>
                      </a:lnTo>
                      <a:lnTo>
                        <a:pt x="15179" y="9102"/>
                      </a:lnTo>
                      <a:lnTo>
                        <a:pt x="15119" y="9035"/>
                      </a:lnTo>
                      <a:lnTo>
                        <a:pt x="15089" y="8967"/>
                      </a:lnTo>
                      <a:lnTo>
                        <a:pt x="15029" y="8833"/>
                      </a:lnTo>
                      <a:lnTo>
                        <a:pt x="14968" y="8833"/>
                      </a:lnTo>
                      <a:lnTo>
                        <a:pt x="14968" y="8900"/>
                      </a:lnTo>
                      <a:lnTo>
                        <a:pt x="14968" y="8967"/>
                      </a:lnTo>
                      <a:lnTo>
                        <a:pt x="15029" y="9102"/>
                      </a:lnTo>
                      <a:lnTo>
                        <a:pt x="14999" y="9170"/>
                      </a:lnTo>
                      <a:lnTo>
                        <a:pt x="14938" y="9237"/>
                      </a:lnTo>
                      <a:lnTo>
                        <a:pt x="14938" y="9102"/>
                      </a:lnTo>
                      <a:lnTo>
                        <a:pt x="14938" y="9035"/>
                      </a:lnTo>
                      <a:lnTo>
                        <a:pt x="14908" y="8967"/>
                      </a:lnTo>
                      <a:lnTo>
                        <a:pt x="14848" y="9035"/>
                      </a:lnTo>
                      <a:lnTo>
                        <a:pt x="14818" y="9170"/>
                      </a:lnTo>
                      <a:lnTo>
                        <a:pt x="14818" y="9304"/>
                      </a:lnTo>
                      <a:lnTo>
                        <a:pt x="14758" y="9304"/>
                      </a:lnTo>
                      <a:lnTo>
                        <a:pt x="14728" y="9304"/>
                      </a:lnTo>
                      <a:lnTo>
                        <a:pt x="14667" y="9237"/>
                      </a:lnTo>
                      <a:lnTo>
                        <a:pt x="14637" y="9304"/>
                      </a:lnTo>
                      <a:lnTo>
                        <a:pt x="14577" y="9304"/>
                      </a:lnTo>
                      <a:lnTo>
                        <a:pt x="14487" y="9170"/>
                      </a:lnTo>
                      <a:lnTo>
                        <a:pt x="14426" y="9170"/>
                      </a:lnTo>
                      <a:lnTo>
                        <a:pt x="14366" y="9102"/>
                      </a:lnTo>
                      <a:lnTo>
                        <a:pt x="14306" y="8967"/>
                      </a:lnTo>
                      <a:lnTo>
                        <a:pt x="14155" y="8698"/>
                      </a:lnTo>
                      <a:lnTo>
                        <a:pt x="14065" y="8630"/>
                      </a:lnTo>
                      <a:lnTo>
                        <a:pt x="14065" y="8563"/>
                      </a:lnTo>
                      <a:lnTo>
                        <a:pt x="14065" y="8495"/>
                      </a:lnTo>
                      <a:lnTo>
                        <a:pt x="14065" y="8361"/>
                      </a:lnTo>
                      <a:lnTo>
                        <a:pt x="14065" y="8293"/>
                      </a:lnTo>
                      <a:lnTo>
                        <a:pt x="14095" y="8293"/>
                      </a:lnTo>
                      <a:lnTo>
                        <a:pt x="14125" y="8361"/>
                      </a:lnTo>
                      <a:lnTo>
                        <a:pt x="14246" y="8563"/>
                      </a:lnTo>
                      <a:lnTo>
                        <a:pt x="14276" y="8630"/>
                      </a:lnTo>
                      <a:lnTo>
                        <a:pt x="14336" y="8630"/>
                      </a:lnTo>
                      <a:lnTo>
                        <a:pt x="14366" y="8630"/>
                      </a:lnTo>
                      <a:lnTo>
                        <a:pt x="14426" y="8765"/>
                      </a:lnTo>
                      <a:lnTo>
                        <a:pt x="14487" y="8833"/>
                      </a:lnTo>
                      <a:lnTo>
                        <a:pt x="14517" y="8833"/>
                      </a:lnTo>
                      <a:lnTo>
                        <a:pt x="14637" y="8967"/>
                      </a:lnTo>
                      <a:lnTo>
                        <a:pt x="14697" y="8967"/>
                      </a:lnTo>
                      <a:lnTo>
                        <a:pt x="14728" y="8833"/>
                      </a:lnTo>
                      <a:lnTo>
                        <a:pt x="14818" y="8765"/>
                      </a:lnTo>
                      <a:lnTo>
                        <a:pt x="14818" y="8698"/>
                      </a:lnTo>
                      <a:lnTo>
                        <a:pt x="14878" y="8563"/>
                      </a:lnTo>
                      <a:lnTo>
                        <a:pt x="14908" y="8563"/>
                      </a:lnTo>
                      <a:lnTo>
                        <a:pt x="14938" y="8495"/>
                      </a:lnTo>
                      <a:lnTo>
                        <a:pt x="14968" y="8226"/>
                      </a:lnTo>
                      <a:lnTo>
                        <a:pt x="14999" y="8158"/>
                      </a:lnTo>
                      <a:lnTo>
                        <a:pt x="15059" y="8091"/>
                      </a:lnTo>
                      <a:lnTo>
                        <a:pt x="15059" y="8023"/>
                      </a:lnTo>
                      <a:lnTo>
                        <a:pt x="15119" y="7889"/>
                      </a:lnTo>
                      <a:lnTo>
                        <a:pt x="15089" y="7821"/>
                      </a:lnTo>
                      <a:lnTo>
                        <a:pt x="15059" y="7754"/>
                      </a:lnTo>
                      <a:lnTo>
                        <a:pt x="15029" y="7821"/>
                      </a:lnTo>
                      <a:lnTo>
                        <a:pt x="14968" y="7889"/>
                      </a:lnTo>
                      <a:lnTo>
                        <a:pt x="14878" y="7889"/>
                      </a:lnTo>
                      <a:lnTo>
                        <a:pt x="14848" y="7821"/>
                      </a:lnTo>
                      <a:lnTo>
                        <a:pt x="14878" y="7754"/>
                      </a:lnTo>
                      <a:lnTo>
                        <a:pt x="14938" y="7686"/>
                      </a:lnTo>
                      <a:lnTo>
                        <a:pt x="14968" y="7551"/>
                      </a:lnTo>
                      <a:lnTo>
                        <a:pt x="15059" y="7619"/>
                      </a:lnTo>
                      <a:lnTo>
                        <a:pt x="15089" y="7551"/>
                      </a:lnTo>
                      <a:lnTo>
                        <a:pt x="15089" y="7484"/>
                      </a:lnTo>
                      <a:lnTo>
                        <a:pt x="14999" y="7417"/>
                      </a:lnTo>
                      <a:lnTo>
                        <a:pt x="15059" y="7349"/>
                      </a:lnTo>
                      <a:lnTo>
                        <a:pt x="15119" y="7349"/>
                      </a:lnTo>
                      <a:lnTo>
                        <a:pt x="15119" y="7147"/>
                      </a:lnTo>
                      <a:lnTo>
                        <a:pt x="15119" y="7012"/>
                      </a:lnTo>
                      <a:lnTo>
                        <a:pt x="15089" y="6945"/>
                      </a:lnTo>
                      <a:lnTo>
                        <a:pt x="15059" y="6945"/>
                      </a:lnTo>
                      <a:lnTo>
                        <a:pt x="14999" y="7012"/>
                      </a:lnTo>
                      <a:lnTo>
                        <a:pt x="14938" y="6945"/>
                      </a:lnTo>
                      <a:lnTo>
                        <a:pt x="14908" y="6945"/>
                      </a:lnTo>
                      <a:lnTo>
                        <a:pt x="14848" y="7012"/>
                      </a:lnTo>
                      <a:lnTo>
                        <a:pt x="14848" y="7147"/>
                      </a:lnTo>
                      <a:lnTo>
                        <a:pt x="14818" y="7147"/>
                      </a:lnTo>
                      <a:lnTo>
                        <a:pt x="14788" y="7147"/>
                      </a:lnTo>
                      <a:lnTo>
                        <a:pt x="14788" y="7012"/>
                      </a:lnTo>
                      <a:lnTo>
                        <a:pt x="14758" y="6945"/>
                      </a:lnTo>
                      <a:lnTo>
                        <a:pt x="14697" y="6945"/>
                      </a:lnTo>
                      <a:lnTo>
                        <a:pt x="14577" y="7080"/>
                      </a:lnTo>
                      <a:lnTo>
                        <a:pt x="14547" y="7080"/>
                      </a:lnTo>
                      <a:lnTo>
                        <a:pt x="14547" y="7012"/>
                      </a:lnTo>
                      <a:lnTo>
                        <a:pt x="14577" y="6945"/>
                      </a:lnTo>
                      <a:lnTo>
                        <a:pt x="14577" y="6810"/>
                      </a:lnTo>
                      <a:lnTo>
                        <a:pt x="14547" y="6810"/>
                      </a:lnTo>
                      <a:lnTo>
                        <a:pt x="14487" y="6877"/>
                      </a:lnTo>
                      <a:lnTo>
                        <a:pt x="14426" y="6945"/>
                      </a:lnTo>
                      <a:lnTo>
                        <a:pt x="14426" y="6877"/>
                      </a:lnTo>
                      <a:lnTo>
                        <a:pt x="14426" y="6742"/>
                      </a:lnTo>
                      <a:lnTo>
                        <a:pt x="14366" y="6742"/>
                      </a:lnTo>
                      <a:lnTo>
                        <a:pt x="14306" y="6742"/>
                      </a:lnTo>
                      <a:lnTo>
                        <a:pt x="14276" y="6742"/>
                      </a:lnTo>
                      <a:lnTo>
                        <a:pt x="14246" y="6742"/>
                      </a:lnTo>
                      <a:lnTo>
                        <a:pt x="14185" y="6675"/>
                      </a:lnTo>
                      <a:lnTo>
                        <a:pt x="14125" y="6742"/>
                      </a:lnTo>
                      <a:lnTo>
                        <a:pt x="14095" y="6675"/>
                      </a:lnTo>
                      <a:lnTo>
                        <a:pt x="14065" y="6608"/>
                      </a:lnTo>
                      <a:lnTo>
                        <a:pt x="14005" y="6540"/>
                      </a:lnTo>
                      <a:lnTo>
                        <a:pt x="13975" y="6473"/>
                      </a:lnTo>
                      <a:lnTo>
                        <a:pt x="14005" y="6405"/>
                      </a:lnTo>
                      <a:lnTo>
                        <a:pt x="14035" y="6405"/>
                      </a:lnTo>
                      <a:lnTo>
                        <a:pt x="14306" y="6473"/>
                      </a:lnTo>
                      <a:lnTo>
                        <a:pt x="14336" y="6473"/>
                      </a:lnTo>
                      <a:lnTo>
                        <a:pt x="14366" y="6473"/>
                      </a:lnTo>
                      <a:lnTo>
                        <a:pt x="14366" y="6338"/>
                      </a:lnTo>
                      <a:lnTo>
                        <a:pt x="14396" y="6270"/>
                      </a:lnTo>
                      <a:lnTo>
                        <a:pt x="14426" y="6338"/>
                      </a:lnTo>
                      <a:lnTo>
                        <a:pt x="14426" y="6473"/>
                      </a:lnTo>
                      <a:lnTo>
                        <a:pt x="14456" y="6540"/>
                      </a:lnTo>
                      <a:lnTo>
                        <a:pt x="14547" y="6540"/>
                      </a:lnTo>
                      <a:lnTo>
                        <a:pt x="14637" y="6540"/>
                      </a:lnTo>
                      <a:lnTo>
                        <a:pt x="14667" y="6473"/>
                      </a:lnTo>
                      <a:lnTo>
                        <a:pt x="14697" y="6540"/>
                      </a:lnTo>
                      <a:lnTo>
                        <a:pt x="14788" y="6675"/>
                      </a:lnTo>
                      <a:lnTo>
                        <a:pt x="14818" y="6608"/>
                      </a:lnTo>
                      <a:lnTo>
                        <a:pt x="14848" y="6540"/>
                      </a:lnTo>
                      <a:lnTo>
                        <a:pt x="14848" y="6405"/>
                      </a:lnTo>
                      <a:lnTo>
                        <a:pt x="14788" y="6270"/>
                      </a:lnTo>
                      <a:lnTo>
                        <a:pt x="14788" y="6136"/>
                      </a:lnTo>
                      <a:lnTo>
                        <a:pt x="14728" y="6068"/>
                      </a:lnTo>
                      <a:lnTo>
                        <a:pt x="14667" y="6001"/>
                      </a:lnTo>
                      <a:lnTo>
                        <a:pt x="14637" y="5933"/>
                      </a:lnTo>
                      <a:lnTo>
                        <a:pt x="14667" y="5866"/>
                      </a:lnTo>
                      <a:lnTo>
                        <a:pt x="14697" y="5798"/>
                      </a:lnTo>
                      <a:lnTo>
                        <a:pt x="14818" y="5933"/>
                      </a:lnTo>
                      <a:lnTo>
                        <a:pt x="14878" y="5866"/>
                      </a:lnTo>
                      <a:lnTo>
                        <a:pt x="14938" y="5866"/>
                      </a:lnTo>
                      <a:lnTo>
                        <a:pt x="14968" y="5798"/>
                      </a:lnTo>
                      <a:lnTo>
                        <a:pt x="14968" y="5664"/>
                      </a:lnTo>
                      <a:lnTo>
                        <a:pt x="14968" y="5596"/>
                      </a:lnTo>
                      <a:close/>
                    </a:path>
                  </a:pathLst>
                </a:custGeom>
                <a:solidFill>
                  <a:srgbClr val="0070C0"/>
                </a:solidFill>
                <a:ln w="9525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defTabSz="121917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52" name="North_Dakota">
                  <a:extLst>
                    <a:ext uri="{FF2B5EF4-FFF2-40B4-BE49-F238E27FC236}">
                      <a16:creationId xmlns:a16="http://schemas.microsoft.com/office/drawing/2014/main" id="{BF64BE14-F5D1-5A40-97D7-D49C3477EC1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1677649" y="1638301"/>
                  <a:ext cx="3933826" cy="2343151"/>
                </a:xfrm>
                <a:custGeom>
                  <a:avLst/>
                  <a:gdLst>
                    <a:gd name="T0" fmla="*/ 2147483647 w 16384"/>
                    <a:gd name="T1" fmla="*/ 2147483647 h 16384"/>
                    <a:gd name="T2" fmla="*/ 2147483647 w 16384"/>
                    <a:gd name="T3" fmla="*/ 2147483647 h 16384"/>
                    <a:gd name="T4" fmla="*/ 2147483647 w 16384"/>
                    <a:gd name="T5" fmla="*/ 2147483647 h 16384"/>
                    <a:gd name="T6" fmla="*/ 2147483647 w 16384"/>
                    <a:gd name="T7" fmla="*/ 2147483647 h 16384"/>
                    <a:gd name="T8" fmla="*/ 2147483647 w 16384"/>
                    <a:gd name="T9" fmla="*/ 2147483647 h 16384"/>
                    <a:gd name="T10" fmla="*/ 2147483647 w 16384"/>
                    <a:gd name="T11" fmla="*/ 2147483647 h 16384"/>
                    <a:gd name="T12" fmla="*/ 2147483647 w 16384"/>
                    <a:gd name="T13" fmla="*/ 2147483647 h 16384"/>
                    <a:gd name="T14" fmla="*/ 2147483647 w 16384"/>
                    <a:gd name="T15" fmla="*/ 2147483647 h 16384"/>
                    <a:gd name="T16" fmla="*/ 2147483647 w 16384"/>
                    <a:gd name="T17" fmla="*/ 2147483647 h 16384"/>
                    <a:gd name="T18" fmla="*/ 2147483647 w 16384"/>
                    <a:gd name="T19" fmla="*/ 2147483647 h 16384"/>
                    <a:gd name="T20" fmla="*/ 2147483647 w 16384"/>
                    <a:gd name="T21" fmla="*/ 2147483647 h 16384"/>
                    <a:gd name="T22" fmla="*/ 2147483647 w 16384"/>
                    <a:gd name="T23" fmla="*/ 2147483647 h 16384"/>
                    <a:gd name="T24" fmla="*/ 2147483647 w 16384"/>
                    <a:gd name="T25" fmla="*/ 2147483647 h 16384"/>
                    <a:gd name="T26" fmla="*/ 2147483647 w 16384"/>
                    <a:gd name="T27" fmla="*/ 2147483647 h 16384"/>
                    <a:gd name="T28" fmla="*/ 2147483647 w 16384"/>
                    <a:gd name="T29" fmla="*/ 2147483647 h 16384"/>
                    <a:gd name="T30" fmla="*/ 2147483647 w 16384"/>
                    <a:gd name="T31" fmla="*/ 2147483647 h 16384"/>
                    <a:gd name="T32" fmla="*/ 2147483647 w 16384"/>
                    <a:gd name="T33" fmla="*/ 2147483647 h 16384"/>
                    <a:gd name="T34" fmla="*/ 2147483647 w 16384"/>
                    <a:gd name="T35" fmla="*/ 2147483647 h 16384"/>
                    <a:gd name="T36" fmla="*/ 2147483647 w 16384"/>
                    <a:gd name="T37" fmla="*/ 2147483647 h 16384"/>
                    <a:gd name="T38" fmla="*/ 2147483647 w 16384"/>
                    <a:gd name="T39" fmla="*/ 2147483647 h 16384"/>
                    <a:gd name="T40" fmla="*/ 2147483647 w 16384"/>
                    <a:gd name="T41" fmla="*/ 2147483647 h 16384"/>
                    <a:gd name="T42" fmla="*/ 2147483647 w 16384"/>
                    <a:gd name="T43" fmla="*/ 2147483647 h 16384"/>
                    <a:gd name="T44" fmla="*/ 2147483647 w 16384"/>
                    <a:gd name="T45" fmla="*/ 2147483647 h 16384"/>
                    <a:gd name="T46" fmla="*/ 2147483647 w 16384"/>
                    <a:gd name="T47" fmla="*/ 2147483647 h 16384"/>
                    <a:gd name="T48" fmla="*/ 2147483647 w 16384"/>
                    <a:gd name="T49" fmla="*/ 2147483647 h 16384"/>
                    <a:gd name="T50" fmla="*/ 2147483647 w 16384"/>
                    <a:gd name="T51" fmla="*/ 2147483647 h 16384"/>
                    <a:gd name="T52" fmla="*/ 2147483647 w 16384"/>
                    <a:gd name="T53" fmla="*/ 2147483647 h 16384"/>
                    <a:gd name="T54" fmla="*/ 2147483647 w 16384"/>
                    <a:gd name="T55" fmla="*/ 2147483647 h 16384"/>
                    <a:gd name="T56" fmla="*/ 2147483647 w 16384"/>
                    <a:gd name="T57" fmla="*/ 2147483647 h 16384"/>
                    <a:gd name="T58" fmla="*/ 2147483647 w 16384"/>
                    <a:gd name="T59" fmla="*/ 2147483647 h 16384"/>
                    <a:gd name="T60" fmla="*/ 2147483647 w 16384"/>
                    <a:gd name="T61" fmla="*/ 2147483647 h 16384"/>
                    <a:gd name="T62" fmla="*/ 2147483647 w 16384"/>
                    <a:gd name="T63" fmla="*/ 2147483647 h 16384"/>
                    <a:gd name="T64" fmla="*/ 2147483647 w 16384"/>
                    <a:gd name="T65" fmla="*/ 2147483647 h 16384"/>
                    <a:gd name="T66" fmla="*/ 2147483647 w 16384"/>
                    <a:gd name="T67" fmla="*/ 2147483647 h 16384"/>
                    <a:gd name="T68" fmla="*/ 2147483647 w 16384"/>
                    <a:gd name="T69" fmla="*/ 2147483647 h 16384"/>
                    <a:gd name="T70" fmla="*/ 2147483647 w 16384"/>
                    <a:gd name="T71" fmla="*/ 2147483647 h 16384"/>
                    <a:gd name="T72" fmla="*/ 2147483647 w 16384"/>
                    <a:gd name="T73" fmla="*/ 2147483647 h 16384"/>
                    <a:gd name="T74" fmla="*/ 2147483647 w 16384"/>
                    <a:gd name="T75" fmla="*/ 2147483647 h 16384"/>
                    <a:gd name="T76" fmla="*/ 2147483647 w 16384"/>
                    <a:gd name="T77" fmla="*/ 2147483647 h 16384"/>
                    <a:gd name="T78" fmla="*/ 2147483647 w 16384"/>
                    <a:gd name="T79" fmla="*/ 2147483647 h 16384"/>
                    <a:gd name="T80" fmla="*/ 2147483647 w 16384"/>
                    <a:gd name="T81" fmla="*/ 2147483647 h 16384"/>
                    <a:gd name="T82" fmla="*/ 2147483647 w 16384"/>
                    <a:gd name="T83" fmla="*/ 2147483647 h 16384"/>
                    <a:gd name="T84" fmla="*/ 2147483647 w 16384"/>
                    <a:gd name="T85" fmla="*/ 2147483647 h 16384"/>
                    <a:gd name="T86" fmla="*/ 2147483647 w 16384"/>
                    <a:gd name="T87" fmla="*/ 2147483647 h 16384"/>
                    <a:gd name="T88" fmla="*/ 2147483647 w 16384"/>
                    <a:gd name="T89" fmla="*/ 2147483647 h 16384"/>
                    <a:gd name="T90" fmla="*/ 2147483647 w 16384"/>
                    <a:gd name="T91" fmla="*/ 2147483647 h 16384"/>
                    <a:gd name="T92" fmla="*/ 2147483647 w 16384"/>
                    <a:gd name="T93" fmla="*/ 2147483647 h 16384"/>
                    <a:gd name="T94" fmla="*/ 2147483647 w 16384"/>
                    <a:gd name="T95" fmla="*/ 2147483647 h 16384"/>
                    <a:gd name="T96" fmla="*/ 2147483647 w 16384"/>
                    <a:gd name="T97" fmla="*/ 2147483647 h 16384"/>
                    <a:gd name="T98" fmla="*/ 0 w 16384"/>
                    <a:gd name="T99" fmla="*/ 2147483647 h 16384"/>
                    <a:gd name="T100" fmla="*/ 2147483647 w 16384"/>
                    <a:gd name="T101" fmla="*/ 2147483647 h 16384"/>
                    <a:gd name="T102" fmla="*/ 2147483647 w 16384"/>
                    <a:gd name="T103" fmla="*/ 2147483647 h 16384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w 16384"/>
                    <a:gd name="T157" fmla="*/ 0 h 16384"/>
                    <a:gd name="T158" fmla="*/ 16384 w 16384"/>
                    <a:gd name="T159" fmla="*/ 16384 h 16384"/>
                  </a:gdLst>
                  <a:ahLst/>
                  <a:cxnLst>
                    <a:cxn ang="T104">
                      <a:pos x="T0" y="T1"/>
                    </a:cxn>
                    <a:cxn ang="T105">
                      <a:pos x="T2" y="T3"/>
                    </a:cxn>
                    <a:cxn ang="T106">
                      <a:pos x="T4" y="T5"/>
                    </a:cxn>
                    <a:cxn ang="T107">
                      <a:pos x="T6" y="T7"/>
                    </a:cxn>
                    <a:cxn ang="T108">
                      <a:pos x="T8" y="T9"/>
                    </a:cxn>
                    <a:cxn ang="T109">
                      <a:pos x="T10" y="T11"/>
                    </a:cxn>
                    <a:cxn ang="T110">
                      <a:pos x="T12" y="T13"/>
                    </a:cxn>
                    <a:cxn ang="T111">
                      <a:pos x="T14" y="T15"/>
                    </a:cxn>
                    <a:cxn ang="T112">
                      <a:pos x="T16" y="T17"/>
                    </a:cxn>
                    <a:cxn ang="T113">
                      <a:pos x="T18" y="T19"/>
                    </a:cxn>
                    <a:cxn ang="T114">
                      <a:pos x="T20" y="T21"/>
                    </a:cxn>
                    <a:cxn ang="T115">
                      <a:pos x="T22" y="T23"/>
                    </a:cxn>
                    <a:cxn ang="T116">
                      <a:pos x="T24" y="T25"/>
                    </a:cxn>
                    <a:cxn ang="T117">
                      <a:pos x="T26" y="T27"/>
                    </a:cxn>
                    <a:cxn ang="T118">
                      <a:pos x="T28" y="T29"/>
                    </a:cxn>
                    <a:cxn ang="T119">
                      <a:pos x="T30" y="T31"/>
                    </a:cxn>
                    <a:cxn ang="T120">
                      <a:pos x="T32" y="T33"/>
                    </a:cxn>
                    <a:cxn ang="T121">
                      <a:pos x="T34" y="T35"/>
                    </a:cxn>
                    <a:cxn ang="T122">
                      <a:pos x="T36" y="T37"/>
                    </a:cxn>
                    <a:cxn ang="T123">
                      <a:pos x="T38" y="T39"/>
                    </a:cxn>
                    <a:cxn ang="T124">
                      <a:pos x="T40" y="T41"/>
                    </a:cxn>
                    <a:cxn ang="T125">
                      <a:pos x="T42" y="T43"/>
                    </a:cxn>
                    <a:cxn ang="T126">
                      <a:pos x="T44" y="T45"/>
                    </a:cxn>
                    <a:cxn ang="T127">
                      <a:pos x="T46" y="T47"/>
                    </a:cxn>
                    <a:cxn ang="T128">
                      <a:pos x="T48" y="T49"/>
                    </a:cxn>
                    <a:cxn ang="T129">
                      <a:pos x="T50" y="T51"/>
                    </a:cxn>
                    <a:cxn ang="T130">
                      <a:pos x="T52" y="T53"/>
                    </a:cxn>
                    <a:cxn ang="T131">
                      <a:pos x="T54" y="T55"/>
                    </a:cxn>
                    <a:cxn ang="T132">
                      <a:pos x="T56" y="T57"/>
                    </a:cxn>
                    <a:cxn ang="T133">
                      <a:pos x="T58" y="T59"/>
                    </a:cxn>
                    <a:cxn ang="T134">
                      <a:pos x="T60" y="T61"/>
                    </a:cxn>
                    <a:cxn ang="T135">
                      <a:pos x="T62" y="T63"/>
                    </a:cxn>
                    <a:cxn ang="T136">
                      <a:pos x="T64" y="T65"/>
                    </a:cxn>
                    <a:cxn ang="T137">
                      <a:pos x="T66" y="T67"/>
                    </a:cxn>
                    <a:cxn ang="T138">
                      <a:pos x="T68" y="T69"/>
                    </a:cxn>
                    <a:cxn ang="T139">
                      <a:pos x="T70" y="T71"/>
                    </a:cxn>
                    <a:cxn ang="T140">
                      <a:pos x="T72" y="T73"/>
                    </a:cxn>
                    <a:cxn ang="T141">
                      <a:pos x="T74" y="T75"/>
                    </a:cxn>
                    <a:cxn ang="T142">
                      <a:pos x="T76" y="T77"/>
                    </a:cxn>
                    <a:cxn ang="T143">
                      <a:pos x="T78" y="T79"/>
                    </a:cxn>
                    <a:cxn ang="T144">
                      <a:pos x="T80" y="T81"/>
                    </a:cxn>
                    <a:cxn ang="T145">
                      <a:pos x="T82" y="T83"/>
                    </a:cxn>
                    <a:cxn ang="T146">
                      <a:pos x="T84" y="T85"/>
                    </a:cxn>
                    <a:cxn ang="T147">
                      <a:pos x="T86" y="T87"/>
                    </a:cxn>
                    <a:cxn ang="T148">
                      <a:pos x="T88" y="T89"/>
                    </a:cxn>
                    <a:cxn ang="T149">
                      <a:pos x="T90" y="T91"/>
                    </a:cxn>
                    <a:cxn ang="T150">
                      <a:pos x="T92" y="T93"/>
                    </a:cxn>
                    <a:cxn ang="T151">
                      <a:pos x="T94" y="T95"/>
                    </a:cxn>
                    <a:cxn ang="T152">
                      <a:pos x="T96" y="T97"/>
                    </a:cxn>
                    <a:cxn ang="T153">
                      <a:pos x="T98" y="T99"/>
                    </a:cxn>
                    <a:cxn ang="T154">
                      <a:pos x="T100" y="T101"/>
                    </a:cxn>
                    <a:cxn ang="T155">
                      <a:pos x="T102" y="T103"/>
                    </a:cxn>
                  </a:cxnLst>
                  <a:rect l="T156" t="T157" r="T158" b="T159"/>
                  <a:pathLst>
                    <a:path w="16384" h="16384">
                      <a:moveTo>
                        <a:pt x="9124" y="16070"/>
                      </a:moveTo>
                      <a:lnTo>
                        <a:pt x="9473" y="16070"/>
                      </a:lnTo>
                      <a:lnTo>
                        <a:pt x="11026" y="16196"/>
                      </a:lnTo>
                      <a:lnTo>
                        <a:pt x="11609" y="16258"/>
                      </a:lnTo>
                      <a:lnTo>
                        <a:pt x="13200" y="16321"/>
                      </a:lnTo>
                      <a:lnTo>
                        <a:pt x="13239" y="16321"/>
                      </a:lnTo>
                      <a:lnTo>
                        <a:pt x="14870" y="16321"/>
                      </a:lnTo>
                      <a:lnTo>
                        <a:pt x="16345" y="16384"/>
                      </a:lnTo>
                      <a:lnTo>
                        <a:pt x="16306" y="16196"/>
                      </a:lnTo>
                      <a:lnTo>
                        <a:pt x="16306" y="16070"/>
                      </a:lnTo>
                      <a:lnTo>
                        <a:pt x="16345" y="15945"/>
                      </a:lnTo>
                      <a:lnTo>
                        <a:pt x="16384" y="15819"/>
                      </a:lnTo>
                      <a:lnTo>
                        <a:pt x="16384" y="15631"/>
                      </a:lnTo>
                      <a:lnTo>
                        <a:pt x="16345" y="15442"/>
                      </a:lnTo>
                      <a:lnTo>
                        <a:pt x="16306" y="15317"/>
                      </a:lnTo>
                      <a:lnTo>
                        <a:pt x="16306" y="14815"/>
                      </a:lnTo>
                      <a:lnTo>
                        <a:pt x="16268" y="14438"/>
                      </a:lnTo>
                      <a:lnTo>
                        <a:pt x="16190" y="14312"/>
                      </a:lnTo>
                      <a:lnTo>
                        <a:pt x="16073" y="14061"/>
                      </a:lnTo>
                      <a:lnTo>
                        <a:pt x="16035" y="13810"/>
                      </a:lnTo>
                      <a:lnTo>
                        <a:pt x="15996" y="13685"/>
                      </a:lnTo>
                      <a:lnTo>
                        <a:pt x="15957" y="13245"/>
                      </a:lnTo>
                      <a:lnTo>
                        <a:pt x="15879" y="12931"/>
                      </a:lnTo>
                      <a:lnTo>
                        <a:pt x="15879" y="12743"/>
                      </a:lnTo>
                      <a:lnTo>
                        <a:pt x="15879" y="12555"/>
                      </a:lnTo>
                      <a:lnTo>
                        <a:pt x="15879" y="12115"/>
                      </a:lnTo>
                      <a:lnTo>
                        <a:pt x="15918" y="11739"/>
                      </a:lnTo>
                      <a:lnTo>
                        <a:pt x="15957" y="11488"/>
                      </a:lnTo>
                      <a:lnTo>
                        <a:pt x="15802" y="11111"/>
                      </a:lnTo>
                      <a:lnTo>
                        <a:pt x="15802" y="10923"/>
                      </a:lnTo>
                      <a:lnTo>
                        <a:pt x="15802" y="10860"/>
                      </a:lnTo>
                      <a:lnTo>
                        <a:pt x="15840" y="10672"/>
                      </a:lnTo>
                      <a:lnTo>
                        <a:pt x="15802" y="10483"/>
                      </a:lnTo>
                      <a:lnTo>
                        <a:pt x="15802" y="10358"/>
                      </a:lnTo>
                      <a:lnTo>
                        <a:pt x="15802" y="10044"/>
                      </a:lnTo>
                      <a:lnTo>
                        <a:pt x="15802" y="9918"/>
                      </a:lnTo>
                      <a:lnTo>
                        <a:pt x="15763" y="9730"/>
                      </a:lnTo>
                      <a:lnTo>
                        <a:pt x="15802" y="9479"/>
                      </a:lnTo>
                      <a:lnTo>
                        <a:pt x="15802" y="9291"/>
                      </a:lnTo>
                      <a:lnTo>
                        <a:pt x="15802" y="9165"/>
                      </a:lnTo>
                      <a:lnTo>
                        <a:pt x="15763" y="8914"/>
                      </a:lnTo>
                      <a:lnTo>
                        <a:pt x="15802" y="8663"/>
                      </a:lnTo>
                      <a:lnTo>
                        <a:pt x="15763" y="8600"/>
                      </a:lnTo>
                      <a:lnTo>
                        <a:pt x="15763" y="8474"/>
                      </a:lnTo>
                      <a:lnTo>
                        <a:pt x="15763" y="8349"/>
                      </a:lnTo>
                      <a:lnTo>
                        <a:pt x="15763" y="8223"/>
                      </a:lnTo>
                      <a:lnTo>
                        <a:pt x="15763" y="8098"/>
                      </a:lnTo>
                      <a:lnTo>
                        <a:pt x="15724" y="7910"/>
                      </a:lnTo>
                      <a:lnTo>
                        <a:pt x="15685" y="7784"/>
                      </a:lnTo>
                      <a:lnTo>
                        <a:pt x="15646" y="7533"/>
                      </a:lnTo>
                      <a:lnTo>
                        <a:pt x="15608" y="7282"/>
                      </a:lnTo>
                      <a:lnTo>
                        <a:pt x="15530" y="7093"/>
                      </a:lnTo>
                      <a:lnTo>
                        <a:pt x="15491" y="6842"/>
                      </a:lnTo>
                      <a:lnTo>
                        <a:pt x="15413" y="6717"/>
                      </a:lnTo>
                      <a:lnTo>
                        <a:pt x="15375" y="6466"/>
                      </a:lnTo>
                      <a:lnTo>
                        <a:pt x="15336" y="6340"/>
                      </a:lnTo>
                      <a:lnTo>
                        <a:pt x="15336" y="6152"/>
                      </a:lnTo>
                      <a:lnTo>
                        <a:pt x="15336" y="5964"/>
                      </a:lnTo>
                      <a:lnTo>
                        <a:pt x="15297" y="5838"/>
                      </a:lnTo>
                      <a:lnTo>
                        <a:pt x="15180" y="5461"/>
                      </a:lnTo>
                      <a:lnTo>
                        <a:pt x="15142" y="5273"/>
                      </a:lnTo>
                      <a:lnTo>
                        <a:pt x="15180" y="5147"/>
                      </a:lnTo>
                      <a:lnTo>
                        <a:pt x="15180" y="4959"/>
                      </a:lnTo>
                      <a:lnTo>
                        <a:pt x="15180" y="4771"/>
                      </a:lnTo>
                      <a:lnTo>
                        <a:pt x="15180" y="4520"/>
                      </a:lnTo>
                      <a:lnTo>
                        <a:pt x="15142" y="4331"/>
                      </a:lnTo>
                      <a:lnTo>
                        <a:pt x="15180" y="4080"/>
                      </a:lnTo>
                      <a:lnTo>
                        <a:pt x="15180" y="3892"/>
                      </a:lnTo>
                      <a:lnTo>
                        <a:pt x="15180" y="3578"/>
                      </a:lnTo>
                      <a:lnTo>
                        <a:pt x="15180" y="3453"/>
                      </a:lnTo>
                      <a:lnTo>
                        <a:pt x="15142" y="3327"/>
                      </a:lnTo>
                      <a:lnTo>
                        <a:pt x="15142" y="3264"/>
                      </a:lnTo>
                      <a:lnTo>
                        <a:pt x="15180" y="3139"/>
                      </a:lnTo>
                      <a:lnTo>
                        <a:pt x="15258" y="3013"/>
                      </a:lnTo>
                      <a:lnTo>
                        <a:pt x="15297" y="2825"/>
                      </a:lnTo>
                      <a:lnTo>
                        <a:pt x="15258" y="2699"/>
                      </a:lnTo>
                      <a:lnTo>
                        <a:pt x="15219" y="2511"/>
                      </a:lnTo>
                      <a:lnTo>
                        <a:pt x="15180" y="2448"/>
                      </a:lnTo>
                      <a:lnTo>
                        <a:pt x="15103" y="2134"/>
                      </a:lnTo>
                      <a:lnTo>
                        <a:pt x="15103" y="1820"/>
                      </a:lnTo>
                      <a:lnTo>
                        <a:pt x="15103" y="1695"/>
                      </a:lnTo>
                      <a:lnTo>
                        <a:pt x="15025" y="1507"/>
                      </a:lnTo>
                      <a:lnTo>
                        <a:pt x="15025" y="1193"/>
                      </a:lnTo>
                      <a:lnTo>
                        <a:pt x="13550" y="1130"/>
                      </a:lnTo>
                      <a:lnTo>
                        <a:pt x="11337" y="1067"/>
                      </a:lnTo>
                      <a:lnTo>
                        <a:pt x="10211" y="1004"/>
                      </a:lnTo>
                      <a:lnTo>
                        <a:pt x="8852" y="879"/>
                      </a:lnTo>
                      <a:lnTo>
                        <a:pt x="6134" y="628"/>
                      </a:lnTo>
                      <a:lnTo>
                        <a:pt x="5047" y="502"/>
                      </a:lnTo>
                      <a:lnTo>
                        <a:pt x="3145" y="314"/>
                      </a:lnTo>
                      <a:lnTo>
                        <a:pt x="815" y="0"/>
                      </a:lnTo>
                      <a:lnTo>
                        <a:pt x="738" y="1820"/>
                      </a:lnTo>
                      <a:lnTo>
                        <a:pt x="660" y="3013"/>
                      </a:lnTo>
                      <a:lnTo>
                        <a:pt x="582" y="5022"/>
                      </a:lnTo>
                      <a:lnTo>
                        <a:pt x="388" y="7910"/>
                      </a:lnTo>
                      <a:lnTo>
                        <a:pt x="388" y="8223"/>
                      </a:lnTo>
                      <a:lnTo>
                        <a:pt x="194" y="11613"/>
                      </a:lnTo>
                      <a:lnTo>
                        <a:pt x="194" y="12178"/>
                      </a:lnTo>
                      <a:lnTo>
                        <a:pt x="116" y="13434"/>
                      </a:lnTo>
                      <a:lnTo>
                        <a:pt x="0" y="15129"/>
                      </a:lnTo>
                      <a:lnTo>
                        <a:pt x="2329" y="15380"/>
                      </a:lnTo>
                      <a:lnTo>
                        <a:pt x="2446" y="15442"/>
                      </a:lnTo>
                      <a:lnTo>
                        <a:pt x="4465" y="15693"/>
                      </a:lnTo>
                      <a:lnTo>
                        <a:pt x="7726" y="15945"/>
                      </a:lnTo>
                      <a:lnTo>
                        <a:pt x="9124" y="16070"/>
                      </a:lnTo>
                      <a:close/>
                    </a:path>
                  </a:pathLst>
                </a:custGeom>
                <a:solidFill>
                  <a:srgbClr val="00B050"/>
                </a:solidFill>
                <a:ln w="9525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defTabSz="121917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53" name="Ohio">
                  <a:extLst>
                    <a:ext uri="{FF2B5EF4-FFF2-40B4-BE49-F238E27FC236}">
                      <a16:creationId xmlns:a16="http://schemas.microsoft.com/office/drawing/2014/main" id="{171D14F4-C1EC-C946-BBA5-4F644255B30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2126575" y="6162675"/>
                  <a:ext cx="2476500" cy="2686050"/>
                </a:xfrm>
                <a:custGeom>
                  <a:avLst/>
                  <a:gdLst>
                    <a:gd name="T0" fmla="*/ 2147483647 w 16384"/>
                    <a:gd name="T1" fmla="*/ 2147483647 h 16384"/>
                    <a:gd name="T2" fmla="*/ 2147483647 w 16384"/>
                    <a:gd name="T3" fmla="*/ 2147483647 h 16384"/>
                    <a:gd name="T4" fmla="*/ 2147483647 w 16384"/>
                    <a:gd name="T5" fmla="*/ 2147483647 h 16384"/>
                    <a:gd name="T6" fmla="*/ 2147483647 w 16384"/>
                    <a:gd name="T7" fmla="*/ 2147483647 h 16384"/>
                    <a:gd name="T8" fmla="*/ 2147483647 w 16384"/>
                    <a:gd name="T9" fmla="*/ 2147483647 h 16384"/>
                    <a:gd name="T10" fmla="*/ 2147483647 w 16384"/>
                    <a:gd name="T11" fmla="*/ 2147483647 h 16384"/>
                    <a:gd name="T12" fmla="*/ 2147483647 w 16384"/>
                    <a:gd name="T13" fmla="*/ 2147483647 h 16384"/>
                    <a:gd name="T14" fmla="*/ 2147483647 w 16384"/>
                    <a:gd name="T15" fmla="*/ 2147483647 h 16384"/>
                    <a:gd name="T16" fmla="*/ 2147483647 w 16384"/>
                    <a:gd name="T17" fmla="*/ 2147483647 h 16384"/>
                    <a:gd name="T18" fmla="*/ 2147483647 w 16384"/>
                    <a:gd name="T19" fmla="*/ 2147483647 h 16384"/>
                    <a:gd name="T20" fmla="*/ 2147483647 w 16384"/>
                    <a:gd name="T21" fmla="*/ 2147483647 h 16384"/>
                    <a:gd name="T22" fmla="*/ 2147483647 w 16384"/>
                    <a:gd name="T23" fmla="*/ 2147483647 h 16384"/>
                    <a:gd name="T24" fmla="*/ 2147483647 w 16384"/>
                    <a:gd name="T25" fmla="*/ 2147483647 h 16384"/>
                    <a:gd name="T26" fmla="*/ 2147483647 w 16384"/>
                    <a:gd name="T27" fmla="*/ 2147483647 h 16384"/>
                    <a:gd name="T28" fmla="*/ 2147483647 w 16384"/>
                    <a:gd name="T29" fmla="*/ 2147483647 h 16384"/>
                    <a:gd name="T30" fmla="*/ 2147483647 w 16384"/>
                    <a:gd name="T31" fmla="*/ 2147483647 h 16384"/>
                    <a:gd name="T32" fmla="*/ 2147483647 w 16384"/>
                    <a:gd name="T33" fmla="*/ 2147483647 h 16384"/>
                    <a:gd name="T34" fmla="*/ 2147483647 w 16384"/>
                    <a:gd name="T35" fmla="*/ 2147483647 h 16384"/>
                    <a:gd name="T36" fmla="*/ 2147483647 w 16384"/>
                    <a:gd name="T37" fmla="*/ 2147483647 h 16384"/>
                    <a:gd name="T38" fmla="*/ 2147483647 w 16384"/>
                    <a:gd name="T39" fmla="*/ 2147483647 h 16384"/>
                    <a:gd name="T40" fmla="*/ 2147483647 w 16384"/>
                    <a:gd name="T41" fmla="*/ 2147483647 h 16384"/>
                    <a:gd name="T42" fmla="*/ 2147483647 w 16384"/>
                    <a:gd name="T43" fmla="*/ 2147483647 h 16384"/>
                    <a:gd name="T44" fmla="*/ 2147483647 w 16384"/>
                    <a:gd name="T45" fmla="*/ 2147483647 h 16384"/>
                    <a:gd name="T46" fmla="*/ 2147483647 w 16384"/>
                    <a:gd name="T47" fmla="*/ 2147483647 h 16384"/>
                    <a:gd name="T48" fmla="*/ 2147483647 w 16384"/>
                    <a:gd name="T49" fmla="*/ 2147483647 h 16384"/>
                    <a:gd name="T50" fmla="*/ 2147483647 w 16384"/>
                    <a:gd name="T51" fmla="*/ 2147483647 h 16384"/>
                    <a:gd name="T52" fmla="*/ 2147483647 w 16384"/>
                    <a:gd name="T53" fmla="*/ 2147483647 h 16384"/>
                    <a:gd name="T54" fmla="*/ 2147483647 w 16384"/>
                    <a:gd name="T55" fmla="*/ 2147483647 h 16384"/>
                    <a:gd name="T56" fmla="*/ 2147483647 w 16384"/>
                    <a:gd name="T57" fmla="*/ 2147483647 h 16384"/>
                    <a:gd name="T58" fmla="*/ 2147483647 w 16384"/>
                    <a:gd name="T59" fmla="*/ 2147483647 h 16384"/>
                    <a:gd name="T60" fmla="*/ 2147483647 w 16384"/>
                    <a:gd name="T61" fmla="*/ 2147483647 h 16384"/>
                    <a:gd name="T62" fmla="*/ 2147483647 w 16384"/>
                    <a:gd name="T63" fmla="*/ 2147483647 h 16384"/>
                    <a:gd name="T64" fmla="*/ 2147483647 w 16384"/>
                    <a:gd name="T65" fmla="*/ 2147483647 h 16384"/>
                    <a:gd name="T66" fmla="*/ 2147483647 w 16384"/>
                    <a:gd name="T67" fmla="*/ 2147483647 h 16384"/>
                    <a:gd name="T68" fmla="*/ 2147483647 w 16384"/>
                    <a:gd name="T69" fmla="*/ 2147483647 h 16384"/>
                    <a:gd name="T70" fmla="*/ 2147483647 w 16384"/>
                    <a:gd name="T71" fmla="*/ 2147483647 h 16384"/>
                    <a:gd name="T72" fmla="*/ 2147483647 w 16384"/>
                    <a:gd name="T73" fmla="*/ 2147483647 h 16384"/>
                    <a:gd name="T74" fmla="*/ 2147483647 w 16384"/>
                    <a:gd name="T75" fmla="*/ 2147483647 h 16384"/>
                    <a:gd name="T76" fmla="*/ 2147483647 w 16384"/>
                    <a:gd name="T77" fmla="*/ 2147483647 h 16384"/>
                    <a:gd name="T78" fmla="*/ 2147483647 w 16384"/>
                    <a:gd name="T79" fmla="*/ 2147483647 h 16384"/>
                    <a:gd name="T80" fmla="*/ 2147483647 w 16384"/>
                    <a:gd name="T81" fmla="*/ 2147483647 h 16384"/>
                    <a:gd name="T82" fmla="*/ 2147483647 w 16384"/>
                    <a:gd name="T83" fmla="*/ 2147483647 h 16384"/>
                    <a:gd name="T84" fmla="*/ 2147483647 w 16384"/>
                    <a:gd name="T85" fmla="*/ 2147483647 h 16384"/>
                    <a:gd name="T86" fmla="*/ 2147483647 w 16384"/>
                    <a:gd name="T87" fmla="*/ 2147483647 h 16384"/>
                    <a:gd name="T88" fmla="*/ 2147483647 w 16384"/>
                    <a:gd name="T89" fmla="*/ 2147483647 h 16384"/>
                    <a:gd name="T90" fmla="*/ 2147483647 w 16384"/>
                    <a:gd name="T91" fmla="*/ 2147483647 h 16384"/>
                    <a:gd name="T92" fmla="*/ 2147483647 w 16384"/>
                    <a:gd name="T93" fmla="*/ 2147483647 h 16384"/>
                    <a:gd name="T94" fmla="*/ 2147483647 w 16384"/>
                    <a:gd name="T95" fmla="*/ 2147483647 h 16384"/>
                    <a:gd name="T96" fmla="*/ 2147483647 w 16384"/>
                    <a:gd name="T97" fmla="*/ 2147483647 h 16384"/>
                    <a:gd name="T98" fmla="*/ 2147483647 w 16384"/>
                    <a:gd name="T99" fmla="*/ 2147483647 h 16384"/>
                    <a:gd name="T100" fmla="*/ 2147483647 w 16384"/>
                    <a:gd name="T101" fmla="*/ 0 h 16384"/>
                    <a:gd name="T102" fmla="*/ 2147483647 w 16384"/>
                    <a:gd name="T103" fmla="*/ 2147483647 h 16384"/>
                    <a:gd name="T104" fmla="*/ 2147483647 w 16384"/>
                    <a:gd name="T105" fmla="*/ 2147483647 h 16384"/>
                    <a:gd name="T106" fmla="*/ 2147483647 w 16384"/>
                    <a:gd name="T107" fmla="*/ 2147483647 h 16384"/>
                    <a:gd name="T108" fmla="*/ 2147483647 w 16384"/>
                    <a:gd name="T109" fmla="*/ 2147483647 h 16384"/>
                    <a:gd name="T110" fmla="*/ 2147483647 w 16384"/>
                    <a:gd name="T111" fmla="*/ 2147483647 h 16384"/>
                    <a:gd name="T112" fmla="*/ 2147483647 w 16384"/>
                    <a:gd name="T113" fmla="*/ 2147483647 h 16384"/>
                    <a:gd name="T114" fmla="*/ 2147483647 w 16384"/>
                    <a:gd name="T115" fmla="*/ 2147483647 h 16384"/>
                    <a:gd name="T116" fmla="*/ 2147483647 w 16384"/>
                    <a:gd name="T117" fmla="*/ 2147483647 h 16384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w 16384"/>
                    <a:gd name="T178" fmla="*/ 0 h 16384"/>
                    <a:gd name="T179" fmla="*/ 16384 w 16384"/>
                    <a:gd name="T180" fmla="*/ 16384 h 16384"/>
                  </a:gdLst>
                  <a:ahLst/>
                  <a:cxnLst>
                    <a:cxn ang="T118">
                      <a:pos x="T0" y="T1"/>
                    </a:cxn>
                    <a:cxn ang="T119">
                      <a:pos x="T2" y="T3"/>
                    </a:cxn>
                    <a:cxn ang="T120">
                      <a:pos x="T4" y="T5"/>
                    </a:cxn>
                    <a:cxn ang="T121">
                      <a:pos x="T6" y="T7"/>
                    </a:cxn>
                    <a:cxn ang="T122">
                      <a:pos x="T8" y="T9"/>
                    </a:cxn>
                    <a:cxn ang="T123">
                      <a:pos x="T10" y="T11"/>
                    </a:cxn>
                    <a:cxn ang="T124">
                      <a:pos x="T12" y="T13"/>
                    </a:cxn>
                    <a:cxn ang="T125">
                      <a:pos x="T14" y="T15"/>
                    </a:cxn>
                    <a:cxn ang="T126">
                      <a:pos x="T16" y="T17"/>
                    </a:cxn>
                    <a:cxn ang="T127">
                      <a:pos x="T18" y="T19"/>
                    </a:cxn>
                    <a:cxn ang="T128">
                      <a:pos x="T20" y="T21"/>
                    </a:cxn>
                    <a:cxn ang="T129">
                      <a:pos x="T22" y="T23"/>
                    </a:cxn>
                    <a:cxn ang="T130">
                      <a:pos x="T24" y="T25"/>
                    </a:cxn>
                    <a:cxn ang="T131">
                      <a:pos x="T26" y="T27"/>
                    </a:cxn>
                    <a:cxn ang="T132">
                      <a:pos x="T28" y="T29"/>
                    </a:cxn>
                    <a:cxn ang="T133">
                      <a:pos x="T30" y="T31"/>
                    </a:cxn>
                    <a:cxn ang="T134">
                      <a:pos x="T32" y="T33"/>
                    </a:cxn>
                    <a:cxn ang="T135">
                      <a:pos x="T34" y="T35"/>
                    </a:cxn>
                    <a:cxn ang="T136">
                      <a:pos x="T36" y="T37"/>
                    </a:cxn>
                    <a:cxn ang="T137">
                      <a:pos x="T38" y="T39"/>
                    </a:cxn>
                    <a:cxn ang="T138">
                      <a:pos x="T40" y="T41"/>
                    </a:cxn>
                    <a:cxn ang="T139">
                      <a:pos x="T42" y="T43"/>
                    </a:cxn>
                    <a:cxn ang="T140">
                      <a:pos x="T44" y="T45"/>
                    </a:cxn>
                    <a:cxn ang="T141">
                      <a:pos x="T46" y="T47"/>
                    </a:cxn>
                    <a:cxn ang="T142">
                      <a:pos x="T48" y="T49"/>
                    </a:cxn>
                    <a:cxn ang="T143">
                      <a:pos x="T50" y="T51"/>
                    </a:cxn>
                    <a:cxn ang="T144">
                      <a:pos x="T52" y="T53"/>
                    </a:cxn>
                    <a:cxn ang="T145">
                      <a:pos x="T54" y="T55"/>
                    </a:cxn>
                    <a:cxn ang="T146">
                      <a:pos x="T56" y="T57"/>
                    </a:cxn>
                    <a:cxn ang="T147">
                      <a:pos x="T58" y="T59"/>
                    </a:cxn>
                    <a:cxn ang="T148">
                      <a:pos x="T60" y="T61"/>
                    </a:cxn>
                    <a:cxn ang="T149">
                      <a:pos x="T62" y="T63"/>
                    </a:cxn>
                    <a:cxn ang="T150">
                      <a:pos x="T64" y="T65"/>
                    </a:cxn>
                    <a:cxn ang="T151">
                      <a:pos x="T66" y="T67"/>
                    </a:cxn>
                    <a:cxn ang="T152">
                      <a:pos x="T68" y="T69"/>
                    </a:cxn>
                    <a:cxn ang="T153">
                      <a:pos x="T70" y="T71"/>
                    </a:cxn>
                    <a:cxn ang="T154">
                      <a:pos x="T72" y="T73"/>
                    </a:cxn>
                    <a:cxn ang="T155">
                      <a:pos x="T74" y="T75"/>
                    </a:cxn>
                    <a:cxn ang="T156">
                      <a:pos x="T76" y="T77"/>
                    </a:cxn>
                    <a:cxn ang="T157">
                      <a:pos x="T78" y="T79"/>
                    </a:cxn>
                    <a:cxn ang="T158">
                      <a:pos x="T80" y="T81"/>
                    </a:cxn>
                    <a:cxn ang="T159">
                      <a:pos x="T82" y="T83"/>
                    </a:cxn>
                    <a:cxn ang="T160">
                      <a:pos x="T84" y="T85"/>
                    </a:cxn>
                    <a:cxn ang="T161">
                      <a:pos x="T86" y="T87"/>
                    </a:cxn>
                    <a:cxn ang="T162">
                      <a:pos x="T88" y="T89"/>
                    </a:cxn>
                    <a:cxn ang="T163">
                      <a:pos x="T90" y="T91"/>
                    </a:cxn>
                    <a:cxn ang="T164">
                      <a:pos x="T92" y="T93"/>
                    </a:cxn>
                    <a:cxn ang="T165">
                      <a:pos x="T94" y="T95"/>
                    </a:cxn>
                    <a:cxn ang="T166">
                      <a:pos x="T96" y="T97"/>
                    </a:cxn>
                    <a:cxn ang="T167">
                      <a:pos x="T98" y="T99"/>
                    </a:cxn>
                    <a:cxn ang="T168">
                      <a:pos x="T100" y="T101"/>
                    </a:cxn>
                    <a:cxn ang="T169">
                      <a:pos x="T102" y="T103"/>
                    </a:cxn>
                    <a:cxn ang="T170">
                      <a:pos x="T104" y="T105"/>
                    </a:cxn>
                    <a:cxn ang="T171">
                      <a:pos x="T106" y="T107"/>
                    </a:cxn>
                    <a:cxn ang="T172">
                      <a:pos x="T108" y="T109"/>
                    </a:cxn>
                    <a:cxn ang="T173">
                      <a:pos x="T110" y="T111"/>
                    </a:cxn>
                    <a:cxn ang="T174">
                      <a:pos x="T112" y="T113"/>
                    </a:cxn>
                    <a:cxn ang="T175">
                      <a:pos x="T114" y="T115"/>
                    </a:cxn>
                    <a:cxn ang="T176">
                      <a:pos x="T116" y="T117"/>
                    </a:cxn>
                  </a:cxnLst>
                  <a:rect l="T177" t="T178" r="T179" b="T180"/>
                  <a:pathLst>
                    <a:path w="16384" h="16384">
                      <a:moveTo>
                        <a:pt x="7206" y="3441"/>
                      </a:moveTo>
                      <a:lnTo>
                        <a:pt x="7022" y="3441"/>
                      </a:lnTo>
                      <a:lnTo>
                        <a:pt x="6960" y="3495"/>
                      </a:lnTo>
                      <a:lnTo>
                        <a:pt x="6775" y="3441"/>
                      </a:lnTo>
                      <a:lnTo>
                        <a:pt x="6775" y="3386"/>
                      </a:lnTo>
                      <a:lnTo>
                        <a:pt x="6899" y="3277"/>
                      </a:lnTo>
                      <a:lnTo>
                        <a:pt x="7514" y="3058"/>
                      </a:lnTo>
                      <a:lnTo>
                        <a:pt x="7638" y="3004"/>
                      </a:lnTo>
                      <a:lnTo>
                        <a:pt x="7699" y="2895"/>
                      </a:lnTo>
                      <a:lnTo>
                        <a:pt x="7638" y="2895"/>
                      </a:lnTo>
                      <a:lnTo>
                        <a:pt x="7391" y="2895"/>
                      </a:lnTo>
                      <a:lnTo>
                        <a:pt x="7330" y="2840"/>
                      </a:lnTo>
                      <a:lnTo>
                        <a:pt x="7330" y="2731"/>
                      </a:lnTo>
                      <a:lnTo>
                        <a:pt x="7145" y="2785"/>
                      </a:lnTo>
                      <a:lnTo>
                        <a:pt x="7145" y="2949"/>
                      </a:lnTo>
                      <a:lnTo>
                        <a:pt x="7083" y="3004"/>
                      </a:lnTo>
                      <a:lnTo>
                        <a:pt x="6837" y="3058"/>
                      </a:lnTo>
                      <a:lnTo>
                        <a:pt x="6714" y="3004"/>
                      </a:lnTo>
                      <a:lnTo>
                        <a:pt x="6529" y="2895"/>
                      </a:lnTo>
                      <a:lnTo>
                        <a:pt x="6344" y="2785"/>
                      </a:lnTo>
                      <a:lnTo>
                        <a:pt x="6098" y="2731"/>
                      </a:lnTo>
                      <a:lnTo>
                        <a:pt x="5975" y="2731"/>
                      </a:lnTo>
                      <a:lnTo>
                        <a:pt x="5790" y="2676"/>
                      </a:lnTo>
                      <a:lnTo>
                        <a:pt x="5667" y="2676"/>
                      </a:lnTo>
                      <a:lnTo>
                        <a:pt x="5543" y="2567"/>
                      </a:lnTo>
                      <a:lnTo>
                        <a:pt x="5359" y="2458"/>
                      </a:lnTo>
                      <a:lnTo>
                        <a:pt x="5235" y="2458"/>
                      </a:lnTo>
                      <a:lnTo>
                        <a:pt x="5235" y="2512"/>
                      </a:lnTo>
                      <a:lnTo>
                        <a:pt x="5112" y="2567"/>
                      </a:lnTo>
                      <a:lnTo>
                        <a:pt x="4989" y="2567"/>
                      </a:lnTo>
                      <a:lnTo>
                        <a:pt x="4866" y="2621"/>
                      </a:lnTo>
                      <a:lnTo>
                        <a:pt x="4743" y="2731"/>
                      </a:lnTo>
                      <a:lnTo>
                        <a:pt x="4804" y="2458"/>
                      </a:lnTo>
                      <a:lnTo>
                        <a:pt x="4866" y="2348"/>
                      </a:lnTo>
                      <a:lnTo>
                        <a:pt x="3696" y="2512"/>
                      </a:lnTo>
                      <a:lnTo>
                        <a:pt x="3264" y="2567"/>
                      </a:lnTo>
                      <a:lnTo>
                        <a:pt x="1540" y="2840"/>
                      </a:lnTo>
                      <a:lnTo>
                        <a:pt x="1417" y="2840"/>
                      </a:lnTo>
                      <a:lnTo>
                        <a:pt x="0" y="3058"/>
                      </a:lnTo>
                      <a:lnTo>
                        <a:pt x="62" y="3823"/>
                      </a:lnTo>
                      <a:lnTo>
                        <a:pt x="123" y="4260"/>
                      </a:lnTo>
                      <a:lnTo>
                        <a:pt x="185" y="4915"/>
                      </a:lnTo>
                      <a:lnTo>
                        <a:pt x="185" y="5024"/>
                      </a:lnTo>
                      <a:lnTo>
                        <a:pt x="370" y="6171"/>
                      </a:lnTo>
                      <a:lnTo>
                        <a:pt x="370" y="6444"/>
                      </a:lnTo>
                      <a:lnTo>
                        <a:pt x="493" y="7318"/>
                      </a:lnTo>
                      <a:lnTo>
                        <a:pt x="554" y="8028"/>
                      </a:lnTo>
                      <a:lnTo>
                        <a:pt x="678" y="8957"/>
                      </a:lnTo>
                      <a:lnTo>
                        <a:pt x="678" y="9120"/>
                      </a:lnTo>
                      <a:lnTo>
                        <a:pt x="862" y="10431"/>
                      </a:lnTo>
                      <a:lnTo>
                        <a:pt x="924" y="10813"/>
                      </a:lnTo>
                      <a:lnTo>
                        <a:pt x="986" y="11687"/>
                      </a:lnTo>
                      <a:lnTo>
                        <a:pt x="1109" y="12397"/>
                      </a:lnTo>
                      <a:lnTo>
                        <a:pt x="1109" y="12561"/>
                      </a:lnTo>
                      <a:lnTo>
                        <a:pt x="1232" y="13489"/>
                      </a:lnTo>
                      <a:lnTo>
                        <a:pt x="1355" y="14363"/>
                      </a:lnTo>
                      <a:lnTo>
                        <a:pt x="1540" y="14254"/>
                      </a:lnTo>
                      <a:lnTo>
                        <a:pt x="1663" y="14254"/>
                      </a:lnTo>
                      <a:lnTo>
                        <a:pt x="1786" y="14363"/>
                      </a:lnTo>
                      <a:lnTo>
                        <a:pt x="1971" y="14418"/>
                      </a:lnTo>
                      <a:lnTo>
                        <a:pt x="2094" y="14418"/>
                      </a:lnTo>
                      <a:lnTo>
                        <a:pt x="2341" y="14363"/>
                      </a:lnTo>
                      <a:lnTo>
                        <a:pt x="2525" y="14309"/>
                      </a:lnTo>
                      <a:lnTo>
                        <a:pt x="2649" y="14199"/>
                      </a:lnTo>
                      <a:lnTo>
                        <a:pt x="2772" y="14199"/>
                      </a:lnTo>
                      <a:lnTo>
                        <a:pt x="2833" y="14254"/>
                      </a:lnTo>
                      <a:lnTo>
                        <a:pt x="2895" y="14363"/>
                      </a:lnTo>
                      <a:lnTo>
                        <a:pt x="3018" y="14418"/>
                      </a:lnTo>
                      <a:lnTo>
                        <a:pt x="3203" y="14473"/>
                      </a:lnTo>
                      <a:lnTo>
                        <a:pt x="3326" y="14582"/>
                      </a:lnTo>
                      <a:lnTo>
                        <a:pt x="3388" y="14636"/>
                      </a:lnTo>
                      <a:lnTo>
                        <a:pt x="3511" y="14746"/>
                      </a:lnTo>
                      <a:lnTo>
                        <a:pt x="3634" y="14909"/>
                      </a:lnTo>
                      <a:lnTo>
                        <a:pt x="3757" y="15073"/>
                      </a:lnTo>
                      <a:lnTo>
                        <a:pt x="3757" y="15183"/>
                      </a:lnTo>
                      <a:lnTo>
                        <a:pt x="3757" y="15346"/>
                      </a:lnTo>
                      <a:lnTo>
                        <a:pt x="4065" y="15401"/>
                      </a:lnTo>
                      <a:lnTo>
                        <a:pt x="4312" y="15456"/>
                      </a:lnTo>
                      <a:lnTo>
                        <a:pt x="4496" y="15456"/>
                      </a:lnTo>
                      <a:lnTo>
                        <a:pt x="4804" y="15401"/>
                      </a:lnTo>
                      <a:lnTo>
                        <a:pt x="4989" y="15456"/>
                      </a:lnTo>
                      <a:lnTo>
                        <a:pt x="5051" y="15456"/>
                      </a:lnTo>
                      <a:lnTo>
                        <a:pt x="5174" y="15510"/>
                      </a:lnTo>
                      <a:lnTo>
                        <a:pt x="5359" y="15674"/>
                      </a:lnTo>
                      <a:lnTo>
                        <a:pt x="5667" y="15838"/>
                      </a:lnTo>
                      <a:lnTo>
                        <a:pt x="5851" y="15892"/>
                      </a:lnTo>
                      <a:lnTo>
                        <a:pt x="6036" y="15892"/>
                      </a:lnTo>
                      <a:lnTo>
                        <a:pt x="6098" y="15838"/>
                      </a:lnTo>
                      <a:lnTo>
                        <a:pt x="6159" y="15674"/>
                      </a:lnTo>
                      <a:lnTo>
                        <a:pt x="6529" y="15565"/>
                      </a:lnTo>
                      <a:lnTo>
                        <a:pt x="6837" y="15619"/>
                      </a:lnTo>
                      <a:lnTo>
                        <a:pt x="7145" y="15674"/>
                      </a:lnTo>
                      <a:lnTo>
                        <a:pt x="7330" y="15783"/>
                      </a:lnTo>
                      <a:lnTo>
                        <a:pt x="7453" y="15892"/>
                      </a:lnTo>
                      <a:lnTo>
                        <a:pt x="7638" y="15783"/>
                      </a:lnTo>
                      <a:lnTo>
                        <a:pt x="7822" y="15729"/>
                      </a:lnTo>
                      <a:lnTo>
                        <a:pt x="8069" y="15729"/>
                      </a:lnTo>
                      <a:lnTo>
                        <a:pt x="8130" y="15510"/>
                      </a:lnTo>
                      <a:lnTo>
                        <a:pt x="8438" y="15292"/>
                      </a:lnTo>
                      <a:lnTo>
                        <a:pt x="8808" y="15128"/>
                      </a:lnTo>
                      <a:lnTo>
                        <a:pt x="8931" y="15128"/>
                      </a:lnTo>
                      <a:lnTo>
                        <a:pt x="9054" y="15346"/>
                      </a:lnTo>
                      <a:lnTo>
                        <a:pt x="9116" y="15456"/>
                      </a:lnTo>
                      <a:lnTo>
                        <a:pt x="9178" y="15674"/>
                      </a:lnTo>
                      <a:lnTo>
                        <a:pt x="9362" y="15783"/>
                      </a:lnTo>
                      <a:lnTo>
                        <a:pt x="9732" y="15838"/>
                      </a:lnTo>
                      <a:lnTo>
                        <a:pt x="9978" y="16002"/>
                      </a:lnTo>
                      <a:lnTo>
                        <a:pt x="10163" y="16111"/>
                      </a:lnTo>
                      <a:lnTo>
                        <a:pt x="10286" y="16275"/>
                      </a:lnTo>
                      <a:lnTo>
                        <a:pt x="10348" y="16329"/>
                      </a:lnTo>
                      <a:lnTo>
                        <a:pt x="10348" y="16384"/>
                      </a:lnTo>
                      <a:lnTo>
                        <a:pt x="10656" y="16329"/>
                      </a:lnTo>
                      <a:lnTo>
                        <a:pt x="11272" y="16111"/>
                      </a:lnTo>
                      <a:lnTo>
                        <a:pt x="11333" y="15565"/>
                      </a:lnTo>
                      <a:lnTo>
                        <a:pt x="11333" y="15510"/>
                      </a:lnTo>
                      <a:lnTo>
                        <a:pt x="11580" y="15456"/>
                      </a:lnTo>
                      <a:lnTo>
                        <a:pt x="11641" y="15401"/>
                      </a:lnTo>
                      <a:lnTo>
                        <a:pt x="11580" y="15128"/>
                      </a:lnTo>
                      <a:lnTo>
                        <a:pt x="11518" y="14909"/>
                      </a:lnTo>
                      <a:lnTo>
                        <a:pt x="11456" y="14691"/>
                      </a:lnTo>
                      <a:lnTo>
                        <a:pt x="11456" y="14527"/>
                      </a:lnTo>
                      <a:lnTo>
                        <a:pt x="11641" y="14309"/>
                      </a:lnTo>
                      <a:lnTo>
                        <a:pt x="11641" y="14036"/>
                      </a:lnTo>
                      <a:lnTo>
                        <a:pt x="11703" y="13817"/>
                      </a:lnTo>
                      <a:lnTo>
                        <a:pt x="11826" y="13653"/>
                      </a:lnTo>
                      <a:lnTo>
                        <a:pt x="12011" y="13489"/>
                      </a:lnTo>
                      <a:lnTo>
                        <a:pt x="12134" y="13599"/>
                      </a:lnTo>
                      <a:lnTo>
                        <a:pt x="12380" y="13653"/>
                      </a:lnTo>
                      <a:lnTo>
                        <a:pt x="12504" y="13763"/>
                      </a:lnTo>
                      <a:lnTo>
                        <a:pt x="12504" y="13872"/>
                      </a:lnTo>
                      <a:lnTo>
                        <a:pt x="12442" y="14036"/>
                      </a:lnTo>
                      <a:lnTo>
                        <a:pt x="12504" y="14036"/>
                      </a:lnTo>
                      <a:lnTo>
                        <a:pt x="12565" y="14036"/>
                      </a:lnTo>
                      <a:lnTo>
                        <a:pt x="12688" y="13981"/>
                      </a:lnTo>
                      <a:lnTo>
                        <a:pt x="12750" y="13763"/>
                      </a:lnTo>
                      <a:lnTo>
                        <a:pt x="12812" y="13708"/>
                      </a:lnTo>
                      <a:lnTo>
                        <a:pt x="12996" y="13763"/>
                      </a:lnTo>
                      <a:lnTo>
                        <a:pt x="12935" y="13599"/>
                      </a:lnTo>
                      <a:lnTo>
                        <a:pt x="12935" y="13435"/>
                      </a:lnTo>
                      <a:lnTo>
                        <a:pt x="12750" y="13271"/>
                      </a:lnTo>
                      <a:lnTo>
                        <a:pt x="12688" y="13162"/>
                      </a:lnTo>
                      <a:lnTo>
                        <a:pt x="12935" y="13107"/>
                      </a:lnTo>
                      <a:lnTo>
                        <a:pt x="12996" y="12998"/>
                      </a:lnTo>
                      <a:lnTo>
                        <a:pt x="12935" y="12670"/>
                      </a:lnTo>
                      <a:lnTo>
                        <a:pt x="12935" y="12506"/>
                      </a:lnTo>
                      <a:lnTo>
                        <a:pt x="13058" y="12452"/>
                      </a:lnTo>
                      <a:lnTo>
                        <a:pt x="13058" y="12233"/>
                      </a:lnTo>
                      <a:lnTo>
                        <a:pt x="13181" y="12179"/>
                      </a:lnTo>
                      <a:lnTo>
                        <a:pt x="13489" y="12179"/>
                      </a:lnTo>
                      <a:lnTo>
                        <a:pt x="13551" y="12015"/>
                      </a:lnTo>
                      <a:lnTo>
                        <a:pt x="13551" y="11851"/>
                      </a:lnTo>
                      <a:lnTo>
                        <a:pt x="13797" y="11633"/>
                      </a:lnTo>
                      <a:lnTo>
                        <a:pt x="13859" y="11523"/>
                      </a:lnTo>
                      <a:lnTo>
                        <a:pt x="14043" y="11578"/>
                      </a:lnTo>
                      <a:lnTo>
                        <a:pt x="14167" y="11687"/>
                      </a:lnTo>
                      <a:lnTo>
                        <a:pt x="14228" y="11742"/>
                      </a:lnTo>
                      <a:lnTo>
                        <a:pt x="14475" y="11578"/>
                      </a:lnTo>
                      <a:lnTo>
                        <a:pt x="14721" y="11523"/>
                      </a:lnTo>
                      <a:lnTo>
                        <a:pt x="14906" y="11250"/>
                      </a:lnTo>
                      <a:lnTo>
                        <a:pt x="15029" y="11141"/>
                      </a:lnTo>
                      <a:lnTo>
                        <a:pt x="15091" y="11087"/>
                      </a:lnTo>
                      <a:lnTo>
                        <a:pt x="15337" y="10704"/>
                      </a:lnTo>
                      <a:lnTo>
                        <a:pt x="15460" y="10540"/>
                      </a:lnTo>
                      <a:lnTo>
                        <a:pt x="15706" y="10377"/>
                      </a:lnTo>
                      <a:lnTo>
                        <a:pt x="15830" y="10322"/>
                      </a:lnTo>
                      <a:lnTo>
                        <a:pt x="15891" y="9994"/>
                      </a:lnTo>
                      <a:lnTo>
                        <a:pt x="15953" y="9885"/>
                      </a:lnTo>
                      <a:lnTo>
                        <a:pt x="15953" y="9830"/>
                      </a:lnTo>
                      <a:lnTo>
                        <a:pt x="15830" y="9667"/>
                      </a:lnTo>
                      <a:lnTo>
                        <a:pt x="15891" y="9448"/>
                      </a:lnTo>
                      <a:lnTo>
                        <a:pt x="15891" y="9284"/>
                      </a:lnTo>
                      <a:lnTo>
                        <a:pt x="15953" y="9175"/>
                      </a:lnTo>
                      <a:lnTo>
                        <a:pt x="15891" y="9066"/>
                      </a:lnTo>
                      <a:lnTo>
                        <a:pt x="15891" y="8957"/>
                      </a:lnTo>
                      <a:lnTo>
                        <a:pt x="16014" y="8902"/>
                      </a:lnTo>
                      <a:lnTo>
                        <a:pt x="16014" y="8793"/>
                      </a:lnTo>
                      <a:lnTo>
                        <a:pt x="16076" y="8465"/>
                      </a:lnTo>
                      <a:lnTo>
                        <a:pt x="16014" y="8465"/>
                      </a:lnTo>
                      <a:lnTo>
                        <a:pt x="16014" y="8356"/>
                      </a:lnTo>
                      <a:lnTo>
                        <a:pt x="16076" y="7919"/>
                      </a:lnTo>
                      <a:lnTo>
                        <a:pt x="16138" y="7755"/>
                      </a:lnTo>
                      <a:lnTo>
                        <a:pt x="16199" y="7537"/>
                      </a:lnTo>
                      <a:lnTo>
                        <a:pt x="16261" y="7373"/>
                      </a:lnTo>
                      <a:lnTo>
                        <a:pt x="16322" y="7209"/>
                      </a:lnTo>
                      <a:lnTo>
                        <a:pt x="16322" y="7100"/>
                      </a:lnTo>
                      <a:lnTo>
                        <a:pt x="16199" y="6936"/>
                      </a:lnTo>
                      <a:lnTo>
                        <a:pt x="16199" y="6827"/>
                      </a:lnTo>
                      <a:lnTo>
                        <a:pt x="16199" y="6717"/>
                      </a:lnTo>
                      <a:lnTo>
                        <a:pt x="16199" y="6554"/>
                      </a:lnTo>
                      <a:lnTo>
                        <a:pt x="16138" y="6390"/>
                      </a:lnTo>
                      <a:lnTo>
                        <a:pt x="15891" y="6062"/>
                      </a:lnTo>
                      <a:lnTo>
                        <a:pt x="15891" y="6007"/>
                      </a:lnTo>
                      <a:lnTo>
                        <a:pt x="15891" y="5953"/>
                      </a:lnTo>
                      <a:lnTo>
                        <a:pt x="16014" y="5844"/>
                      </a:lnTo>
                      <a:lnTo>
                        <a:pt x="16261" y="5789"/>
                      </a:lnTo>
                      <a:lnTo>
                        <a:pt x="16384" y="5734"/>
                      </a:lnTo>
                      <a:lnTo>
                        <a:pt x="16261" y="4806"/>
                      </a:lnTo>
                      <a:lnTo>
                        <a:pt x="16199" y="4588"/>
                      </a:lnTo>
                      <a:lnTo>
                        <a:pt x="16014" y="3659"/>
                      </a:lnTo>
                      <a:lnTo>
                        <a:pt x="16014" y="3604"/>
                      </a:lnTo>
                      <a:lnTo>
                        <a:pt x="15706" y="2130"/>
                      </a:lnTo>
                      <a:lnTo>
                        <a:pt x="15706" y="2021"/>
                      </a:lnTo>
                      <a:lnTo>
                        <a:pt x="15398" y="546"/>
                      </a:lnTo>
                      <a:lnTo>
                        <a:pt x="15337" y="0"/>
                      </a:lnTo>
                      <a:lnTo>
                        <a:pt x="14906" y="164"/>
                      </a:lnTo>
                      <a:lnTo>
                        <a:pt x="14598" y="328"/>
                      </a:lnTo>
                      <a:lnTo>
                        <a:pt x="14290" y="492"/>
                      </a:lnTo>
                      <a:lnTo>
                        <a:pt x="13920" y="655"/>
                      </a:lnTo>
                      <a:lnTo>
                        <a:pt x="13674" y="710"/>
                      </a:lnTo>
                      <a:lnTo>
                        <a:pt x="13551" y="765"/>
                      </a:lnTo>
                      <a:lnTo>
                        <a:pt x="13366" y="874"/>
                      </a:lnTo>
                      <a:lnTo>
                        <a:pt x="13181" y="1092"/>
                      </a:lnTo>
                      <a:lnTo>
                        <a:pt x="12750" y="1256"/>
                      </a:lnTo>
                      <a:lnTo>
                        <a:pt x="12565" y="1311"/>
                      </a:lnTo>
                      <a:lnTo>
                        <a:pt x="12504" y="1475"/>
                      </a:lnTo>
                      <a:lnTo>
                        <a:pt x="12134" y="1911"/>
                      </a:lnTo>
                      <a:lnTo>
                        <a:pt x="11888" y="2130"/>
                      </a:lnTo>
                      <a:lnTo>
                        <a:pt x="11518" y="2512"/>
                      </a:lnTo>
                      <a:lnTo>
                        <a:pt x="11272" y="2621"/>
                      </a:lnTo>
                      <a:lnTo>
                        <a:pt x="11149" y="2676"/>
                      </a:lnTo>
                      <a:lnTo>
                        <a:pt x="10841" y="2731"/>
                      </a:lnTo>
                      <a:lnTo>
                        <a:pt x="10779" y="2785"/>
                      </a:lnTo>
                      <a:lnTo>
                        <a:pt x="10471" y="2731"/>
                      </a:lnTo>
                      <a:lnTo>
                        <a:pt x="10101" y="2785"/>
                      </a:lnTo>
                      <a:lnTo>
                        <a:pt x="9670" y="3004"/>
                      </a:lnTo>
                      <a:lnTo>
                        <a:pt x="9301" y="3168"/>
                      </a:lnTo>
                      <a:lnTo>
                        <a:pt x="9116" y="3222"/>
                      </a:lnTo>
                      <a:lnTo>
                        <a:pt x="8993" y="3277"/>
                      </a:lnTo>
                      <a:lnTo>
                        <a:pt x="8685" y="3441"/>
                      </a:lnTo>
                      <a:lnTo>
                        <a:pt x="8562" y="3495"/>
                      </a:lnTo>
                      <a:lnTo>
                        <a:pt x="8069" y="3277"/>
                      </a:lnTo>
                      <a:lnTo>
                        <a:pt x="7884" y="3168"/>
                      </a:lnTo>
                      <a:lnTo>
                        <a:pt x="7822" y="3168"/>
                      </a:lnTo>
                      <a:lnTo>
                        <a:pt x="7699" y="3222"/>
                      </a:lnTo>
                      <a:lnTo>
                        <a:pt x="7638" y="3222"/>
                      </a:lnTo>
                      <a:lnTo>
                        <a:pt x="7514" y="3222"/>
                      </a:lnTo>
                      <a:lnTo>
                        <a:pt x="7330" y="3277"/>
                      </a:lnTo>
                      <a:lnTo>
                        <a:pt x="7206" y="3441"/>
                      </a:lnTo>
                      <a:close/>
                    </a:path>
                  </a:pathLst>
                </a:custGeom>
                <a:solidFill>
                  <a:srgbClr val="FF0000"/>
                </a:solidFill>
                <a:ln w="9525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defTabSz="121917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54" name="Oklahoma">
                  <a:extLst>
                    <a:ext uri="{FF2B5EF4-FFF2-40B4-BE49-F238E27FC236}">
                      <a16:creationId xmlns:a16="http://schemas.microsoft.com/office/drawing/2014/main" id="{E10F1636-17F6-2760-87BA-CC662D8B175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1687175" y="10239375"/>
                  <a:ext cx="5133975" cy="2543175"/>
                </a:xfrm>
                <a:custGeom>
                  <a:avLst/>
                  <a:gdLst>
                    <a:gd name="T0" fmla="*/ 2147483647 w 16384"/>
                    <a:gd name="T1" fmla="*/ 2147483647 h 16384"/>
                    <a:gd name="T2" fmla="*/ 2147483647 w 16384"/>
                    <a:gd name="T3" fmla="*/ 2147483647 h 16384"/>
                    <a:gd name="T4" fmla="*/ 2147483647 w 16384"/>
                    <a:gd name="T5" fmla="*/ 2147483647 h 16384"/>
                    <a:gd name="T6" fmla="*/ 2147483647 w 16384"/>
                    <a:gd name="T7" fmla="*/ 2147483647 h 16384"/>
                    <a:gd name="T8" fmla="*/ 0 w 16384"/>
                    <a:gd name="T9" fmla="*/ 2147483647 h 16384"/>
                    <a:gd name="T10" fmla="*/ 2147483647 w 16384"/>
                    <a:gd name="T11" fmla="*/ 2147483647 h 16384"/>
                    <a:gd name="T12" fmla="*/ 2147483647 w 16384"/>
                    <a:gd name="T13" fmla="*/ 2147483647 h 16384"/>
                    <a:gd name="T14" fmla="*/ 2147483647 w 16384"/>
                    <a:gd name="T15" fmla="*/ 2147483647 h 16384"/>
                    <a:gd name="T16" fmla="*/ 2147483647 w 16384"/>
                    <a:gd name="T17" fmla="*/ 2147483647 h 16384"/>
                    <a:gd name="T18" fmla="*/ 2147483647 w 16384"/>
                    <a:gd name="T19" fmla="*/ 2147483647 h 16384"/>
                    <a:gd name="T20" fmla="*/ 2147483647 w 16384"/>
                    <a:gd name="T21" fmla="*/ 2147483647 h 16384"/>
                    <a:gd name="T22" fmla="*/ 2147483647 w 16384"/>
                    <a:gd name="T23" fmla="*/ 2147483647 h 16384"/>
                    <a:gd name="T24" fmla="*/ 2147483647 w 16384"/>
                    <a:gd name="T25" fmla="*/ 2147483647 h 16384"/>
                    <a:gd name="T26" fmla="*/ 2147483647 w 16384"/>
                    <a:gd name="T27" fmla="*/ 2147483647 h 16384"/>
                    <a:gd name="T28" fmla="*/ 2147483647 w 16384"/>
                    <a:gd name="T29" fmla="*/ 2147483647 h 16384"/>
                    <a:gd name="T30" fmla="*/ 2147483647 w 16384"/>
                    <a:gd name="T31" fmla="*/ 2147483647 h 16384"/>
                    <a:gd name="T32" fmla="*/ 2147483647 w 16384"/>
                    <a:gd name="T33" fmla="*/ 2147483647 h 16384"/>
                    <a:gd name="T34" fmla="*/ 2147483647 w 16384"/>
                    <a:gd name="T35" fmla="*/ 2147483647 h 16384"/>
                    <a:gd name="T36" fmla="*/ 2147483647 w 16384"/>
                    <a:gd name="T37" fmla="*/ 2147483647 h 16384"/>
                    <a:gd name="T38" fmla="*/ 2147483647 w 16384"/>
                    <a:gd name="T39" fmla="*/ 2147483647 h 16384"/>
                    <a:gd name="T40" fmla="*/ 2147483647 w 16384"/>
                    <a:gd name="T41" fmla="*/ 2147483647 h 16384"/>
                    <a:gd name="T42" fmla="*/ 2147483647 w 16384"/>
                    <a:gd name="T43" fmla="*/ 2147483647 h 16384"/>
                    <a:gd name="T44" fmla="*/ 2147483647 w 16384"/>
                    <a:gd name="T45" fmla="*/ 2147483647 h 16384"/>
                    <a:gd name="T46" fmla="*/ 2147483647 w 16384"/>
                    <a:gd name="T47" fmla="*/ 2147483647 h 16384"/>
                    <a:gd name="T48" fmla="*/ 2147483647 w 16384"/>
                    <a:gd name="T49" fmla="*/ 2147483647 h 16384"/>
                    <a:gd name="T50" fmla="*/ 2147483647 w 16384"/>
                    <a:gd name="T51" fmla="*/ 2147483647 h 16384"/>
                    <a:gd name="T52" fmla="*/ 2147483647 w 16384"/>
                    <a:gd name="T53" fmla="*/ 2147483647 h 16384"/>
                    <a:gd name="T54" fmla="*/ 2147483647 w 16384"/>
                    <a:gd name="T55" fmla="*/ 2147483647 h 16384"/>
                    <a:gd name="T56" fmla="*/ 2147483647 w 16384"/>
                    <a:gd name="T57" fmla="*/ 2147483647 h 16384"/>
                    <a:gd name="T58" fmla="*/ 2147483647 w 16384"/>
                    <a:gd name="T59" fmla="*/ 2147483647 h 16384"/>
                    <a:gd name="T60" fmla="*/ 2147483647 w 16384"/>
                    <a:gd name="T61" fmla="*/ 2147483647 h 16384"/>
                    <a:gd name="T62" fmla="*/ 2147483647 w 16384"/>
                    <a:gd name="T63" fmla="*/ 2147483647 h 16384"/>
                    <a:gd name="T64" fmla="*/ 2147483647 w 16384"/>
                    <a:gd name="T65" fmla="*/ 2147483647 h 16384"/>
                    <a:gd name="T66" fmla="*/ 2147483647 w 16384"/>
                    <a:gd name="T67" fmla="*/ 2147483647 h 16384"/>
                    <a:gd name="T68" fmla="*/ 2147483647 w 16384"/>
                    <a:gd name="T69" fmla="*/ 2147483647 h 16384"/>
                    <a:gd name="T70" fmla="*/ 2147483647 w 16384"/>
                    <a:gd name="T71" fmla="*/ 2147483647 h 16384"/>
                    <a:gd name="T72" fmla="*/ 2147483647 w 16384"/>
                    <a:gd name="T73" fmla="*/ 2147483647 h 16384"/>
                    <a:gd name="T74" fmla="*/ 2147483647 w 16384"/>
                    <a:gd name="T75" fmla="*/ 2147483647 h 16384"/>
                    <a:gd name="T76" fmla="*/ 2147483647 w 16384"/>
                    <a:gd name="T77" fmla="*/ 2147483647 h 16384"/>
                    <a:gd name="T78" fmla="*/ 2147483647 w 16384"/>
                    <a:gd name="T79" fmla="*/ 2147483647 h 16384"/>
                    <a:gd name="T80" fmla="*/ 2147483647 w 16384"/>
                    <a:gd name="T81" fmla="*/ 2147483647 h 16384"/>
                    <a:gd name="T82" fmla="*/ 2147483647 w 16384"/>
                    <a:gd name="T83" fmla="*/ 2147483647 h 16384"/>
                    <a:gd name="T84" fmla="*/ 2147483647 w 16384"/>
                    <a:gd name="T85" fmla="*/ 2147483647 h 16384"/>
                    <a:gd name="T86" fmla="*/ 2147483647 w 16384"/>
                    <a:gd name="T87" fmla="*/ 2147483647 h 16384"/>
                    <a:gd name="T88" fmla="*/ 2147483647 w 16384"/>
                    <a:gd name="T89" fmla="*/ 2147483647 h 16384"/>
                    <a:gd name="T90" fmla="*/ 2147483647 w 16384"/>
                    <a:gd name="T91" fmla="*/ 2147483647 h 16384"/>
                    <a:gd name="T92" fmla="*/ 2147483647 w 16384"/>
                    <a:gd name="T93" fmla="*/ 2147483647 h 16384"/>
                    <a:gd name="T94" fmla="*/ 2147483647 w 16384"/>
                    <a:gd name="T95" fmla="*/ 2147483647 h 16384"/>
                    <a:gd name="T96" fmla="*/ 2147483647 w 16384"/>
                    <a:gd name="T97" fmla="*/ 2147483647 h 16384"/>
                    <a:gd name="T98" fmla="*/ 2147483647 w 16384"/>
                    <a:gd name="T99" fmla="*/ 2147483647 h 16384"/>
                    <a:gd name="T100" fmla="*/ 2147483647 w 16384"/>
                    <a:gd name="T101" fmla="*/ 2147483647 h 16384"/>
                    <a:gd name="T102" fmla="*/ 2147483647 w 16384"/>
                    <a:gd name="T103" fmla="*/ 2147483647 h 16384"/>
                    <a:gd name="T104" fmla="*/ 2147483647 w 16384"/>
                    <a:gd name="T105" fmla="*/ 2147483647 h 16384"/>
                    <a:gd name="T106" fmla="*/ 2147483647 w 16384"/>
                    <a:gd name="T107" fmla="*/ 2147483647 h 16384"/>
                    <a:gd name="T108" fmla="*/ 2147483647 w 16384"/>
                    <a:gd name="T109" fmla="*/ 2147483647 h 16384"/>
                    <a:gd name="T110" fmla="*/ 2147483647 w 16384"/>
                    <a:gd name="T111" fmla="*/ 2147483647 h 16384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w 16384"/>
                    <a:gd name="T169" fmla="*/ 0 h 16384"/>
                    <a:gd name="T170" fmla="*/ 16384 w 16384"/>
                    <a:gd name="T171" fmla="*/ 16384 h 16384"/>
                  </a:gdLst>
                  <a:ahLst/>
                  <a:cxnLst>
                    <a:cxn ang="T112">
                      <a:pos x="T0" y="T1"/>
                    </a:cxn>
                    <a:cxn ang="T113">
                      <a:pos x="T2" y="T3"/>
                    </a:cxn>
                    <a:cxn ang="T114">
                      <a:pos x="T4" y="T5"/>
                    </a:cxn>
                    <a:cxn ang="T115">
                      <a:pos x="T6" y="T7"/>
                    </a:cxn>
                    <a:cxn ang="T116">
                      <a:pos x="T8" y="T9"/>
                    </a:cxn>
                    <a:cxn ang="T117">
                      <a:pos x="T10" y="T11"/>
                    </a:cxn>
                    <a:cxn ang="T118">
                      <a:pos x="T12" y="T13"/>
                    </a:cxn>
                    <a:cxn ang="T119">
                      <a:pos x="T14" y="T15"/>
                    </a:cxn>
                    <a:cxn ang="T120">
                      <a:pos x="T16" y="T17"/>
                    </a:cxn>
                    <a:cxn ang="T121">
                      <a:pos x="T18" y="T19"/>
                    </a:cxn>
                    <a:cxn ang="T122">
                      <a:pos x="T20" y="T21"/>
                    </a:cxn>
                    <a:cxn ang="T123">
                      <a:pos x="T22" y="T23"/>
                    </a:cxn>
                    <a:cxn ang="T124">
                      <a:pos x="T24" y="T25"/>
                    </a:cxn>
                    <a:cxn ang="T125">
                      <a:pos x="T26" y="T27"/>
                    </a:cxn>
                    <a:cxn ang="T126">
                      <a:pos x="T28" y="T29"/>
                    </a:cxn>
                    <a:cxn ang="T127">
                      <a:pos x="T30" y="T31"/>
                    </a:cxn>
                    <a:cxn ang="T128">
                      <a:pos x="T32" y="T33"/>
                    </a:cxn>
                    <a:cxn ang="T129">
                      <a:pos x="T34" y="T35"/>
                    </a:cxn>
                    <a:cxn ang="T130">
                      <a:pos x="T36" y="T37"/>
                    </a:cxn>
                    <a:cxn ang="T131">
                      <a:pos x="T38" y="T39"/>
                    </a:cxn>
                    <a:cxn ang="T132">
                      <a:pos x="T40" y="T41"/>
                    </a:cxn>
                    <a:cxn ang="T133">
                      <a:pos x="T42" y="T43"/>
                    </a:cxn>
                    <a:cxn ang="T134">
                      <a:pos x="T44" y="T45"/>
                    </a:cxn>
                    <a:cxn ang="T135">
                      <a:pos x="T46" y="T47"/>
                    </a:cxn>
                    <a:cxn ang="T136">
                      <a:pos x="T48" y="T49"/>
                    </a:cxn>
                    <a:cxn ang="T137">
                      <a:pos x="T50" y="T51"/>
                    </a:cxn>
                    <a:cxn ang="T138">
                      <a:pos x="T52" y="T53"/>
                    </a:cxn>
                    <a:cxn ang="T139">
                      <a:pos x="T54" y="T55"/>
                    </a:cxn>
                    <a:cxn ang="T140">
                      <a:pos x="T56" y="T57"/>
                    </a:cxn>
                    <a:cxn ang="T141">
                      <a:pos x="T58" y="T59"/>
                    </a:cxn>
                    <a:cxn ang="T142">
                      <a:pos x="T60" y="T61"/>
                    </a:cxn>
                    <a:cxn ang="T143">
                      <a:pos x="T62" y="T63"/>
                    </a:cxn>
                    <a:cxn ang="T144">
                      <a:pos x="T64" y="T65"/>
                    </a:cxn>
                    <a:cxn ang="T145">
                      <a:pos x="T66" y="T67"/>
                    </a:cxn>
                    <a:cxn ang="T146">
                      <a:pos x="T68" y="T69"/>
                    </a:cxn>
                    <a:cxn ang="T147">
                      <a:pos x="T70" y="T71"/>
                    </a:cxn>
                    <a:cxn ang="T148">
                      <a:pos x="T72" y="T73"/>
                    </a:cxn>
                    <a:cxn ang="T149">
                      <a:pos x="T74" y="T75"/>
                    </a:cxn>
                    <a:cxn ang="T150">
                      <a:pos x="T76" y="T77"/>
                    </a:cxn>
                    <a:cxn ang="T151">
                      <a:pos x="T78" y="T79"/>
                    </a:cxn>
                    <a:cxn ang="T152">
                      <a:pos x="T80" y="T81"/>
                    </a:cxn>
                    <a:cxn ang="T153">
                      <a:pos x="T82" y="T83"/>
                    </a:cxn>
                    <a:cxn ang="T154">
                      <a:pos x="T84" y="T85"/>
                    </a:cxn>
                    <a:cxn ang="T155">
                      <a:pos x="T86" y="T87"/>
                    </a:cxn>
                    <a:cxn ang="T156">
                      <a:pos x="T88" y="T89"/>
                    </a:cxn>
                    <a:cxn ang="T157">
                      <a:pos x="T90" y="T91"/>
                    </a:cxn>
                    <a:cxn ang="T158">
                      <a:pos x="T92" y="T93"/>
                    </a:cxn>
                    <a:cxn ang="T159">
                      <a:pos x="T94" y="T95"/>
                    </a:cxn>
                    <a:cxn ang="T160">
                      <a:pos x="T96" y="T97"/>
                    </a:cxn>
                    <a:cxn ang="T161">
                      <a:pos x="T98" y="T99"/>
                    </a:cxn>
                    <a:cxn ang="T162">
                      <a:pos x="T100" y="T101"/>
                    </a:cxn>
                    <a:cxn ang="T163">
                      <a:pos x="T102" y="T103"/>
                    </a:cxn>
                    <a:cxn ang="T164">
                      <a:pos x="T104" y="T105"/>
                    </a:cxn>
                    <a:cxn ang="T165">
                      <a:pos x="T106" y="T107"/>
                    </a:cxn>
                    <a:cxn ang="T166">
                      <a:pos x="T108" y="T109"/>
                    </a:cxn>
                    <a:cxn ang="T167">
                      <a:pos x="T110" y="T111"/>
                    </a:cxn>
                  </a:cxnLst>
                  <a:rect l="T168" t="T169" r="T170" b="T171"/>
                  <a:pathLst>
                    <a:path w="16384" h="16384">
                      <a:moveTo>
                        <a:pt x="11953" y="981"/>
                      </a:moveTo>
                      <a:lnTo>
                        <a:pt x="11151" y="981"/>
                      </a:lnTo>
                      <a:lnTo>
                        <a:pt x="10586" y="923"/>
                      </a:lnTo>
                      <a:lnTo>
                        <a:pt x="9931" y="923"/>
                      </a:lnTo>
                      <a:lnTo>
                        <a:pt x="9367" y="865"/>
                      </a:lnTo>
                      <a:lnTo>
                        <a:pt x="8921" y="865"/>
                      </a:lnTo>
                      <a:lnTo>
                        <a:pt x="8534" y="865"/>
                      </a:lnTo>
                      <a:lnTo>
                        <a:pt x="7672" y="750"/>
                      </a:lnTo>
                      <a:lnTo>
                        <a:pt x="6780" y="750"/>
                      </a:lnTo>
                      <a:lnTo>
                        <a:pt x="6631" y="750"/>
                      </a:lnTo>
                      <a:lnTo>
                        <a:pt x="5769" y="635"/>
                      </a:lnTo>
                      <a:lnTo>
                        <a:pt x="5620" y="635"/>
                      </a:lnTo>
                      <a:lnTo>
                        <a:pt x="4609" y="519"/>
                      </a:lnTo>
                      <a:lnTo>
                        <a:pt x="4014" y="462"/>
                      </a:lnTo>
                      <a:lnTo>
                        <a:pt x="3776" y="462"/>
                      </a:lnTo>
                      <a:lnTo>
                        <a:pt x="2855" y="346"/>
                      </a:lnTo>
                      <a:lnTo>
                        <a:pt x="1963" y="231"/>
                      </a:lnTo>
                      <a:lnTo>
                        <a:pt x="1903" y="231"/>
                      </a:lnTo>
                      <a:lnTo>
                        <a:pt x="1784" y="231"/>
                      </a:lnTo>
                      <a:lnTo>
                        <a:pt x="1487" y="231"/>
                      </a:lnTo>
                      <a:lnTo>
                        <a:pt x="1070" y="173"/>
                      </a:lnTo>
                      <a:lnTo>
                        <a:pt x="595" y="115"/>
                      </a:lnTo>
                      <a:lnTo>
                        <a:pt x="327" y="58"/>
                      </a:lnTo>
                      <a:lnTo>
                        <a:pt x="89" y="0"/>
                      </a:lnTo>
                      <a:lnTo>
                        <a:pt x="0" y="2365"/>
                      </a:lnTo>
                      <a:lnTo>
                        <a:pt x="1635" y="2538"/>
                      </a:lnTo>
                      <a:lnTo>
                        <a:pt x="1903" y="2596"/>
                      </a:lnTo>
                      <a:lnTo>
                        <a:pt x="2646" y="2711"/>
                      </a:lnTo>
                      <a:lnTo>
                        <a:pt x="3687" y="2827"/>
                      </a:lnTo>
                      <a:lnTo>
                        <a:pt x="3955" y="2827"/>
                      </a:lnTo>
                      <a:lnTo>
                        <a:pt x="4698" y="2885"/>
                      </a:lnTo>
                      <a:lnTo>
                        <a:pt x="5739" y="3000"/>
                      </a:lnTo>
                      <a:lnTo>
                        <a:pt x="5679" y="5077"/>
                      </a:lnTo>
                      <a:lnTo>
                        <a:pt x="5650" y="5827"/>
                      </a:lnTo>
                      <a:lnTo>
                        <a:pt x="5620" y="7038"/>
                      </a:lnTo>
                      <a:lnTo>
                        <a:pt x="5620" y="7961"/>
                      </a:lnTo>
                      <a:lnTo>
                        <a:pt x="5590" y="9057"/>
                      </a:lnTo>
                      <a:lnTo>
                        <a:pt x="5560" y="9750"/>
                      </a:lnTo>
                      <a:lnTo>
                        <a:pt x="5560" y="11077"/>
                      </a:lnTo>
                      <a:lnTo>
                        <a:pt x="5531" y="11942"/>
                      </a:lnTo>
                      <a:lnTo>
                        <a:pt x="5560" y="11884"/>
                      </a:lnTo>
                      <a:lnTo>
                        <a:pt x="5650" y="11884"/>
                      </a:lnTo>
                      <a:lnTo>
                        <a:pt x="5679" y="11942"/>
                      </a:lnTo>
                      <a:lnTo>
                        <a:pt x="5739" y="12000"/>
                      </a:lnTo>
                      <a:lnTo>
                        <a:pt x="5828" y="12173"/>
                      </a:lnTo>
                      <a:lnTo>
                        <a:pt x="5888" y="12173"/>
                      </a:lnTo>
                      <a:lnTo>
                        <a:pt x="5888" y="12346"/>
                      </a:lnTo>
                      <a:lnTo>
                        <a:pt x="5977" y="12576"/>
                      </a:lnTo>
                      <a:lnTo>
                        <a:pt x="6066" y="12750"/>
                      </a:lnTo>
                      <a:lnTo>
                        <a:pt x="6125" y="12807"/>
                      </a:lnTo>
                      <a:lnTo>
                        <a:pt x="6185" y="12807"/>
                      </a:lnTo>
                      <a:lnTo>
                        <a:pt x="6274" y="12865"/>
                      </a:lnTo>
                      <a:lnTo>
                        <a:pt x="6304" y="12865"/>
                      </a:lnTo>
                      <a:lnTo>
                        <a:pt x="6363" y="12692"/>
                      </a:lnTo>
                      <a:lnTo>
                        <a:pt x="6393" y="12692"/>
                      </a:lnTo>
                      <a:lnTo>
                        <a:pt x="6482" y="12692"/>
                      </a:lnTo>
                      <a:lnTo>
                        <a:pt x="6542" y="12692"/>
                      </a:lnTo>
                      <a:lnTo>
                        <a:pt x="6631" y="12865"/>
                      </a:lnTo>
                      <a:lnTo>
                        <a:pt x="6661" y="12865"/>
                      </a:lnTo>
                      <a:lnTo>
                        <a:pt x="6720" y="12750"/>
                      </a:lnTo>
                      <a:lnTo>
                        <a:pt x="6720" y="12576"/>
                      </a:lnTo>
                      <a:lnTo>
                        <a:pt x="6750" y="12519"/>
                      </a:lnTo>
                      <a:lnTo>
                        <a:pt x="6780" y="12519"/>
                      </a:lnTo>
                      <a:lnTo>
                        <a:pt x="6839" y="12576"/>
                      </a:lnTo>
                      <a:lnTo>
                        <a:pt x="6869" y="12692"/>
                      </a:lnTo>
                      <a:lnTo>
                        <a:pt x="6899" y="12750"/>
                      </a:lnTo>
                      <a:lnTo>
                        <a:pt x="6958" y="12807"/>
                      </a:lnTo>
                      <a:lnTo>
                        <a:pt x="7017" y="12923"/>
                      </a:lnTo>
                      <a:lnTo>
                        <a:pt x="7047" y="13038"/>
                      </a:lnTo>
                      <a:lnTo>
                        <a:pt x="7107" y="13038"/>
                      </a:lnTo>
                      <a:lnTo>
                        <a:pt x="7107" y="13211"/>
                      </a:lnTo>
                      <a:lnTo>
                        <a:pt x="7077" y="13499"/>
                      </a:lnTo>
                      <a:lnTo>
                        <a:pt x="7077" y="13615"/>
                      </a:lnTo>
                      <a:lnTo>
                        <a:pt x="7136" y="13673"/>
                      </a:lnTo>
                      <a:lnTo>
                        <a:pt x="7285" y="13730"/>
                      </a:lnTo>
                      <a:lnTo>
                        <a:pt x="7374" y="13730"/>
                      </a:lnTo>
                      <a:lnTo>
                        <a:pt x="7434" y="13673"/>
                      </a:lnTo>
                      <a:lnTo>
                        <a:pt x="7493" y="13673"/>
                      </a:lnTo>
                      <a:lnTo>
                        <a:pt x="7553" y="13730"/>
                      </a:lnTo>
                      <a:lnTo>
                        <a:pt x="7612" y="13846"/>
                      </a:lnTo>
                      <a:lnTo>
                        <a:pt x="7701" y="13903"/>
                      </a:lnTo>
                      <a:lnTo>
                        <a:pt x="7761" y="13961"/>
                      </a:lnTo>
                      <a:lnTo>
                        <a:pt x="7850" y="13961"/>
                      </a:lnTo>
                      <a:lnTo>
                        <a:pt x="7910" y="14019"/>
                      </a:lnTo>
                      <a:lnTo>
                        <a:pt x="7939" y="14076"/>
                      </a:lnTo>
                      <a:lnTo>
                        <a:pt x="7999" y="14076"/>
                      </a:lnTo>
                      <a:lnTo>
                        <a:pt x="8058" y="14019"/>
                      </a:lnTo>
                      <a:lnTo>
                        <a:pt x="8118" y="13961"/>
                      </a:lnTo>
                      <a:lnTo>
                        <a:pt x="8177" y="13961"/>
                      </a:lnTo>
                      <a:lnTo>
                        <a:pt x="8237" y="13903"/>
                      </a:lnTo>
                      <a:lnTo>
                        <a:pt x="8296" y="14019"/>
                      </a:lnTo>
                      <a:lnTo>
                        <a:pt x="8326" y="14076"/>
                      </a:lnTo>
                      <a:lnTo>
                        <a:pt x="8356" y="14249"/>
                      </a:lnTo>
                      <a:lnTo>
                        <a:pt x="8415" y="14365"/>
                      </a:lnTo>
                      <a:lnTo>
                        <a:pt x="8445" y="14423"/>
                      </a:lnTo>
                      <a:lnTo>
                        <a:pt x="8534" y="14423"/>
                      </a:lnTo>
                      <a:lnTo>
                        <a:pt x="8593" y="14365"/>
                      </a:lnTo>
                      <a:lnTo>
                        <a:pt x="8623" y="14365"/>
                      </a:lnTo>
                      <a:lnTo>
                        <a:pt x="8653" y="14076"/>
                      </a:lnTo>
                      <a:lnTo>
                        <a:pt x="8683" y="14019"/>
                      </a:lnTo>
                      <a:lnTo>
                        <a:pt x="8742" y="14019"/>
                      </a:lnTo>
                      <a:lnTo>
                        <a:pt x="8772" y="14019"/>
                      </a:lnTo>
                      <a:lnTo>
                        <a:pt x="8861" y="14134"/>
                      </a:lnTo>
                      <a:lnTo>
                        <a:pt x="9010" y="14192"/>
                      </a:lnTo>
                      <a:lnTo>
                        <a:pt x="9069" y="14192"/>
                      </a:lnTo>
                      <a:lnTo>
                        <a:pt x="9099" y="14134"/>
                      </a:lnTo>
                      <a:lnTo>
                        <a:pt x="9158" y="14076"/>
                      </a:lnTo>
                      <a:lnTo>
                        <a:pt x="9188" y="14076"/>
                      </a:lnTo>
                      <a:lnTo>
                        <a:pt x="9248" y="14134"/>
                      </a:lnTo>
                      <a:lnTo>
                        <a:pt x="9248" y="14249"/>
                      </a:lnTo>
                      <a:lnTo>
                        <a:pt x="9218" y="14365"/>
                      </a:lnTo>
                      <a:lnTo>
                        <a:pt x="9218" y="14596"/>
                      </a:lnTo>
                      <a:lnTo>
                        <a:pt x="9277" y="14711"/>
                      </a:lnTo>
                      <a:lnTo>
                        <a:pt x="9337" y="14769"/>
                      </a:lnTo>
                      <a:lnTo>
                        <a:pt x="9426" y="14711"/>
                      </a:lnTo>
                      <a:lnTo>
                        <a:pt x="9485" y="14826"/>
                      </a:lnTo>
                      <a:lnTo>
                        <a:pt x="9515" y="14884"/>
                      </a:lnTo>
                      <a:lnTo>
                        <a:pt x="9485" y="14999"/>
                      </a:lnTo>
                      <a:lnTo>
                        <a:pt x="9456" y="15173"/>
                      </a:lnTo>
                      <a:lnTo>
                        <a:pt x="9485" y="15346"/>
                      </a:lnTo>
                      <a:lnTo>
                        <a:pt x="9604" y="15461"/>
                      </a:lnTo>
                      <a:lnTo>
                        <a:pt x="9634" y="15519"/>
                      </a:lnTo>
                      <a:lnTo>
                        <a:pt x="9694" y="15519"/>
                      </a:lnTo>
                      <a:lnTo>
                        <a:pt x="9723" y="15461"/>
                      </a:lnTo>
                      <a:lnTo>
                        <a:pt x="9783" y="15288"/>
                      </a:lnTo>
                      <a:lnTo>
                        <a:pt x="9842" y="15115"/>
                      </a:lnTo>
                      <a:lnTo>
                        <a:pt x="9872" y="15057"/>
                      </a:lnTo>
                      <a:lnTo>
                        <a:pt x="9931" y="14999"/>
                      </a:lnTo>
                      <a:lnTo>
                        <a:pt x="9961" y="14884"/>
                      </a:lnTo>
                      <a:lnTo>
                        <a:pt x="10021" y="14826"/>
                      </a:lnTo>
                      <a:lnTo>
                        <a:pt x="10080" y="14884"/>
                      </a:lnTo>
                      <a:lnTo>
                        <a:pt x="10169" y="14942"/>
                      </a:lnTo>
                      <a:lnTo>
                        <a:pt x="10199" y="15057"/>
                      </a:lnTo>
                      <a:lnTo>
                        <a:pt x="10229" y="15230"/>
                      </a:lnTo>
                      <a:lnTo>
                        <a:pt x="10259" y="15288"/>
                      </a:lnTo>
                      <a:lnTo>
                        <a:pt x="10318" y="15173"/>
                      </a:lnTo>
                      <a:lnTo>
                        <a:pt x="10348" y="15230"/>
                      </a:lnTo>
                      <a:lnTo>
                        <a:pt x="10407" y="15230"/>
                      </a:lnTo>
                      <a:lnTo>
                        <a:pt x="10467" y="15346"/>
                      </a:lnTo>
                      <a:lnTo>
                        <a:pt x="10467" y="15576"/>
                      </a:lnTo>
                      <a:lnTo>
                        <a:pt x="10526" y="15692"/>
                      </a:lnTo>
                      <a:lnTo>
                        <a:pt x="10615" y="15749"/>
                      </a:lnTo>
                      <a:lnTo>
                        <a:pt x="10734" y="15461"/>
                      </a:lnTo>
                      <a:lnTo>
                        <a:pt x="10794" y="15461"/>
                      </a:lnTo>
                      <a:lnTo>
                        <a:pt x="10824" y="15461"/>
                      </a:lnTo>
                      <a:lnTo>
                        <a:pt x="10883" y="15288"/>
                      </a:lnTo>
                      <a:lnTo>
                        <a:pt x="10913" y="15230"/>
                      </a:lnTo>
                      <a:lnTo>
                        <a:pt x="10972" y="15288"/>
                      </a:lnTo>
                      <a:lnTo>
                        <a:pt x="11032" y="15403"/>
                      </a:lnTo>
                      <a:lnTo>
                        <a:pt x="11032" y="15519"/>
                      </a:lnTo>
                      <a:lnTo>
                        <a:pt x="11002" y="15692"/>
                      </a:lnTo>
                      <a:lnTo>
                        <a:pt x="10942" y="15807"/>
                      </a:lnTo>
                      <a:lnTo>
                        <a:pt x="10972" y="15980"/>
                      </a:lnTo>
                      <a:lnTo>
                        <a:pt x="11032" y="16153"/>
                      </a:lnTo>
                      <a:lnTo>
                        <a:pt x="11091" y="16153"/>
                      </a:lnTo>
                      <a:lnTo>
                        <a:pt x="11151" y="16096"/>
                      </a:lnTo>
                      <a:lnTo>
                        <a:pt x="11180" y="15980"/>
                      </a:lnTo>
                      <a:lnTo>
                        <a:pt x="11180" y="15749"/>
                      </a:lnTo>
                      <a:lnTo>
                        <a:pt x="11210" y="15692"/>
                      </a:lnTo>
                      <a:lnTo>
                        <a:pt x="11151" y="15634"/>
                      </a:lnTo>
                      <a:lnTo>
                        <a:pt x="11180" y="15519"/>
                      </a:lnTo>
                      <a:lnTo>
                        <a:pt x="11210" y="15519"/>
                      </a:lnTo>
                      <a:lnTo>
                        <a:pt x="11270" y="15576"/>
                      </a:lnTo>
                      <a:lnTo>
                        <a:pt x="11299" y="15634"/>
                      </a:lnTo>
                      <a:lnTo>
                        <a:pt x="11418" y="15403"/>
                      </a:lnTo>
                      <a:lnTo>
                        <a:pt x="11389" y="15057"/>
                      </a:lnTo>
                      <a:lnTo>
                        <a:pt x="11478" y="15057"/>
                      </a:lnTo>
                      <a:lnTo>
                        <a:pt x="11537" y="14999"/>
                      </a:lnTo>
                      <a:lnTo>
                        <a:pt x="11597" y="15115"/>
                      </a:lnTo>
                      <a:lnTo>
                        <a:pt x="11626" y="15519"/>
                      </a:lnTo>
                      <a:lnTo>
                        <a:pt x="11656" y="15576"/>
                      </a:lnTo>
                      <a:lnTo>
                        <a:pt x="11686" y="15519"/>
                      </a:lnTo>
                      <a:lnTo>
                        <a:pt x="11775" y="15519"/>
                      </a:lnTo>
                      <a:lnTo>
                        <a:pt x="11835" y="15634"/>
                      </a:lnTo>
                      <a:lnTo>
                        <a:pt x="11894" y="15692"/>
                      </a:lnTo>
                      <a:lnTo>
                        <a:pt x="11924" y="15634"/>
                      </a:lnTo>
                      <a:lnTo>
                        <a:pt x="11983" y="15403"/>
                      </a:lnTo>
                      <a:lnTo>
                        <a:pt x="12043" y="15230"/>
                      </a:lnTo>
                      <a:lnTo>
                        <a:pt x="12102" y="15288"/>
                      </a:lnTo>
                      <a:lnTo>
                        <a:pt x="12102" y="15403"/>
                      </a:lnTo>
                      <a:lnTo>
                        <a:pt x="12132" y="15403"/>
                      </a:lnTo>
                      <a:lnTo>
                        <a:pt x="12191" y="15346"/>
                      </a:lnTo>
                      <a:lnTo>
                        <a:pt x="12191" y="15461"/>
                      </a:lnTo>
                      <a:lnTo>
                        <a:pt x="12132" y="15519"/>
                      </a:lnTo>
                      <a:lnTo>
                        <a:pt x="12102" y="15576"/>
                      </a:lnTo>
                      <a:lnTo>
                        <a:pt x="12132" y="15692"/>
                      </a:lnTo>
                      <a:lnTo>
                        <a:pt x="12281" y="15749"/>
                      </a:lnTo>
                      <a:lnTo>
                        <a:pt x="12310" y="15865"/>
                      </a:lnTo>
                      <a:lnTo>
                        <a:pt x="12340" y="15922"/>
                      </a:lnTo>
                      <a:lnTo>
                        <a:pt x="12400" y="15980"/>
                      </a:lnTo>
                      <a:lnTo>
                        <a:pt x="12459" y="15922"/>
                      </a:lnTo>
                      <a:lnTo>
                        <a:pt x="12518" y="16038"/>
                      </a:lnTo>
                      <a:lnTo>
                        <a:pt x="12578" y="16153"/>
                      </a:lnTo>
                      <a:lnTo>
                        <a:pt x="12637" y="16269"/>
                      </a:lnTo>
                      <a:lnTo>
                        <a:pt x="12697" y="16269"/>
                      </a:lnTo>
                      <a:lnTo>
                        <a:pt x="12727" y="16038"/>
                      </a:lnTo>
                      <a:lnTo>
                        <a:pt x="12786" y="16038"/>
                      </a:lnTo>
                      <a:lnTo>
                        <a:pt x="12846" y="15980"/>
                      </a:lnTo>
                      <a:lnTo>
                        <a:pt x="12875" y="16038"/>
                      </a:lnTo>
                      <a:lnTo>
                        <a:pt x="12935" y="16038"/>
                      </a:lnTo>
                      <a:lnTo>
                        <a:pt x="12994" y="15922"/>
                      </a:lnTo>
                      <a:lnTo>
                        <a:pt x="13054" y="15692"/>
                      </a:lnTo>
                      <a:lnTo>
                        <a:pt x="13143" y="15634"/>
                      </a:lnTo>
                      <a:lnTo>
                        <a:pt x="13232" y="15519"/>
                      </a:lnTo>
                      <a:lnTo>
                        <a:pt x="13351" y="15576"/>
                      </a:lnTo>
                      <a:lnTo>
                        <a:pt x="13381" y="15634"/>
                      </a:lnTo>
                      <a:lnTo>
                        <a:pt x="13440" y="15461"/>
                      </a:lnTo>
                      <a:lnTo>
                        <a:pt x="13500" y="15461"/>
                      </a:lnTo>
                      <a:lnTo>
                        <a:pt x="13619" y="15461"/>
                      </a:lnTo>
                      <a:lnTo>
                        <a:pt x="13708" y="15461"/>
                      </a:lnTo>
                      <a:lnTo>
                        <a:pt x="13767" y="15461"/>
                      </a:lnTo>
                      <a:lnTo>
                        <a:pt x="13767" y="15346"/>
                      </a:lnTo>
                      <a:lnTo>
                        <a:pt x="13797" y="15288"/>
                      </a:lnTo>
                      <a:lnTo>
                        <a:pt x="13857" y="15288"/>
                      </a:lnTo>
                      <a:lnTo>
                        <a:pt x="13886" y="15230"/>
                      </a:lnTo>
                      <a:lnTo>
                        <a:pt x="13946" y="15288"/>
                      </a:lnTo>
                      <a:lnTo>
                        <a:pt x="14005" y="15173"/>
                      </a:lnTo>
                      <a:lnTo>
                        <a:pt x="14094" y="15057"/>
                      </a:lnTo>
                      <a:lnTo>
                        <a:pt x="14184" y="15057"/>
                      </a:lnTo>
                      <a:lnTo>
                        <a:pt x="14213" y="15057"/>
                      </a:lnTo>
                      <a:lnTo>
                        <a:pt x="14243" y="15288"/>
                      </a:lnTo>
                      <a:lnTo>
                        <a:pt x="14273" y="15346"/>
                      </a:lnTo>
                      <a:lnTo>
                        <a:pt x="14362" y="15346"/>
                      </a:lnTo>
                      <a:lnTo>
                        <a:pt x="14481" y="15346"/>
                      </a:lnTo>
                      <a:lnTo>
                        <a:pt x="14540" y="15403"/>
                      </a:lnTo>
                      <a:lnTo>
                        <a:pt x="14600" y="15346"/>
                      </a:lnTo>
                      <a:lnTo>
                        <a:pt x="14689" y="15288"/>
                      </a:lnTo>
                      <a:lnTo>
                        <a:pt x="14719" y="15288"/>
                      </a:lnTo>
                      <a:lnTo>
                        <a:pt x="14778" y="15230"/>
                      </a:lnTo>
                      <a:lnTo>
                        <a:pt x="14808" y="15057"/>
                      </a:lnTo>
                      <a:lnTo>
                        <a:pt x="14838" y="14942"/>
                      </a:lnTo>
                      <a:lnTo>
                        <a:pt x="15016" y="14999"/>
                      </a:lnTo>
                      <a:lnTo>
                        <a:pt x="15046" y="15057"/>
                      </a:lnTo>
                      <a:lnTo>
                        <a:pt x="15105" y="15115"/>
                      </a:lnTo>
                      <a:lnTo>
                        <a:pt x="15135" y="15230"/>
                      </a:lnTo>
                      <a:lnTo>
                        <a:pt x="15195" y="15346"/>
                      </a:lnTo>
                      <a:lnTo>
                        <a:pt x="15284" y="15403"/>
                      </a:lnTo>
                      <a:lnTo>
                        <a:pt x="15343" y="15346"/>
                      </a:lnTo>
                      <a:lnTo>
                        <a:pt x="15403" y="15403"/>
                      </a:lnTo>
                      <a:lnTo>
                        <a:pt x="15403" y="15576"/>
                      </a:lnTo>
                      <a:lnTo>
                        <a:pt x="15522" y="15807"/>
                      </a:lnTo>
                      <a:lnTo>
                        <a:pt x="15611" y="15922"/>
                      </a:lnTo>
                      <a:lnTo>
                        <a:pt x="15670" y="15865"/>
                      </a:lnTo>
                      <a:lnTo>
                        <a:pt x="15730" y="15865"/>
                      </a:lnTo>
                      <a:lnTo>
                        <a:pt x="15760" y="15980"/>
                      </a:lnTo>
                      <a:lnTo>
                        <a:pt x="15819" y="16038"/>
                      </a:lnTo>
                      <a:lnTo>
                        <a:pt x="15849" y="16096"/>
                      </a:lnTo>
                      <a:lnTo>
                        <a:pt x="15879" y="16096"/>
                      </a:lnTo>
                      <a:lnTo>
                        <a:pt x="15908" y="16153"/>
                      </a:lnTo>
                      <a:lnTo>
                        <a:pt x="15968" y="16096"/>
                      </a:lnTo>
                      <a:lnTo>
                        <a:pt x="15997" y="16153"/>
                      </a:lnTo>
                      <a:lnTo>
                        <a:pt x="15997" y="16211"/>
                      </a:lnTo>
                      <a:lnTo>
                        <a:pt x="16027" y="16211"/>
                      </a:lnTo>
                      <a:lnTo>
                        <a:pt x="16087" y="16211"/>
                      </a:lnTo>
                      <a:lnTo>
                        <a:pt x="16176" y="16269"/>
                      </a:lnTo>
                      <a:lnTo>
                        <a:pt x="16206" y="16384"/>
                      </a:lnTo>
                      <a:lnTo>
                        <a:pt x="16325" y="16384"/>
                      </a:lnTo>
                      <a:lnTo>
                        <a:pt x="16325" y="16326"/>
                      </a:lnTo>
                      <a:lnTo>
                        <a:pt x="16325" y="14999"/>
                      </a:lnTo>
                      <a:lnTo>
                        <a:pt x="16325" y="13846"/>
                      </a:lnTo>
                      <a:lnTo>
                        <a:pt x="16325" y="12403"/>
                      </a:lnTo>
                      <a:lnTo>
                        <a:pt x="16354" y="11365"/>
                      </a:lnTo>
                      <a:lnTo>
                        <a:pt x="16354" y="10269"/>
                      </a:lnTo>
                      <a:lnTo>
                        <a:pt x="16384" y="8365"/>
                      </a:lnTo>
                      <a:lnTo>
                        <a:pt x="16354" y="8134"/>
                      </a:lnTo>
                      <a:lnTo>
                        <a:pt x="16295" y="7154"/>
                      </a:lnTo>
                      <a:lnTo>
                        <a:pt x="16265" y="6692"/>
                      </a:lnTo>
                      <a:lnTo>
                        <a:pt x="16116" y="5077"/>
                      </a:lnTo>
                      <a:lnTo>
                        <a:pt x="16087" y="4731"/>
                      </a:lnTo>
                      <a:lnTo>
                        <a:pt x="15997" y="3231"/>
                      </a:lnTo>
                      <a:lnTo>
                        <a:pt x="15968" y="2423"/>
                      </a:lnTo>
                      <a:lnTo>
                        <a:pt x="15968" y="1961"/>
                      </a:lnTo>
                      <a:lnTo>
                        <a:pt x="15968" y="865"/>
                      </a:lnTo>
                      <a:lnTo>
                        <a:pt x="15254" y="923"/>
                      </a:lnTo>
                      <a:lnTo>
                        <a:pt x="15105" y="923"/>
                      </a:lnTo>
                      <a:lnTo>
                        <a:pt x="14451" y="923"/>
                      </a:lnTo>
                      <a:lnTo>
                        <a:pt x="14273" y="923"/>
                      </a:lnTo>
                      <a:lnTo>
                        <a:pt x="13738" y="923"/>
                      </a:lnTo>
                      <a:lnTo>
                        <a:pt x="13410" y="923"/>
                      </a:lnTo>
                      <a:lnTo>
                        <a:pt x="13351" y="923"/>
                      </a:lnTo>
                      <a:lnTo>
                        <a:pt x="12370" y="981"/>
                      </a:lnTo>
                      <a:lnTo>
                        <a:pt x="11953" y="981"/>
                      </a:lnTo>
                      <a:close/>
                    </a:path>
                  </a:pathLst>
                </a:custGeom>
                <a:solidFill>
                  <a:srgbClr val="00B050"/>
                </a:solidFill>
                <a:ln w="9525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defTabSz="121917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55" name="Oregon">
                  <a:extLst>
                    <a:ext uri="{FF2B5EF4-FFF2-40B4-BE49-F238E27FC236}">
                      <a16:creationId xmlns:a16="http://schemas.microsoft.com/office/drawing/2014/main" id="{18569D40-8147-B177-99FA-3634277D4C4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19100" y="1695450"/>
                  <a:ext cx="4781550" cy="3838575"/>
                </a:xfrm>
                <a:custGeom>
                  <a:avLst/>
                  <a:gdLst>
                    <a:gd name="T0" fmla="*/ 2147483647 w 16384"/>
                    <a:gd name="T1" fmla="*/ 2147483647 h 16384"/>
                    <a:gd name="T2" fmla="*/ 2147483647 w 16384"/>
                    <a:gd name="T3" fmla="*/ 2147483647 h 16384"/>
                    <a:gd name="T4" fmla="*/ 2147483647 w 16384"/>
                    <a:gd name="T5" fmla="*/ 2147483647 h 16384"/>
                    <a:gd name="T6" fmla="*/ 2147483647 w 16384"/>
                    <a:gd name="T7" fmla="*/ 2147483647 h 16384"/>
                    <a:gd name="T8" fmla="*/ 2147483647 w 16384"/>
                    <a:gd name="T9" fmla="*/ 2147483647 h 16384"/>
                    <a:gd name="T10" fmla="*/ 2147483647 w 16384"/>
                    <a:gd name="T11" fmla="*/ 2147483647 h 16384"/>
                    <a:gd name="T12" fmla="*/ 2147483647 w 16384"/>
                    <a:gd name="T13" fmla="*/ 2147483647 h 16384"/>
                    <a:gd name="T14" fmla="*/ 2147483647 w 16384"/>
                    <a:gd name="T15" fmla="*/ 2147483647 h 16384"/>
                    <a:gd name="T16" fmla="*/ 2147483647 w 16384"/>
                    <a:gd name="T17" fmla="*/ 2147483647 h 16384"/>
                    <a:gd name="T18" fmla="*/ 2147483647 w 16384"/>
                    <a:gd name="T19" fmla="*/ 2147483647 h 16384"/>
                    <a:gd name="T20" fmla="*/ 2147483647 w 16384"/>
                    <a:gd name="T21" fmla="*/ 2147483647 h 16384"/>
                    <a:gd name="T22" fmla="*/ 2147483647 w 16384"/>
                    <a:gd name="T23" fmla="*/ 2147483647 h 16384"/>
                    <a:gd name="T24" fmla="*/ 2147483647 w 16384"/>
                    <a:gd name="T25" fmla="*/ 2147483647 h 16384"/>
                    <a:gd name="T26" fmla="*/ 2147483647 w 16384"/>
                    <a:gd name="T27" fmla="*/ 2147483647 h 16384"/>
                    <a:gd name="T28" fmla="*/ 2147483647 w 16384"/>
                    <a:gd name="T29" fmla="*/ 2147483647 h 16384"/>
                    <a:gd name="T30" fmla="*/ 2147483647 w 16384"/>
                    <a:gd name="T31" fmla="*/ 2147483647 h 16384"/>
                    <a:gd name="T32" fmla="*/ 2147483647 w 16384"/>
                    <a:gd name="T33" fmla="*/ 2147483647 h 16384"/>
                    <a:gd name="T34" fmla="*/ 2147483647 w 16384"/>
                    <a:gd name="T35" fmla="*/ 2147483647 h 16384"/>
                    <a:gd name="T36" fmla="*/ 2147483647 w 16384"/>
                    <a:gd name="T37" fmla="*/ 2147483647 h 16384"/>
                    <a:gd name="T38" fmla="*/ 2147483647 w 16384"/>
                    <a:gd name="T39" fmla="*/ 2147483647 h 16384"/>
                    <a:gd name="T40" fmla="*/ 2147483647 w 16384"/>
                    <a:gd name="T41" fmla="*/ 2147483647 h 16384"/>
                    <a:gd name="T42" fmla="*/ 2147483647 w 16384"/>
                    <a:gd name="T43" fmla="*/ 2147483647 h 16384"/>
                    <a:gd name="T44" fmla="*/ 2147483647 w 16384"/>
                    <a:gd name="T45" fmla="*/ 2147483647 h 16384"/>
                    <a:gd name="T46" fmla="*/ 2147483647 w 16384"/>
                    <a:gd name="T47" fmla="*/ 2147483647 h 16384"/>
                    <a:gd name="T48" fmla="*/ 2147483647 w 16384"/>
                    <a:gd name="T49" fmla="*/ 2147483647 h 16384"/>
                    <a:gd name="T50" fmla="*/ 2147483647 w 16384"/>
                    <a:gd name="T51" fmla="*/ 2147483647 h 16384"/>
                    <a:gd name="T52" fmla="*/ 2147483647 w 16384"/>
                    <a:gd name="T53" fmla="*/ 2147483647 h 16384"/>
                    <a:gd name="T54" fmla="*/ 2147483647 w 16384"/>
                    <a:gd name="T55" fmla="*/ 2147483647 h 16384"/>
                    <a:gd name="T56" fmla="*/ 2147483647 w 16384"/>
                    <a:gd name="T57" fmla="*/ 2147483647 h 16384"/>
                    <a:gd name="T58" fmla="*/ 2147483647 w 16384"/>
                    <a:gd name="T59" fmla="*/ 2147483647 h 16384"/>
                    <a:gd name="T60" fmla="*/ 2147483647 w 16384"/>
                    <a:gd name="T61" fmla="*/ 2147483647 h 16384"/>
                    <a:gd name="T62" fmla="*/ 2147483647 w 16384"/>
                    <a:gd name="T63" fmla="*/ 2147483647 h 16384"/>
                    <a:gd name="T64" fmla="*/ 2147483647 w 16384"/>
                    <a:gd name="T65" fmla="*/ 2147483647 h 16384"/>
                    <a:gd name="T66" fmla="*/ 2147483647 w 16384"/>
                    <a:gd name="T67" fmla="*/ 2147483647 h 16384"/>
                    <a:gd name="T68" fmla="*/ 2147483647 w 16384"/>
                    <a:gd name="T69" fmla="*/ 2147483647 h 16384"/>
                    <a:gd name="T70" fmla="*/ 2147483647 w 16384"/>
                    <a:gd name="T71" fmla="*/ 2147483647 h 16384"/>
                    <a:gd name="T72" fmla="*/ 2147483647 w 16384"/>
                    <a:gd name="T73" fmla="*/ 2147483647 h 16384"/>
                    <a:gd name="T74" fmla="*/ 2147483647 w 16384"/>
                    <a:gd name="T75" fmla="*/ 2147483647 h 16384"/>
                    <a:gd name="T76" fmla="*/ 2147483647 w 16384"/>
                    <a:gd name="T77" fmla="*/ 2147483647 h 16384"/>
                    <a:gd name="T78" fmla="*/ 2147483647 w 16384"/>
                    <a:gd name="T79" fmla="*/ 2147483647 h 16384"/>
                    <a:gd name="T80" fmla="*/ 2147483647 w 16384"/>
                    <a:gd name="T81" fmla="*/ 2147483647 h 16384"/>
                    <a:gd name="T82" fmla="*/ 2147483647 w 16384"/>
                    <a:gd name="T83" fmla="*/ 2147483647 h 16384"/>
                    <a:gd name="T84" fmla="*/ 2147483647 w 16384"/>
                    <a:gd name="T85" fmla="*/ 2147483647 h 16384"/>
                    <a:gd name="T86" fmla="*/ 2147483647 w 16384"/>
                    <a:gd name="T87" fmla="*/ 2147483647 h 16384"/>
                    <a:gd name="T88" fmla="*/ 2147483647 w 16384"/>
                    <a:gd name="T89" fmla="*/ 2147483647 h 16384"/>
                    <a:gd name="T90" fmla="*/ 2147483647 w 16384"/>
                    <a:gd name="T91" fmla="*/ 2147483647 h 16384"/>
                    <a:gd name="T92" fmla="*/ 2147483647 w 16384"/>
                    <a:gd name="T93" fmla="*/ 2147483647 h 16384"/>
                    <a:gd name="T94" fmla="*/ 2147483647 w 16384"/>
                    <a:gd name="T95" fmla="*/ 2147483647 h 16384"/>
                    <a:gd name="T96" fmla="*/ 2147483647 w 16384"/>
                    <a:gd name="T97" fmla="*/ 2147483647 h 16384"/>
                    <a:gd name="T98" fmla="*/ 2147483647 w 16384"/>
                    <a:gd name="T99" fmla="*/ 2147483647 h 16384"/>
                    <a:gd name="T100" fmla="*/ 2147483647 w 16384"/>
                    <a:gd name="T101" fmla="*/ 2147483647 h 16384"/>
                    <a:gd name="T102" fmla="*/ 2147483647 w 16384"/>
                    <a:gd name="T103" fmla="*/ 2147483647 h 16384"/>
                    <a:gd name="T104" fmla="*/ 2147483647 w 16384"/>
                    <a:gd name="T105" fmla="*/ 2147483647 h 16384"/>
                    <a:gd name="T106" fmla="*/ 2147483647 w 16384"/>
                    <a:gd name="T107" fmla="*/ 2147483647 h 16384"/>
                    <a:gd name="T108" fmla="*/ 2147483647 w 16384"/>
                    <a:gd name="T109" fmla="*/ 2147483647 h 16384"/>
                    <a:gd name="T110" fmla="*/ 2147483647 w 16384"/>
                    <a:gd name="T111" fmla="*/ 2147483647 h 16384"/>
                    <a:gd name="T112" fmla="*/ 2147483647 w 16384"/>
                    <a:gd name="T113" fmla="*/ 2147483647 h 16384"/>
                    <a:gd name="T114" fmla="*/ 2147483647 w 16384"/>
                    <a:gd name="T115" fmla="*/ 2147483647 h 16384"/>
                    <a:gd name="T116" fmla="*/ 2147483647 w 16384"/>
                    <a:gd name="T117" fmla="*/ 2147483647 h 16384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w 16384"/>
                    <a:gd name="T178" fmla="*/ 0 h 16384"/>
                    <a:gd name="T179" fmla="*/ 16384 w 16384"/>
                    <a:gd name="T180" fmla="*/ 16384 h 16384"/>
                  </a:gdLst>
                  <a:ahLst/>
                  <a:cxnLst>
                    <a:cxn ang="T118">
                      <a:pos x="T0" y="T1"/>
                    </a:cxn>
                    <a:cxn ang="T119">
                      <a:pos x="T2" y="T3"/>
                    </a:cxn>
                    <a:cxn ang="T120">
                      <a:pos x="T4" y="T5"/>
                    </a:cxn>
                    <a:cxn ang="T121">
                      <a:pos x="T6" y="T7"/>
                    </a:cxn>
                    <a:cxn ang="T122">
                      <a:pos x="T8" y="T9"/>
                    </a:cxn>
                    <a:cxn ang="T123">
                      <a:pos x="T10" y="T11"/>
                    </a:cxn>
                    <a:cxn ang="T124">
                      <a:pos x="T12" y="T13"/>
                    </a:cxn>
                    <a:cxn ang="T125">
                      <a:pos x="T14" y="T15"/>
                    </a:cxn>
                    <a:cxn ang="T126">
                      <a:pos x="T16" y="T17"/>
                    </a:cxn>
                    <a:cxn ang="T127">
                      <a:pos x="T18" y="T19"/>
                    </a:cxn>
                    <a:cxn ang="T128">
                      <a:pos x="T20" y="T21"/>
                    </a:cxn>
                    <a:cxn ang="T129">
                      <a:pos x="T22" y="T23"/>
                    </a:cxn>
                    <a:cxn ang="T130">
                      <a:pos x="T24" y="T25"/>
                    </a:cxn>
                    <a:cxn ang="T131">
                      <a:pos x="T26" y="T27"/>
                    </a:cxn>
                    <a:cxn ang="T132">
                      <a:pos x="T28" y="T29"/>
                    </a:cxn>
                    <a:cxn ang="T133">
                      <a:pos x="T30" y="T31"/>
                    </a:cxn>
                    <a:cxn ang="T134">
                      <a:pos x="T32" y="T33"/>
                    </a:cxn>
                    <a:cxn ang="T135">
                      <a:pos x="T34" y="T35"/>
                    </a:cxn>
                    <a:cxn ang="T136">
                      <a:pos x="T36" y="T37"/>
                    </a:cxn>
                    <a:cxn ang="T137">
                      <a:pos x="T38" y="T39"/>
                    </a:cxn>
                    <a:cxn ang="T138">
                      <a:pos x="T40" y="T41"/>
                    </a:cxn>
                    <a:cxn ang="T139">
                      <a:pos x="T42" y="T43"/>
                    </a:cxn>
                    <a:cxn ang="T140">
                      <a:pos x="T44" y="T45"/>
                    </a:cxn>
                    <a:cxn ang="T141">
                      <a:pos x="T46" y="T47"/>
                    </a:cxn>
                    <a:cxn ang="T142">
                      <a:pos x="T48" y="T49"/>
                    </a:cxn>
                    <a:cxn ang="T143">
                      <a:pos x="T50" y="T51"/>
                    </a:cxn>
                    <a:cxn ang="T144">
                      <a:pos x="T52" y="T53"/>
                    </a:cxn>
                    <a:cxn ang="T145">
                      <a:pos x="T54" y="T55"/>
                    </a:cxn>
                    <a:cxn ang="T146">
                      <a:pos x="T56" y="T57"/>
                    </a:cxn>
                    <a:cxn ang="T147">
                      <a:pos x="T58" y="T59"/>
                    </a:cxn>
                    <a:cxn ang="T148">
                      <a:pos x="T60" y="T61"/>
                    </a:cxn>
                    <a:cxn ang="T149">
                      <a:pos x="T62" y="T63"/>
                    </a:cxn>
                    <a:cxn ang="T150">
                      <a:pos x="T64" y="T65"/>
                    </a:cxn>
                    <a:cxn ang="T151">
                      <a:pos x="T66" y="T67"/>
                    </a:cxn>
                    <a:cxn ang="T152">
                      <a:pos x="T68" y="T69"/>
                    </a:cxn>
                    <a:cxn ang="T153">
                      <a:pos x="T70" y="T71"/>
                    </a:cxn>
                    <a:cxn ang="T154">
                      <a:pos x="T72" y="T73"/>
                    </a:cxn>
                    <a:cxn ang="T155">
                      <a:pos x="T74" y="T75"/>
                    </a:cxn>
                    <a:cxn ang="T156">
                      <a:pos x="T76" y="T77"/>
                    </a:cxn>
                    <a:cxn ang="T157">
                      <a:pos x="T78" y="T79"/>
                    </a:cxn>
                    <a:cxn ang="T158">
                      <a:pos x="T80" y="T81"/>
                    </a:cxn>
                    <a:cxn ang="T159">
                      <a:pos x="T82" y="T83"/>
                    </a:cxn>
                    <a:cxn ang="T160">
                      <a:pos x="T84" y="T85"/>
                    </a:cxn>
                    <a:cxn ang="T161">
                      <a:pos x="T86" y="T87"/>
                    </a:cxn>
                    <a:cxn ang="T162">
                      <a:pos x="T88" y="T89"/>
                    </a:cxn>
                    <a:cxn ang="T163">
                      <a:pos x="T90" y="T91"/>
                    </a:cxn>
                    <a:cxn ang="T164">
                      <a:pos x="T92" y="T93"/>
                    </a:cxn>
                    <a:cxn ang="T165">
                      <a:pos x="T94" y="T95"/>
                    </a:cxn>
                    <a:cxn ang="T166">
                      <a:pos x="T96" y="T97"/>
                    </a:cxn>
                    <a:cxn ang="T167">
                      <a:pos x="T98" y="T99"/>
                    </a:cxn>
                    <a:cxn ang="T168">
                      <a:pos x="T100" y="T101"/>
                    </a:cxn>
                    <a:cxn ang="T169">
                      <a:pos x="T102" y="T103"/>
                    </a:cxn>
                    <a:cxn ang="T170">
                      <a:pos x="T104" y="T105"/>
                    </a:cxn>
                    <a:cxn ang="T171">
                      <a:pos x="T106" y="T107"/>
                    </a:cxn>
                    <a:cxn ang="T172">
                      <a:pos x="T108" y="T109"/>
                    </a:cxn>
                    <a:cxn ang="T173">
                      <a:pos x="T110" y="T111"/>
                    </a:cxn>
                    <a:cxn ang="T174">
                      <a:pos x="T112" y="T113"/>
                    </a:cxn>
                    <a:cxn ang="T175">
                      <a:pos x="T114" y="T115"/>
                    </a:cxn>
                    <a:cxn ang="T176">
                      <a:pos x="T116" y="T117"/>
                    </a:cxn>
                  </a:cxnLst>
                  <a:rect l="T177" t="T178" r="T179" b="T180"/>
                  <a:pathLst>
                    <a:path w="16384" h="16384">
                      <a:moveTo>
                        <a:pt x="7712" y="3062"/>
                      </a:moveTo>
                      <a:lnTo>
                        <a:pt x="7552" y="2986"/>
                      </a:lnTo>
                      <a:lnTo>
                        <a:pt x="7488" y="2948"/>
                      </a:lnTo>
                      <a:lnTo>
                        <a:pt x="7296" y="2948"/>
                      </a:lnTo>
                      <a:lnTo>
                        <a:pt x="7104" y="2871"/>
                      </a:lnTo>
                      <a:lnTo>
                        <a:pt x="7008" y="2833"/>
                      </a:lnTo>
                      <a:lnTo>
                        <a:pt x="6880" y="2871"/>
                      </a:lnTo>
                      <a:lnTo>
                        <a:pt x="6816" y="2948"/>
                      </a:lnTo>
                      <a:lnTo>
                        <a:pt x="6176" y="3024"/>
                      </a:lnTo>
                      <a:lnTo>
                        <a:pt x="6048" y="3024"/>
                      </a:lnTo>
                      <a:lnTo>
                        <a:pt x="5952" y="2909"/>
                      </a:lnTo>
                      <a:lnTo>
                        <a:pt x="5792" y="2833"/>
                      </a:lnTo>
                      <a:lnTo>
                        <a:pt x="5536" y="2680"/>
                      </a:lnTo>
                      <a:lnTo>
                        <a:pt x="5408" y="2527"/>
                      </a:lnTo>
                      <a:lnTo>
                        <a:pt x="5376" y="2450"/>
                      </a:lnTo>
                      <a:lnTo>
                        <a:pt x="5376" y="2297"/>
                      </a:lnTo>
                      <a:lnTo>
                        <a:pt x="5376" y="2220"/>
                      </a:lnTo>
                      <a:lnTo>
                        <a:pt x="5408" y="2144"/>
                      </a:lnTo>
                      <a:lnTo>
                        <a:pt x="5440" y="2067"/>
                      </a:lnTo>
                      <a:lnTo>
                        <a:pt x="5440" y="1991"/>
                      </a:lnTo>
                      <a:lnTo>
                        <a:pt x="5440" y="1914"/>
                      </a:lnTo>
                      <a:lnTo>
                        <a:pt x="5472" y="1837"/>
                      </a:lnTo>
                      <a:lnTo>
                        <a:pt x="5472" y="1723"/>
                      </a:lnTo>
                      <a:lnTo>
                        <a:pt x="5504" y="1569"/>
                      </a:lnTo>
                      <a:lnTo>
                        <a:pt x="5472" y="1416"/>
                      </a:lnTo>
                      <a:lnTo>
                        <a:pt x="5408" y="1110"/>
                      </a:lnTo>
                      <a:lnTo>
                        <a:pt x="5312" y="919"/>
                      </a:lnTo>
                      <a:lnTo>
                        <a:pt x="5120" y="689"/>
                      </a:lnTo>
                      <a:lnTo>
                        <a:pt x="5024" y="651"/>
                      </a:lnTo>
                      <a:lnTo>
                        <a:pt x="4960" y="651"/>
                      </a:lnTo>
                      <a:lnTo>
                        <a:pt x="4896" y="651"/>
                      </a:lnTo>
                      <a:lnTo>
                        <a:pt x="4832" y="689"/>
                      </a:lnTo>
                      <a:lnTo>
                        <a:pt x="4736" y="651"/>
                      </a:lnTo>
                      <a:lnTo>
                        <a:pt x="4672" y="612"/>
                      </a:lnTo>
                      <a:lnTo>
                        <a:pt x="4640" y="498"/>
                      </a:lnTo>
                      <a:lnTo>
                        <a:pt x="4608" y="459"/>
                      </a:lnTo>
                      <a:lnTo>
                        <a:pt x="4640" y="345"/>
                      </a:lnTo>
                      <a:lnTo>
                        <a:pt x="4576" y="306"/>
                      </a:lnTo>
                      <a:lnTo>
                        <a:pt x="4480" y="306"/>
                      </a:lnTo>
                      <a:lnTo>
                        <a:pt x="4416" y="345"/>
                      </a:lnTo>
                      <a:lnTo>
                        <a:pt x="4288" y="345"/>
                      </a:lnTo>
                      <a:lnTo>
                        <a:pt x="4192" y="306"/>
                      </a:lnTo>
                      <a:lnTo>
                        <a:pt x="4128" y="191"/>
                      </a:lnTo>
                      <a:lnTo>
                        <a:pt x="4064" y="191"/>
                      </a:lnTo>
                      <a:lnTo>
                        <a:pt x="3968" y="191"/>
                      </a:lnTo>
                      <a:lnTo>
                        <a:pt x="4032" y="306"/>
                      </a:lnTo>
                      <a:lnTo>
                        <a:pt x="4032" y="345"/>
                      </a:lnTo>
                      <a:lnTo>
                        <a:pt x="4000" y="345"/>
                      </a:lnTo>
                      <a:lnTo>
                        <a:pt x="3904" y="230"/>
                      </a:lnTo>
                      <a:lnTo>
                        <a:pt x="3808" y="38"/>
                      </a:lnTo>
                      <a:lnTo>
                        <a:pt x="3744" y="0"/>
                      </a:lnTo>
                      <a:lnTo>
                        <a:pt x="3712" y="38"/>
                      </a:lnTo>
                      <a:lnTo>
                        <a:pt x="3744" y="153"/>
                      </a:lnTo>
                      <a:lnTo>
                        <a:pt x="3744" y="306"/>
                      </a:lnTo>
                      <a:lnTo>
                        <a:pt x="3744" y="459"/>
                      </a:lnTo>
                      <a:lnTo>
                        <a:pt x="3712" y="612"/>
                      </a:lnTo>
                      <a:lnTo>
                        <a:pt x="3648" y="689"/>
                      </a:lnTo>
                      <a:lnTo>
                        <a:pt x="3552" y="766"/>
                      </a:lnTo>
                      <a:lnTo>
                        <a:pt x="3552" y="880"/>
                      </a:lnTo>
                      <a:lnTo>
                        <a:pt x="3520" y="995"/>
                      </a:lnTo>
                      <a:lnTo>
                        <a:pt x="3456" y="1225"/>
                      </a:lnTo>
                      <a:lnTo>
                        <a:pt x="3424" y="1378"/>
                      </a:lnTo>
                      <a:lnTo>
                        <a:pt x="3424" y="1455"/>
                      </a:lnTo>
                      <a:lnTo>
                        <a:pt x="3456" y="1646"/>
                      </a:lnTo>
                      <a:lnTo>
                        <a:pt x="3360" y="1761"/>
                      </a:lnTo>
                      <a:lnTo>
                        <a:pt x="3360" y="1876"/>
                      </a:lnTo>
                      <a:lnTo>
                        <a:pt x="3392" y="2144"/>
                      </a:lnTo>
                      <a:lnTo>
                        <a:pt x="3360" y="2220"/>
                      </a:lnTo>
                      <a:lnTo>
                        <a:pt x="3264" y="2105"/>
                      </a:lnTo>
                      <a:lnTo>
                        <a:pt x="3232" y="2182"/>
                      </a:lnTo>
                      <a:lnTo>
                        <a:pt x="3232" y="2373"/>
                      </a:lnTo>
                      <a:lnTo>
                        <a:pt x="3104" y="2527"/>
                      </a:lnTo>
                      <a:lnTo>
                        <a:pt x="3104" y="2718"/>
                      </a:lnTo>
                      <a:lnTo>
                        <a:pt x="3008" y="2948"/>
                      </a:lnTo>
                      <a:lnTo>
                        <a:pt x="3008" y="3062"/>
                      </a:lnTo>
                      <a:lnTo>
                        <a:pt x="2848" y="3369"/>
                      </a:lnTo>
                      <a:lnTo>
                        <a:pt x="2816" y="3445"/>
                      </a:lnTo>
                      <a:lnTo>
                        <a:pt x="2784" y="3522"/>
                      </a:lnTo>
                      <a:lnTo>
                        <a:pt x="2784" y="3637"/>
                      </a:lnTo>
                      <a:lnTo>
                        <a:pt x="2720" y="3790"/>
                      </a:lnTo>
                      <a:lnTo>
                        <a:pt x="2592" y="4019"/>
                      </a:lnTo>
                      <a:lnTo>
                        <a:pt x="2528" y="4134"/>
                      </a:lnTo>
                      <a:lnTo>
                        <a:pt x="2528" y="4326"/>
                      </a:lnTo>
                      <a:lnTo>
                        <a:pt x="2464" y="4402"/>
                      </a:lnTo>
                      <a:lnTo>
                        <a:pt x="2464" y="4555"/>
                      </a:lnTo>
                      <a:lnTo>
                        <a:pt x="2368" y="4747"/>
                      </a:lnTo>
                      <a:lnTo>
                        <a:pt x="2304" y="4938"/>
                      </a:lnTo>
                      <a:lnTo>
                        <a:pt x="2272" y="5168"/>
                      </a:lnTo>
                      <a:lnTo>
                        <a:pt x="2208" y="5283"/>
                      </a:lnTo>
                      <a:lnTo>
                        <a:pt x="2144" y="5512"/>
                      </a:lnTo>
                      <a:lnTo>
                        <a:pt x="2080" y="5627"/>
                      </a:lnTo>
                      <a:lnTo>
                        <a:pt x="2048" y="5742"/>
                      </a:lnTo>
                      <a:lnTo>
                        <a:pt x="1952" y="5933"/>
                      </a:lnTo>
                      <a:lnTo>
                        <a:pt x="1888" y="6125"/>
                      </a:lnTo>
                      <a:lnTo>
                        <a:pt x="1728" y="6584"/>
                      </a:lnTo>
                      <a:lnTo>
                        <a:pt x="1664" y="6814"/>
                      </a:lnTo>
                      <a:lnTo>
                        <a:pt x="1632" y="6890"/>
                      </a:lnTo>
                      <a:lnTo>
                        <a:pt x="1504" y="7197"/>
                      </a:lnTo>
                      <a:lnTo>
                        <a:pt x="1504" y="7273"/>
                      </a:lnTo>
                      <a:lnTo>
                        <a:pt x="1440" y="7312"/>
                      </a:lnTo>
                      <a:lnTo>
                        <a:pt x="1440" y="7388"/>
                      </a:lnTo>
                      <a:lnTo>
                        <a:pt x="1376" y="7503"/>
                      </a:lnTo>
                      <a:lnTo>
                        <a:pt x="1248" y="7771"/>
                      </a:lnTo>
                      <a:lnTo>
                        <a:pt x="1024" y="8077"/>
                      </a:lnTo>
                      <a:lnTo>
                        <a:pt x="896" y="8154"/>
                      </a:lnTo>
                      <a:lnTo>
                        <a:pt x="864" y="8230"/>
                      </a:lnTo>
                      <a:lnTo>
                        <a:pt x="832" y="8383"/>
                      </a:lnTo>
                      <a:lnTo>
                        <a:pt x="608" y="8766"/>
                      </a:lnTo>
                      <a:lnTo>
                        <a:pt x="480" y="9111"/>
                      </a:lnTo>
                      <a:lnTo>
                        <a:pt x="416" y="9226"/>
                      </a:lnTo>
                      <a:lnTo>
                        <a:pt x="352" y="9302"/>
                      </a:lnTo>
                      <a:lnTo>
                        <a:pt x="160" y="9455"/>
                      </a:lnTo>
                      <a:lnTo>
                        <a:pt x="224" y="9608"/>
                      </a:lnTo>
                      <a:lnTo>
                        <a:pt x="224" y="9761"/>
                      </a:lnTo>
                      <a:lnTo>
                        <a:pt x="288" y="9876"/>
                      </a:lnTo>
                      <a:lnTo>
                        <a:pt x="256" y="9991"/>
                      </a:lnTo>
                      <a:lnTo>
                        <a:pt x="320" y="10106"/>
                      </a:lnTo>
                      <a:lnTo>
                        <a:pt x="288" y="10221"/>
                      </a:lnTo>
                      <a:lnTo>
                        <a:pt x="288" y="10412"/>
                      </a:lnTo>
                      <a:lnTo>
                        <a:pt x="192" y="10604"/>
                      </a:lnTo>
                      <a:lnTo>
                        <a:pt x="128" y="10719"/>
                      </a:lnTo>
                      <a:lnTo>
                        <a:pt x="96" y="10948"/>
                      </a:lnTo>
                      <a:lnTo>
                        <a:pt x="32" y="11025"/>
                      </a:lnTo>
                      <a:lnTo>
                        <a:pt x="64" y="11178"/>
                      </a:lnTo>
                      <a:lnTo>
                        <a:pt x="0" y="11293"/>
                      </a:lnTo>
                      <a:lnTo>
                        <a:pt x="32" y="11369"/>
                      </a:lnTo>
                      <a:lnTo>
                        <a:pt x="0" y="11599"/>
                      </a:lnTo>
                      <a:lnTo>
                        <a:pt x="32" y="11829"/>
                      </a:lnTo>
                      <a:lnTo>
                        <a:pt x="96" y="11943"/>
                      </a:lnTo>
                      <a:lnTo>
                        <a:pt x="160" y="12097"/>
                      </a:lnTo>
                      <a:lnTo>
                        <a:pt x="160" y="12173"/>
                      </a:lnTo>
                      <a:lnTo>
                        <a:pt x="800" y="12365"/>
                      </a:lnTo>
                      <a:lnTo>
                        <a:pt x="1344" y="12594"/>
                      </a:lnTo>
                      <a:lnTo>
                        <a:pt x="1888" y="12786"/>
                      </a:lnTo>
                      <a:lnTo>
                        <a:pt x="3616" y="13360"/>
                      </a:lnTo>
                      <a:lnTo>
                        <a:pt x="5120" y="13896"/>
                      </a:lnTo>
                      <a:lnTo>
                        <a:pt x="6208" y="14202"/>
                      </a:lnTo>
                      <a:lnTo>
                        <a:pt x="7808" y="14738"/>
                      </a:lnTo>
                      <a:lnTo>
                        <a:pt x="8992" y="15121"/>
                      </a:lnTo>
                      <a:lnTo>
                        <a:pt x="9120" y="15159"/>
                      </a:lnTo>
                      <a:lnTo>
                        <a:pt x="11168" y="15733"/>
                      </a:lnTo>
                      <a:lnTo>
                        <a:pt x="13344" y="16384"/>
                      </a:lnTo>
                      <a:lnTo>
                        <a:pt x="14272" y="11369"/>
                      </a:lnTo>
                      <a:lnTo>
                        <a:pt x="14336" y="11063"/>
                      </a:lnTo>
                      <a:lnTo>
                        <a:pt x="14464" y="10795"/>
                      </a:lnTo>
                      <a:lnTo>
                        <a:pt x="14560" y="10604"/>
                      </a:lnTo>
                      <a:lnTo>
                        <a:pt x="14624" y="10451"/>
                      </a:lnTo>
                      <a:lnTo>
                        <a:pt x="14624" y="10297"/>
                      </a:lnTo>
                      <a:lnTo>
                        <a:pt x="14656" y="10221"/>
                      </a:lnTo>
                      <a:lnTo>
                        <a:pt x="14720" y="10106"/>
                      </a:lnTo>
                      <a:lnTo>
                        <a:pt x="14752" y="10029"/>
                      </a:lnTo>
                      <a:lnTo>
                        <a:pt x="14784" y="9876"/>
                      </a:lnTo>
                      <a:lnTo>
                        <a:pt x="14720" y="9800"/>
                      </a:lnTo>
                      <a:lnTo>
                        <a:pt x="14656" y="9685"/>
                      </a:lnTo>
                      <a:lnTo>
                        <a:pt x="14560" y="9723"/>
                      </a:lnTo>
                      <a:lnTo>
                        <a:pt x="14496" y="9570"/>
                      </a:lnTo>
                      <a:lnTo>
                        <a:pt x="14368" y="9608"/>
                      </a:lnTo>
                      <a:lnTo>
                        <a:pt x="14304" y="9494"/>
                      </a:lnTo>
                      <a:lnTo>
                        <a:pt x="14304" y="9417"/>
                      </a:lnTo>
                      <a:lnTo>
                        <a:pt x="14336" y="9340"/>
                      </a:lnTo>
                      <a:lnTo>
                        <a:pt x="14304" y="9264"/>
                      </a:lnTo>
                      <a:lnTo>
                        <a:pt x="14304" y="9149"/>
                      </a:lnTo>
                      <a:lnTo>
                        <a:pt x="14400" y="8996"/>
                      </a:lnTo>
                      <a:lnTo>
                        <a:pt x="14432" y="8843"/>
                      </a:lnTo>
                      <a:lnTo>
                        <a:pt x="14560" y="8728"/>
                      </a:lnTo>
                      <a:lnTo>
                        <a:pt x="14752" y="8383"/>
                      </a:lnTo>
                      <a:lnTo>
                        <a:pt x="14848" y="8192"/>
                      </a:lnTo>
                      <a:lnTo>
                        <a:pt x="14944" y="8154"/>
                      </a:lnTo>
                      <a:lnTo>
                        <a:pt x="15072" y="8115"/>
                      </a:lnTo>
                      <a:lnTo>
                        <a:pt x="15104" y="8039"/>
                      </a:lnTo>
                      <a:lnTo>
                        <a:pt x="15200" y="8001"/>
                      </a:lnTo>
                      <a:lnTo>
                        <a:pt x="15264" y="7886"/>
                      </a:lnTo>
                      <a:lnTo>
                        <a:pt x="15360" y="7694"/>
                      </a:lnTo>
                      <a:lnTo>
                        <a:pt x="15392" y="7580"/>
                      </a:lnTo>
                      <a:lnTo>
                        <a:pt x="15328" y="7541"/>
                      </a:lnTo>
                      <a:lnTo>
                        <a:pt x="15360" y="7465"/>
                      </a:lnTo>
                      <a:lnTo>
                        <a:pt x="15488" y="7350"/>
                      </a:lnTo>
                      <a:lnTo>
                        <a:pt x="15520" y="7312"/>
                      </a:lnTo>
                      <a:lnTo>
                        <a:pt x="15584" y="7235"/>
                      </a:lnTo>
                      <a:lnTo>
                        <a:pt x="15680" y="7082"/>
                      </a:lnTo>
                      <a:lnTo>
                        <a:pt x="15776" y="6929"/>
                      </a:lnTo>
                      <a:lnTo>
                        <a:pt x="15808" y="6814"/>
                      </a:lnTo>
                      <a:lnTo>
                        <a:pt x="15840" y="6699"/>
                      </a:lnTo>
                      <a:lnTo>
                        <a:pt x="16128" y="6316"/>
                      </a:lnTo>
                      <a:lnTo>
                        <a:pt x="16160" y="6163"/>
                      </a:lnTo>
                      <a:lnTo>
                        <a:pt x="16352" y="5895"/>
                      </a:lnTo>
                      <a:lnTo>
                        <a:pt x="16384" y="5819"/>
                      </a:lnTo>
                      <a:lnTo>
                        <a:pt x="16320" y="5627"/>
                      </a:lnTo>
                      <a:lnTo>
                        <a:pt x="16288" y="5398"/>
                      </a:lnTo>
                      <a:lnTo>
                        <a:pt x="16256" y="5321"/>
                      </a:lnTo>
                      <a:lnTo>
                        <a:pt x="16128" y="5283"/>
                      </a:lnTo>
                      <a:lnTo>
                        <a:pt x="16064" y="5130"/>
                      </a:lnTo>
                      <a:lnTo>
                        <a:pt x="15968" y="5206"/>
                      </a:lnTo>
                      <a:lnTo>
                        <a:pt x="15936" y="5053"/>
                      </a:lnTo>
                      <a:lnTo>
                        <a:pt x="15904" y="4938"/>
                      </a:lnTo>
                      <a:lnTo>
                        <a:pt x="15872" y="4823"/>
                      </a:lnTo>
                      <a:lnTo>
                        <a:pt x="15808" y="4632"/>
                      </a:lnTo>
                      <a:lnTo>
                        <a:pt x="15776" y="4517"/>
                      </a:lnTo>
                      <a:lnTo>
                        <a:pt x="14816" y="4249"/>
                      </a:lnTo>
                      <a:lnTo>
                        <a:pt x="14560" y="4173"/>
                      </a:lnTo>
                      <a:lnTo>
                        <a:pt x="13920" y="4019"/>
                      </a:lnTo>
                      <a:lnTo>
                        <a:pt x="13888" y="3981"/>
                      </a:lnTo>
                      <a:lnTo>
                        <a:pt x="12192" y="3522"/>
                      </a:lnTo>
                      <a:lnTo>
                        <a:pt x="12128" y="3522"/>
                      </a:lnTo>
                      <a:lnTo>
                        <a:pt x="12000" y="3598"/>
                      </a:lnTo>
                      <a:lnTo>
                        <a:pt x="11776" y="3637"/>
                      </a:lnTo>
                      <a:lnTo>
                        <a:pt x="11648" y="3598"/>
                      </a:lnTo>
                      <a:lnTo>
                        <a:pt x="11520" y="3522"/>
                      </a:lnTo>
                      <a:lnTo>
                        <a:pt x="11424" y="3560"/>
                      </a:lnTo>
                      <a:lnTo>
                        <a:pt x="11328" y="3560"/>
                      </a:lnTo>
                      <a:lnTo>
                        <a:pt x="11232" y="3522"/>
                      </a:lnTo>
                      <a:lnTo>
                        <a:pt x="11136" y="3445"/>
                      </a:lnTo>
                      <a:lnTo>
                        <a:pt x="11040" y="3445"/>
                      </a:lnTo>
                      <a:lnTo>
                        <a:pt x="10944" y="3522"/>
                      </a:lnTo>
                      <a:lnTo>
                        <a:pt x="10848" y="3560"/>
                      </a:lnTo>
                      <a:lnTo>
                        <a:pt x="10592" y="3560"/>
                      </a:lnTo>
                      <a:lnTo>
                        <a:pt x="10528" y="3522"/>
                      </a:lnTo>
                      <a:lnTo>
                        <a:pt x="10272" y="3560"/>
                      </a:lnTo>
                      <a:lnTo>
                        <a:pt x="10144" y="3560"/>
                      </a:lnTo>
                      <a:lnTo>
                        <a:pt x="10016" y="3560"/>
                      </a:lnTo>
                      <a:lnTo>
                        <a:pt x="9856" y="3637"/>
                      </a:lnTo>
                      <a:lnTo>
                        <a:pt x="9408" y="3637"/>
                      </a:lnTo>
                      <a:lnTo>
                        <a:pt x="9312" y="3560"/>
                      </a:lnTo>
                      <a:lnTo>
                        <a:pt x="9248" y="3484"/>
                      </a:lnTo>
                      <a:lnTo>
                        <a:pt x="9184" y="3407"/>
                      </a:lnTo>
                      <a:lnTo>
                        <a:pt x="9088" y="3407"/>
                      </a:lnTo>
                      <a:lnTo>
                        <a:pt x="8608" y="3522"/>
                      </a:lnTo>
                      <a:lnTo>
                        <a:pt x="8512" y="3484"/>
                      </a:lnTo>
                      <a:lnTo>
                        <a:pt x="8320" y="3407"/>
                      </a:lnTo>
                      <a:lnTo>
                        <a:pt x="8192" y="3484"/>
                      </a:lnTo>
                      <a:lnTo>
                        <a:pt x="8096" y="3484"/>
                      </a:lnTo>
                      <a:lnTo>
                        <a:pt x="8064" y="3330"/>
                      </a:lnTo>
                      <a:lnTo>
                        <a:pt x="7968" y="3216"/>
                      </a:lnTo>
                      <a:lnTo>
                        <a:pt x="7904" y="3139"/>
                      </a:lnTo>
                      <a:lnTo>
                        <a:pt x="7808" y="3101"/>
                      </a:lnTo>
                      <a:lnTo>
                        <a:pt x="7712" y="3062"/>
                      </a:lnTo>
                      <a:close/>
                    </a:path>
                  </a:pathLst>
                </a:custGeom>
                <a:solidFill>
                  <a:srgbClr val="FF0000"/>
                </a:solidFill>
                <a:ln w="9525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defTabSz="121917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56" name="Pennsylvania">
                  <a:extLst>
                    <a:ext uri="{FF2B5EF4-FFF2-40B4-BE49-F238E27FC236}">
                      <a16:creationId xmlns:a16="http://schemas.microsoft.com/office/drawing/2014/main" id="{4ABF2317-0FAA-D78C-56FA-A96DAB55D7C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4450675" y="5619750"/>
                  <a:ext cx="3457575" cy="2133600"/>
                </a:xfrm>
                <a:custGeom>
                  <a:avLst/>
                  <a:gdLst>
                    <a:gd name="T0" fmla="*/ 2147483647 w 16384"/>
                    <a:gd name="T1" fmla="*/ 2147483647 h 16384"/>
                    <a:gd name="T2" fmla="*/ 2147483647 w 16384"/>
                    <a:gd name="T3" fmla="*/ 2147483647 h 16384"/>
                    <a:gd name="T4" fmla="*/ 2147483647 w 16384"/>
                    <a:gd name="T5" fmla="*/ 2147483647 h 16384"/>
                    <a:gd name="T6" fmla="*/ 2147483647 w 16384"/>
                    <a:gd name="T7" fmla="*/ 2147483647 h 16384"/>
                    <a:gd name="T8" fmla="*/ 2147483647 w 16384"/>
                    <a:gd name="T9" fmla="*/ 2147483647 h 16384"/>
                    <a:gd name="T10" fmla="*/ 2147483647 w 16384"/>
                    <a:gd name="T11" fmla="*/ 2147483647 h 16384"/>
                    <a:gd name="T12" fmla="*/ 2147483647 w 16384"/>
                    <a:gd name="T13" fmla="*/ 2147483647 h 16384"/>
                    <a:gd name="T14" fmla="*/ 2147483647 w 16384"/>
                    <a:gd name="T15" fmla="*/ 2147483647 h 16384"/>
                    <a:gd name="T16" fmla="*/ 2147483647 w 16384"/>
                    <a:gd name="T17" fmla="*/ 2147483647 h 16384"/>
                    <a:gd name="T18" fmla="*/ 2147483647 w 16384"/>
                    <a:gd name="T19" fmla="*/ 2147483647 h 16384"/>
                    <a:gd name="T20" fmla="*/ 2147483647 w 16384"/>
                    <a:gd name="T21" fmla="*/ 2147483647 h 16384"/>
                    <a:gd name="T22" fmla="*/ 2147483647 w 16384"/>
                    <a:gd name="T23" fmla="*/ 2147483647 h 16384"/>
                    <a:gd name="T24" fmla="*/ 2147483647 w 16384"/>
                    <a:gd name="T25" fmla="*/ 2147483647 h 16384"/>
                    <a:gd name="T26" fmla="*/ 2147483647 w 16384"/>
                    <a:gd name="T27" fmla="*/ 2147483647 h 16384"/>
                    <a:gd name="T28" fmla="*/ 2147483647 w 16384"/>
                    <a:gd name="T29" fmla="*/ 2147483647 h 16384"/>
                    <a:gd name="T30" fmla="*/ 2147483647 w 16384"/>
                    <a:gd name="T31" fmla="*/ 2147483647 h 16384"/>
                    <a:gd name="T32" fmla="*/ 2147483647 w 16384"/>
                    <a:gd name="T33" fmla="*/ 2147483647 h 16384"/>
                    <a:gd name="T34" fmla="*/ 2147483647 w 16384"/>
                    <a:gd name="T35" fmla="*/ 2147483647 h 16384"/>
                    <a:gd name="T36" fmla="*/ 2147483647 w 16384"/>
                    <a:gd name="T37" fmla="*/ 2147483647 h 16384"/>
                    <a:gd name="T38" fmla="*/ 2147483647 w 16384"/>
                    <a:gd name="T39" fmla="*/ 2147483647 h 16384"/>
                    <a:gd name="T40" fmla="*/ 2147483647 w 16384"/>
                    <a:gd name="T41" fmla="*/ 2147483647 h 16384"/>
                    <a:gd name="T42" fmla="*/ 2147483647 w 16384"/>
                    <a:gd name="T43" fmla="*/ 2147483647 h 16384"/>
                    <a:gd name="T44" fmla="*/ 2147483647 w 16384"/>
                    <a:gd name="T45" fmla="*/ 2147483647 h 16384"/>
                    <a:gd name="T46" fmla="*/ 2147483647 w 16384"/>
                    <a:gd name="T47" fmla="*/ 2147483647 h 16384"/>
                    <a:gd name="T48" fmla="*/ 2147483647 w 16384"/>
                    <a:gd name="T49" fmla="*/ 2147483647 h 16384"/>
                    <a:gd name="T50" fmla="*/ 2147483647 w 16384"/>
                    <a:gd name="T51" fmla="*/ 2147483647 h 16384"/>
                    <a:gd name="T52" fmla="*/ 2147483647 w 16384"/>
                    <a:gd name="T53" fmla="*/ 2147483647 h 16384"/>
                    <a:gd name="T54" fmla="*/ 2147483647 w 16384"/>
                    <a:gd name="T55" fmla="*/ 2147483647 h 16384"/>
                    <a:gd name="T56" fmla="*/ 2147483647 w 16384"/>
                    <a:gd name="T57" fmla="*/ 2147483647 h 16384"/>
                    <a:gd name="T58" fmla="*/ 2147483647 w 16384"/>
                    <a:gd name="T59" fmla="*/ 2147483647 h 16384"/>
                    <a:gd name="T60" fmla="*/ 2147483647 w 16384"/>
                    <a:gd name="T61" fmla="*/ 2147483647 h 16384"/>
                    <a:gd name="T62" fmla="*/ 2147483647 w 16384"/>
                    <a:gd name="T63" fmla="*/ 2147483647 h 16384"/>
                    <a:gd name="T64" fmla="*/ 2147483647 w 16384"/>
                    <a:gd name="T65" fmla="*/ 2147483647 h 16384"/>
                    <a:gd name="T66" fmla="*/ 2147483647 w 16384"/>
                    <a:gd name="T67" fmla="*/ 2147483647 h 16384"/>
                    <a:gd name="T68" fmla="*/ 2147483647 w 16384"/>
                    <a:gd name="T69" fmla="*/ 2147483647 h 16384"/>
                    <a:gd name="T70" fmla="*/ 2147483647 w 16384"/>
                    <a:gd name="T71" fmla="*/ 2147483647 h 16384"/>
                    <a:gd name="T72" fmla="*/ 2147483647 w 16384"/>
                    <a:gd name="T73" fmla="*/ 2147483647 h 16384"/>
                    <a:gd name="T74" fmla="*/ 2147483647 w 16384"/>
                    <a:gd name="T75" fmla="*/ 0 h 16384"/>
                    <a:gd name="T76" fmla="*/ 2147483647 w 16384"/>
                    <a:gd name="T77" fmla="*/ 2147483647 h 16384"/>
                    <a:gd name="T78" fmla="*/ 2147483647 w 16384"/>
                    <a:gd name="T79" fmla="*/ 2147483647 h 16384"/>
                    <a:gd name="T80" fmla="*/ 2147483647 w 16384"/>
                    <a:gd name="T81" fmla="*/ 2147483647 h 16384"/>
                    <a:gd name="T82" fmla="*/ 2147483647 w 16384"/>
                    <a:gd name="T83" fmla="*/ 2147483647 h 16384"/>
                    <a:gd name="T84" fmla="*/ 2147483647 w 16384"/>
                    <a:gd name="T85" fmla="*/ 2147483647 h 16384"/>
                    <a:gd name="T86" fmla="*/ 2147483647 w 16384"/>
                    <a:gd name="T87" fmla="*/ 2147483647 h 16384"/>
                    <a:gd name="T88" fmla="*/ 2147483647 w 16384"/>
                    <a:gd name="T89" fmla="*/ 2147483647 h 16384"/>
                    <a:gd name="T90" fmla="*/ 2147483647 w 16384"/>
                    <a:gd name="T91" fmla="*/ 2147483647 h 16384"/>
                    <a:gd name="T92" fmla="*/ 2147483647 w 16384"/>
                    <a:gd name="T93" fmla="*/ 2147483647 h 16384"/>
                    <a:gd name="T94" fmla="*/ 2147483647 w 16384"/>
                    <a:gd name="T95" fmla="*/ 2147483647 h 16384"/>
                    <a:gd name="T96" fmla="*/ 2147483647 w 16384"/>
                    <a:gd name="T97" fmla="*/ 2147483647 h 16384"/>
                    <a:gd name="T98" fmla="*/ 2147483647 w 16384"/>
                    <a:gd name="T99" fmla="*/ 2147483647 h 16384"/>
                    <a:gd name="T100" fmla="*/ 2147483647 w 16384"/>
                    <a:gd name="T101" fmla="*/ 2147483647 h 16384"/>
                    <a:gd name="T102" fmla="*/ 2147483647 w 16384"/>
                    <a:gd name="T103" fmla="*/ 2147483647 h 16384"/>
                    <a:gd name="T104" fmla="*/ 2147483647 w 16384"/>
                    <a:gd name="T105" fmla="*/ 2147483647 h 16384"/>
                    <a:gd name="T106" fmla="*/ 2147483647 w 16384"/>
                    <a:gd name="T107" fmla="*/ 2147483647 h 16384"/>
                    <a:gd name="T108" fmla="*/ 2147483647 w 16384"/>
                    <a:gd name="T109" fmla="*/ 2147483647 h 16384"/>
                    <a:gd name="T110" fmla="*/ 2147483647 w 16384"/>
                    <a:gd name="T111" fmla="*/ 2147483647 h 16384"/>
                    <a:gd name="T112" fmla="*/ 2147483647 w 16384"/>
                    <a:gd name="T113" fmla="*/ 2147483647 h 16384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w 16384"/>
                    <a:gd name="T172" fmla="*/ 0 h 16384"/>
                    <a:gd name="T173" fmla="*/ 16384 w 16384"/>
                    <a:gd name="T174" fmla="*/ 16384 h 16384"/>
                  </a:gdLst>
                  <a:ahLst/>
                  <a:cxnLst>
                    <a:cxn ang="T114">
                      <a:pos x="T0" y="T1"/>
                    </a:cxn>
                    <a:cxn ang="T115">
                      <a:pos x="T2" y="T3"/>
                    </a:cxn>
                    <a:cxn ang="T116">
                      <a:pos x="T4" y="T5"/>
                    </a:cxn>
                    <a:cxn ang="T117">
                      <a:pos x="T6" y="T7"/>
                    </a:cxn>
                    <a:cxn ang="T118">
                      <a:pos x="T8" y="T9"/>
                    </a:cxn>
                    <a:cxn ang="T119">
                      <a:pos x="T10" y="T11"/>
                    </a:cxn>
                    <a:cxn ang="T120">
                      <a:pos x="T12" y="T13"/>
                    </a:cxn>
                    <a:cxn ang="T121">
                      <a:pos x="T14" y="T15"/>
                    </a:cxn>
                    <a:cxn ang="T122">
                      <a:pos x="T16" y="T17"/>
                    </a:cxn>
                    <a:cxn ang="T123">
                      <a:pos x="T18" y="T19"/>
                    </a:cxn>
                    <a:cxn ang="T124">
                      <a:pos x="T20" y="T21"/>
                    </a:cxn>
                    <a:cxn ang="T125">
                      <a:pos x="T22" y="T23"/>
                    </a:cxn>
                    <a:cxn ang="T126">
                      <a:pos x="T24" y="T25"/>
                    </a:cxn>
                    <a:cxn ang="T127">
                      <a:pos x="T26" y="T27"/>
                    </a:cxn>
                    <a:cxn ang="T128">
                      <a:pos x="T28" y="T29"/>
                    </a:cxn>
                    <a:cxn ang="T129">
                      <a:pos x="T30" y="T31"/>
                    </a:cxn>
                    <a:cxn ang="T130">
                      <a:pos x="T32" y="T33"/>
                    </a:cxn>
                    <a:cxn ang="T131">
                      <a:pos x="T34" y="T35"/>
                    </a:cxn>
                    <a:cxn ang="T132">
                      <a:pos x="T36" y="T37"/>
                    </a:cxn>
                    <a:cxn ang="T133">
                      <a:pos x="T38" y="T39"/>
                    </a:cxn>
                    <a:cxn ang="T134">
                      <a:pos x="T40" y="T41"/>
                    </a:cxn>
                    <a:cxn ang="T135">
                      <a:pos x="T42" y="T43"/>
                    </a:cxn>
                    <a:cxn ang="T136">
                      <a:pos x="T44" y="T45"/>
                    </a:cxn>
                    <a:cxn ang="T137">
                      <a:pos x="T46" y="T47"/>
                    </a:cxn>
                    <a:cxn ang="T138">
                      <a:pos x="T48" y="T49"/>
                    </a:cxn>
                    <a:cxn ang="T139">
                      <a:pos x="T50" y="T51"/>
                    </a:cxn>
                    <a:cxn ang="T140">
                      <a:pos x="T52" y="T53"/>
                    </a:cxn>
                    <a:cxn ang="T141">
                      <a:pos x="T54" y="T55"/>
                    </a:cxn>
                    <a:cxn ang="T142">
                      <a:pos x="T56" y="T57"/>
                    </a:cxn>
                    <a:cxn ang="T143">
                      <a:pos x="T58" y="T59"/>
                    </a:cxn>
                    <a:cxn ang="T144">
                      <a:pos x="T60" y="T61"/>
                    </a:cxn>
                    <a:cxn ang="T145">
                      <a:pos x="T62" y="T63"/>
                    </a:cxn>
                    <a:cxn ang="T146">
                      <a:pos x="T64" y="T65"/>
                    </a:cxn>
                    <a:cxn ang="T147">
                      <a:pos x="T66" y="T67"/>
                    </a:cxn>
                    <a:cxn ang="T148">
                      <a:pos x="T68" y="T69"/>
                    </a:cxn>
                    <a:cxn ang="T149">
                      <a:pos x="T70" y="T71"/>
                    </a:cxn>
                    <a:cxn ang="T150">
                      <a:pos x="T72" y="T73"/>
                    </a:cxn>
                    <a:cxn ang="T151">
                      <a:pos x="T74" y="T75"/>
                    </a:cxn>
                    <a:cxn ang="T152">
                      <a:pos x="T76" y="T77"/>
                    </a:cxn>
                    <a:cxn ang="T153">
                      <a:pos x="T78" y="T79"/>
                    </a:cxn>
                    <a:cxn ang="T154">
                      <a:pos x="T80" y="T81"/>
                    </a:cxn>
                    <a:cxn ang="T155">
                      <a:pos x="T82" y="T83"/>
                    </a:cxn>
                    <a:cxn ang="T156">
                      <a:pos x="T84" y="T85"/>
                    </a:cxn>
                    <a:cxn ang="T157">
                      <a:pos x="T86" y="T87"/>
                    </a:cxn>
                    <a:cxn ang="T158">
                      <a:pos x="T88" y="T89"/>
                    </a:cxn>
                    <a:cxn ang="T159">
                      <a:pos x="T90" y="T91"/>
                    </a:cxn>
                    <a:cxn ang="T160">
                      <a:pos x="T92" y="T93"/>
                    </a:cxn>
                    <a:cxn ang="T161">
                      <a:pos x="T94" y="T95"/>
                    </a:cxn>
                    <a:cxn ang="T162">
                      <a:pos x="T96" y="T97"/>
                    </a:cxn>
                    <a:cxn ang="T163">
                      <a:pos x="T98" y="T99"/>
                    </a:cxn>
                    <a:cxn ang="T164">
                      <a:pos x="T100" y="T101"/>
                    </a:cxn>
                    <a:cxn ang="T165">
                      <a:pos x="T102" y="T103"/>
                    </a:cxn>
                    <a:cxn ang="T166">
                      <a:pos x="T104" y="T105"/>
                    </a:cxn>
                    <a:cxn ang="T167">
                      <a:pos x="T106" y="T107"/>
                    </a:cxn>
                    <a:cxn ang="T168">
                      <a:pos x="T108" y="T109"/>
                    </a:cxn>
                    <a:cxn ang="T169">
                      <a:pos x="T110" y="T111"/>
                    </a:cxn>
                    <a:cxn ang="T170">
                      <a:pos x="T112" y="T113"/>
                    </a:cxn>
                  </a:cxnLst>
                  <a:rect l="T171" t="T172" r="T173" b="T174"/>
                  <a:pathLst>
                    <a:path w="16384" h="16384">
                      <a:moveTo>
                        <a:pt x="9495" y="14112"/>
                      </a:moveTo>
                      <a:lnTo>
                        <a:pt x="10069" y="13906"/>
                      </a:lnTo>
                      <a:lnTo>
                        <a:pt x="10687" y="13699"/>
                      </a:lnTo>
                      <a:lnTo>
                        <a:pt x="11217" y="13493"/>
                      </a:lnTo>
                      <a:lnTo>
                        <a:pt x="11835" y="13355"/>
                      </a:lnTo>
                      <a:lnTo>
                        <a:pt x="12719" y="13080"/>
                      </a:lnTo>
                      <a:lnTo>
                        <a:pt x="13072" y="12942"/>
                      </a:lnTo>
                      <a:lnTo>
                        <a:pt x="13867" y="12667"/>
                      </a:lnTo>
                      <a:lnTo>
                        <a:pt x="13955" y="12598"/>
                      </a:lnTo>
                      <a:lnTo>
                        <a:pt x="13999" y="12460"/>
                      </a:lnTo>
                      <a:lnTo>
                        <a:pt x="13999" y="12322"/>
                      </a:lnTo>
                      <a:lnTo>
                        <a:pt x="14043" y="12254"/>
                      </a:lnTo>
                      <a:lnTo>
                        <a:pt x="14132" y="12116"/>
                      </a:lnTo>
                      <a:lnTo>
                        <a:pt x="14220" y="11978"/>
                      </a:lnTo>
                      <a:lnTo>
                        <a:pt x="14264" y="11909"/>
                      </a:lnTo>
                      <a:lnTo>
                        <a:pt x="14397" y="11841"/>
                      </a:lnTo>
                      <a:lnTo>
                        <a:pt x="14529" y="11772"/>
                      </a:lnTo>
                      <a:lnTo>
                        <a:pt x="14618" y="11772"/>
                      </a:lnTo>
                      <a:lnTo>
                        <a:pt x="14750" y="11841"/>
                      </a:lnTo>
                      <a:lnTo>
                        <a:pt x="14838" y="11909"/>
                      </a:lnTo>
                      <a:lnTo>
                        <a:pt x="14927" y="11772"/>
                      </a:lnTo>
                      <a:lnTo>
                        <a:pt x="15015" y="11634"/>
                      </a:lnTo>
                      <a:lnTo>
                        <a:pt x="15147" y="11565"/>
                      </a:lnTo>
                      <a:lnTo>
                        <a:pt x="15280" y="11496"/>
                      </a:lnTo>
                      <a:lnTo>
                        <a:pt x="15324" y="11427"/>
                      </a:lnTo>
                      <a:lnTo>
                        <a:pt x="15457" y="11290"/>
                      </a:lnTo>
                      <a:lnTo>
                        <a:pt x="15457" y="11221"/>
                      </a:lnTo>
                      <a:lnTo>
                        <a:pt x="15501" y="11083"/>
                      </a:lnTo>
                      <a:lnTo>
                        <a:pt x="15501" y="10946"/>
                      </a:lnTo>
                      <a:lnTo>
                        <a:pt x="15501" y="10808"/>
                      </a:lnTo>
                      <a:lnTo>
                        <a:pt x="15589" y="10670"/>
                      </a:lnTo>
                      <a:lnTo>
                        <a:pt x="15677" y="10533"/>
                      </a:lnTo>
                      <a:lnTo>
                        <a:pt x="15810" y="10188"/>
                      </a:lnTo>
                      <a:lnTo>
                        <a:pt x="15942" y="9982"/>
                      </a:lnTo>
                      <a:lnTo>
                        <a:pt x="16075" y="9844"/>
                      </a:lnTo>
                      <a:lnTo>
                        <a:pt x="16119" y="9706"/>
                      </a:lnTo>
                      <a:lnTo>
                        <a:pt x="16207" y="9638"/>
                      </a:lnTo>
                      <a:lnTo>
                        <a:pt x="16296" y="9500"/>
                      </a:lnTo>
                      <a:lnTo>
                        <a:pt x="16384" y="9431"/>
                      </a:lnTo>
                      <a:lnTo>
                        <a:pt x="16340" y="9362"/>
                      </a:lnTo>
                      <a:lnTo>
                        <a:pt x="16163" y="9018"/>
                      </a:lnTo>
                      <a:lnTo>
                        <a:pt x="16075" y="9018"/>
                      </a:lnTo>
                      <a:lnTo>
                        <a:pt x="16031" y="8880"/>
                      </a:lnTo>
                      <a:lnTo>
                        <a:pt x="15942" y="8812"/>
                      </a:lnTo>
                      <a:lnTo>
                        <a:pt x="15854" y="8674"/>
                      </a:lnTo>
                      <a:lnTo>
                        <a:pt x="15810" y="8674"/>
                      </a:lnTo>
                      <a:lnTo>
                        <a:pt x="15722" y="8605"/>
                      </a:lnTo>
                      <a:lnTo>
                        <a:pt x="15677" y="8467"/>
                      </a:lnTo>
                      <a:lnTo>
                        <a:pt x="15545" y="8261"/>
                      </a:lnTo>
                      <a:lnTo>
                        <a:pt x="15412" y="8261"/>
                      </a:lnTo>
                      <a:lnTo>
                        <a:pt x="15324" y="8192"/>
                      </a:lnTo>
                      <a:lnTo>
                        <a:pt x="15280" y="8123"/>
                      </a:lnTo>
                      <a:lnTo>
                        <a:pt x="15236" y="7985"/>
                      </a:lnTo>
                      <a:lnTo>
                        <a:pt x="15192" y="7572"/>
                      </a:lnTo>
                      <a:lnTo>
                        <a:pt x="15147" y="7504"/>
                      </a:lnTo>
                      <a:lnTo>
                        <a:pt x="15015" y="7504"/>
                      </a:lnTo>
                      <a:lnTo>
                        <a:pt x="14971" y="7504"/>
                      </a:lnTo>
                      <a:lnTo>
                        <a:pt x="14883" y="7572"/>
                      </a:lnTo>
                      <a:lnTo>
                        <a:pt x="14794" y="7435"/>
                      </a:lnTo>
                      <a:lnTo>
                        <a:pt x="14750" y="7366"/>
                      </a:lnTo>
                      <a:lnTo>
                        <a:pt x="14750" y="7159"/>
                      </a:lnTo>
                      <a:lnTo>
                        <a:pt x="14794" y="6953"/>
                      </a:lnTo>
                      <a:lnTo>
                        <a:pt x="14706" y="6884"/>
                      </a:lnTo>
                      <a:lnTo>
                        <a:pt x="14706" y="6609"/>
                      </a:lnTo>
                      <a:lnTo>
                        <a:pt x="14750" y="6471"/>
                      </a:lnTo>
                      <a:lnTo>
                        <a:pt x="14838" y="6402"/>
                      </a:lnTo>
                      <a:lnTo>
                        <a:pt x="14883" y="6333"/>
                      </a:lnTo>
                      <a:lnTo>
                        <a:pt x="14883" y="5989"/>
                      </a:lnTo>
                      <a:lnTo>
                        <a:pt x="14927" y="5920"/>
                      </a:lnTo>
                      <a:lnTo>
                        <a:pt x="14927" y="5714"/>
                      </a:lnTo>
                      <a:lnTo>
                        <a:pt x="14838" y="5576"/>
                      </a:lnTo>
                      <a:lnTo>
                        <a:pt x="14750" y="5507"/>
                      </a:lnTo>
                      <a:lnTo>
                        <a:pt x="14706" y="5438"/>
                      </a:lnTo>
                      <a:lnTo>
                        <a:pt x="14706" y="5301"/>
                      </a:lnTo>
                      <a:lnTo>
                        <a:pt x="14706" y="5232"/>
                      </a:lnTo>
                      <a:lnTo>
                        <a:pt x="14794" y="5025"/>
                      </a:lnTo>
                      <a:lnTo>
                        <a:pt x="14927" y="4819"/>
                      </a:lnTo>
                      <a:lnTo>
                        <a:pt x="14971" y="4612"/>
                      </a:lnTo>
                      <a:lnTo>
                        <a:pt x="14971" y="4543"/>
                      </a:lnTo>
                      <a:lnTo>
                        <a:pt x="15059" y="4406"/>
                      </a:lnTo>
                      <a:lnTo>
                        <a:pt x="15103" y="4268"/>
                      </a:lnTo>
                      <a:lnTo>
                        <a:pt x="15147" y="3993"/>
                      </a:lnTo>
                      <a:lnTo>
                        <a:pt x="15192" y="3717"/>
                      </a:lnTo>
                      <a:lnTo>
                        <a:pt x="15192" y="3511"/>
                      </a:lnTo>
                      <a:lnTo>
                        <a:pt x="15280" y="3235"/>
                      </a:lnTo>
                      <a:lnTo>
                        <a:pt x="15368" y="3098"/>
                      </a:lnTo>
                      <a:lnTo>
                        <a:pt x="15457" y="2891"/>
                      </a:lnTo>
                      <a:lnTo>
                        <a:pt x="15412" y="2754"/>
                      </a:lnTo>
                      <a:lnTo>
                        <a:pt x="15324" y="2685"/>
                      </a:lnTo>
                      <a:lnTo>
                        <a:pt x="15280" y="2547"/>
                      </a:lnTo>
                      <a:lnTo>
                        <a:pt x="15147" y="2616"/>
                      </a:lnTo>
                      <a:lnTo>
                        <a:pt x="15059" y="2616"/>
                      </a:lnTo>
                      <a:lnTo>
                        <a:pt x="14927" y="2547"/>
                      </a:lnTo>
                      <a:lnTo>
                        <a:pt x="14794" y="2478"/>
                      </a:lnTo>
                      <a:lnTo>
                        <a:pt x="14706" y="2478"/>
                      </a:lnTo>
                      <a:lnTo>
                        <a:pt x="14618" y="2409"/>
                      </a:lnTo>
                      <a:lnTo>
                        <a:pt x="14573" y="2272"/>
                      </a:lnTo>
                      <a:lnTo>
                        <a:pt x="14485" y="2065"/>
                      </a:lnTo>
                      <a:lnTo>
                        <a:pt x="14397" y="1928"/>
                      </a:lnTo>
                      <a:lnTo>
                        <a:pt x="14353" y="1859"/>
                      </a:lnTo>
                      <a:lnTo>
                        <a:pt x="14308" y="1308"/>
                      </a:lnTo>
                      <a:lnTo>
                        <a:pt x="14308" y="1170"/>
                      </a:lnTo>
                      <a:lnTo>
                        <a:pt x="14220" y="1101"/>
                      </a:lnTo>
                      <a:lnTo>
                        <a:pt x="14132" y="964"/>
                      </a:lnTo>
                      <a:lnTo>
                        <a:pt x="14088" y="826"/>
                      </a:lnTo>
                      <a:lnTo>
                        <a:pt x="14043" y="757"/>
                      </a:lnTo>
                      <a:lnTo>
                        <a:pt x="13955" y="688"/>
                      </a:lnTo>
                      <a:lnTo>
                        <a:pt x="13911" y="620"/>
                      </a:lnTo>
                      <a:lnTo>
                        <a:pt x="13778" y="688"/>
                      </a:lnTo>
                      <a:lnTo>
                        <a:pt x="13690" y="688"/>
                      </a:lnTo>
                      <a:lnTo>
                        <a:pt x="13646" y="551"/>
                      </a:lnTo>
                      <a:lnTo>
                        <a:pt x="13558" y="275"/>
                      </a:lnTo>
                      <a:lnTo>
                        <a:pt x="13469" y="207"/>
                      </a:lnTo>
                      <a:lnTo>
                        <a:pt x="13337" y="0"/>
                      </a:lnTo>
                      <a:lnTo>
                        <a:pt x="13204" y="69"/>
                      </a:lnTo>
                      <a:lnTo>
                        <a:pt x="12984" y="138"/>
                      </a:lnTo>
                      <a:lnTo>
                        <a:pt x="11394" y="688"/>
                      </a:lnTo>
                      <a:lnTo>
                        <a:pt x="11305" y="688"/>
                      </a:lnTo>
                      <a:lnTo>
                        <a:pt x="10246" y="1033"/>
                      </a:lnTo>
                      <a:lnTo>
                        <a:pt x="9274" y="1377"/>
                      </a:lnTo>
                      <a:lnTo>
                        <a:pt x="9186" y="1377"/>
                      </a:lnTo>
                      <a:lnTo>
                        <a:pt x="7507" y="1928"/>
                      </a:lnTo>
                      <a:lnTo>
                        <a:pt x="7154" y="1996"/>
                      </a:lnTo>
                      <a:lnTo>
                        <a:pt x="5962" y="2341"/>
                      </a:lnTo>
                      <a:lnTo>
                        <a:pt x="5697" y="2409"/>
                      </a:lnTo>
                      <a:lnTo>
                        <a:pt x="4151" y="2891"/>
                      </a:lnTo>
                      <a:lnTo>
                        <a:pt x="3754" y="2960"/>
                      </a:lnTo>
                      <a:lnTo>
                        <a:pt x="2341" y="3373"/>
                      </a:lnTo>
                      <a:lnTo>
                        <a:pt x="1943" y="3442"/>
                      </a:lnTo>
                      <a:lnTo>
                        <a:pt x="1811" y="2065"/>
                      </a:lnTo>
                      <a:lnTo>
                        <a:pt x="1546" y="2341"/>
                      </a:lnTo>
                      <a:lnTo>
                        <a:pt x="1281" y="2685"/>
                      </a:lnTo>
                      <a:lnTo>
                        <a:pt x="1060" y="3029"/>
                      </a:lnTo>
                      <a:lnTo>
                        <a:pt x="972" y="3029"/>
                      </a:lnTo>
                      <a:lnTo>
                        <a:pt x="1016" y="2891"/>
                      </a:lnTo>
                      <a:lnTo>
                        <a:pt x="1016" y="2822"/>
                      </a:lnTo>
                      <a:lnTo>
                        <a:pt x="972" y="2822"/>
                      </a:lnTo>
                      <a:lnTo>
                        <a:pt x="927" y="2891"/>
                      </a:lnTo>
                      <a:lnTo>
                        <a:pt x="839" y="3098"/>
                      </a:lnTo>
                      <a:lnTo>
                        <a:pt x="795" y="3235"/>
                      </a:lnTo>
                      <a:lnTo>
                        <a:pt x="707" y="3304"/>
                      </a:lnTo>
                      <a:lnTo>
                        <a:pt x="662" y="3442"/>
                      </a:lnTo>
                      <a:lnTo>
                        <a:pt x="442" y="3786"/>
                      </a:lnTo>
                      <a:lnTo>
                        <a:pt x="221" y="3924"/>
                      </a:lnTo>
                      <a:lnTo>
                        <a:pt x="132" y="4062"/>
                      </a:lnTo>
                      <a:lnTo>
                        <a:pt x="0" y="4130"/>
                      </a:lnTo>
                      <a:lnTo>
                        <a:pt x="44" y="4819"/>
                      </a:lnTo>
                      <a:lnTo>
                        <a:pt x="265" y="6678"/>
                      </a:lnTo>
                      <a:lnTo>
                        <a:pt x="265" y="6815"/>
                      </a:lnTo>
                      <a:lnTo>
                        <a:pt x="486" y="8674"/>
                      </a:lnTo>
                      <a:lnTo>
                        <a:pt x="486" y="8743"/>
                      </a:lnTo>
                      <a:lnTo>
                        <a:pt x="618" y="9913"/>
                      </a:lnTo>
                      <a:lnTo>
                        <a:pt x="662" y="10188"/>
                      </a:lnTo>
                      <a:lnTo>
                        <a:pt x="751" y="11359"/>
                      </a:lnTo>
                      <a:lnTo>
                        <a:pt x="839" y="12254"/>
                      </a:lnTo>
                      <a:lnTo>
                        <a:pt x="883" y="12667"/>
                      </a:lnTo>
                      <a:lnTo>
                        <a:pt x="1060" y="13975"/>
                      </a:lnTo>
                      <a:lnTo>
                        <a:pt x="1104" y="14801"/>
                      </a:lnTo>
                      <a:lnTo>
                        <a:pt x="1148" y="15145"/>
                      </a:lnTo>
                      <a:lnTo>
                        <a:pt x="1281" y="16384"/>
                      </a:lnTo>
                      <a:lnTo>
                        <a:pt x="1590" y="16315"/>
                      </a:lnTo>
                      <a:lnTo>
                        <a:pt x="3003" y="15902"/>
                      </a:lnTo>
                      <a:lnTo>
                        <a:pt x="3312" y="15833"/>
                      </a:lnTo>
                      <a:lnTo>
                        <a:pt x="4019" y="15696"/>
                      </a:lnTo>
                      <a:lnTo>
                        <a:pt x="4284" y="15558"/>
                      </a:lnTo>
                      <a:lnTo>
                        <a:pt x="5564" y="15214"/>
                      </a:lnTo>
                      <a:lnTo>
                        <a:pt x="5874" y="15145"/>
                      </a:lnTo>
                      <a:lnTo>
                        <a:pt x="7022" y="14801"/>
                      </a:lnTo>
                      <a:lnTo>
                        <a:pt x="7154" y="14801"/>
                      </a:lnTo>
                      <a:lnTo>
                        <a:pt x="7772" y="14594"/>
                      </a:lnTo>
                      <a:lnTo>
                        <a:pt x="9451" y="14112"/>
                      </a:lnTo>
                      <a:lnTo>
                        <a:pt x="9495" y="14112"/>
                      </a:lnTo>
                      <a:close/>
                    </a:path>
                  </a:pathLst>
                </a:custGeom>
                <a:solidFill>
                  <a:srgbClr val="FFFF00"/>
                </a:solidFill>
                <a:ln w="9525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defTabSz="121917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57" name="Rhode_Island">
                  <a:extLst>
                    <a:ext uri="{FF2B5EF4-FFF2-40B4-BE49-F238E27FC236}">
                      <a16:creationId xmlns:a16="http://schemas.microsoft.com/office/drawing/2014/main" id="{882DD509-3D9B-3DA0-EB62-DDBE12AE613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9184600" y="5114925"/>
                  <a:ext cx="457200" cy="561975"/>
                </a:xfrm>
                <a:custGeom>
                  <a:avLst/>
                  <a:gdLst>
                    <a:gd name="T0" fmla="*/ 2147483647 w 16384"/>
                    <a:gd name="T1" fmla="*/ 2147483647 h 16384"/>
                    <a:gd name="T2" fmla="*/ 2147483647 w 16384"/>
                    <a:gd name="T3" fmla="*/ 2147483647 h 16384"/>
                    <a:gd name="T4" fmla="*/ 2147483647 w 16384"/>
                    <a:gd name="T5" fmla="*/ 2147483647 h 16384"/>
                    <a:gd name="T6" fmla="*/ 2147483647 w 16384"/>
                    <a:gd name="T7" fmla="*/ 2147483647 h 16384"/>
                    <a:gd name="T8" fmla="*/ 2147483647 w 16384"/>
                    <a:gd name="T9" fmla="*/ 2147483647 h 16384"/>
                    <a:gd name="T10" fmla="*/ 2147483647 w 16384"/>
                    <a:gd name="T11" fmla="*/ 2147483647 h 16384"/>
                    <a:gd name="T12" fmla="*/ 2147483647 w 16384"/>
                    <a:gd name="T13" fmla="*/ 2147483647 h 16384"/>
                    <a:gd name="T14" fmla="*/ 2147483647 w 16384"/>
                    <a:gd name="T15" fmla="*/ 2147483647 h 16384"/>
                    <a:gd name="T16" fmla="*/ 2147483647 w 16384"/>
                    <a:gd name="T17" fmla="*/ 2147483647 h 16384"/>
                    <a:gd name="T18" fmla="*/ 2147483647 w 16384"/>
                    <a:gd name="T19" fmla="*/ 2147483647 h 16384"/>
                    <a:gd name="T20" fmla="*/ 2147483647 w 16384"/>
                    <a:gd name="T21" fmla="*/ 2147483647 h 16384"/>
                    <a:gd name="T22" fmla="*/ 2147483647 w 16384"/>
                    <a:gd name="T23" fmla="*/ 2147483647 h 16384"/>
                    <a:gd name="T24" fmla="*/ 2147483647 w 16384"/>
                    <a:gd name="T25" fmla="*/ 2147483647 h 16384"/>
                    <a:gd name="T26" fmla="*/ 2147483647 w 16384"/>
                    <a:gd name="T27" fmla="*/ 2147483647 h 16384"/>
                    <a:gd name="T28" fmla="*/ 2147483647 w 16384"/>
                    <a:gd name="T29" fmla="*/ 2147483647 h 16384"/>
                    <a:gd name="T30" fmla="*/ 2147483647 w 16384"/>
                    <a:gd name="T31" fmla="*/ 2147483647 h 16384"/>
                    <a:gd name="T32" fmla="*/ 2147483647 w 16384"/>
                    <a:gd name="T33" fmla="*/ 2147483647 h 16384"/>
                    <a:gd name="T34" fmla="*/ 2147483647 w 16384"/>
                    <a:gd name="T35" fmla="*/ 2147483647 h 16384"/>
                    <a:gd name="T36" fmla="*/ 2147483647 w 16384"/>
                    <a:gd name="T37" fmla="*/ 2147483647 h 16384"/>
                    <a:gd name="T38" fmla="*/ 2147483647 w 16384"/>
                    <a:gd name="T39" fmla="*/ 2147483647 h 16384"/>
                    <a:gd name="T40" fmla="*/ 2147483647 w 16384"/>
                    <a:gd name="T41" fmla="*/ 2147483647 h 16384"/>
                    <a:gd name="T42" fmla="*/ 2147483647 w 16384"/>
                    <a:gd name="T43" fmla="*/ 2147483647 h 16384"/>
                    <a:gd name="T44" fmla="*/ 2147483647 w 16384"/>
                    <a:gd name="T45" fmla="*/ 2147483647 h 16384"/>
                    <a:gd name="T46" fmla="*/ 2147483647 w 16384"/>
                    <a:gd name="T47" fmla="*/ 2147483647 h 16384"/>
                    <a:gd name="T48" fmla="*/ 2147483647 w 16384"/>
                    <a:gd name="T49" fmla="*/ 2147483647 h 16384"/>
                    <a:gd name="T50" fmla="*/ 2147483647 w 16384"/>
                    <a:gd name="T51" fmla="*/ 2147483647 h 16384"/>
                    <a:gd name="T52" fmla="*/ 2147483647 w 16384"/>
                    <a:gd name="T53" fmla="*/ 2147483647 h 16384"/>
                    <a:gd name="T54" fmla="*/ 2147483647 w 16384"/>
                    <a:gd name="T55" fmla="*/ 2147483647 h 16384"/>
                    <a:gd name="T56" fmla="*/ 2147483647 w 16384"/>
                    <a:gd name="T57" fmla="*/ 2147483647 h 16384"/>
                    <a:gd name="T58" fmla="*/ 2147483647 w 16384"/>
                    <a:gd name="T59" fmla="*/ 2147483647 h 16384"/>
                    <a:gd name="T60" fmla="*/ 2147483647 w 16384"/>
                    <a:gd name="T61" fmla="*/ 2147483647 h 16384"/>
                    <a:gd name="T62" fmla="*/ 2147483647 w 16384"/>
                    <a:gd name="T63" fmla="*/ 2147483647 h 16384"/>
                    <a:gd name="T64" fmla="*/ 2147483647 w 16384"/>
                    <a:gd name="T65" fmla="*/ 2147483647 h 16384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w 16384"/>
                    <a:gd name="T100" fmla="*/ 0 h 16384"/>
                    <a:gd name="T101" fmla="*/ 16384 w 16384"/>
                    <a:gd name="T102" fmla="*/ 16384 h 16384"/>
                  </a:gdLst>
                  <a:ahLst/>
                  <a:cxnLst>
                    <a:cxn ang="T66">
                      <a:pos x="T0" y="T1"/>
                    </a:cxn>
                    <a:cxn ang="T67">
                      <a:pos x="T2" y="T3"/>
                    </a:cxn>
                    <a:cxn ang="T68">
                      <a:pos x="T4" y="T5"/>
                    </a:cxn>
                    <a:cxn ang="T69">
                      <a:pos x="T6" y="T7"/>
                    </a:cxn>
                    <a:cxn ang="T70">
                      <a:pos x="T8" y="T9"/>
                    </a:cxn>
                    <a:cxn ang="T71">
                      <a:pos x="T10" y="T11"/>
                    </a:cxn>
                    <a:cxn ang="T72">
                      <a:pos x="T12" y="T13"/>
                    </a:cxn>
                    <a:cxn ang="T73">
                      <a:pos x="T14" y="T15"/>
                    </a:cxn>
                    <a:cxn ang="T74">
                      <a:pos x="T16" y="T17"/>
                    </a:cxn>
                    <a:cxn ang="T75">
                      <a:pos x="T18" y="T19"/>
                    </a:cxn>
                    <a:cxn ang="T76">
                      <a:pos x="T20" y="T21"/>
                    </a:cxn>
                    <a:cxn ang="T77">
                      <a:pos x="T22" y="T23"/>
                    </a:cxn>
                    <a:cxn ang="T78">
                      <a:pos x="T24" y="T25"/>
                    </a:cxn>
                    <a:cxn ang="T79">
                      <a:pos x="T26" y="T27"/>
                    </a:cxn>
                    <a:cxn ang="T80">
                      <a:pos x="T28" y="T29"/>
                    </a:cxn>
                    <a:cxn ang="T81">
                      <a:pos x="T30" y="T31"/>
                    </a:cxn>
                    <a:cxn ang="T82">
                      <a:pos x="T32" y="T33"/>
                    </a:cxn>
                    <a:cxn ang="T83">
                      <a:pos x="T34" y="T35"/>
                    </a:cxn>
                    <a:cxn ang="T84">
                      <a:pos x="T36" y="T37"/>
                    </a:cxn>
                    <a:cxn ang="T85">
                      <a:pos x="T38" y="T39"/>
                    </a:cxn>
                    <a:cxn ang="T86">
                      <a:pos x="T40" y="T41"/>
                    </a:cxn>
                    <a:cxn ang="T87">
                      <a:pos x="T42" y="T43"/>
                    </a:cxn>
                    <a:cxn ang="T88">
                      <a:pos x="T44" y="T45"/>
                    </a:cxn>
                    <a:cxn ang="T89">
                      <a:pos x="T46" y="T47"/>
                    </a:cxn>
                    <a:cxn ang="T90">
                      <a:pos x="T48" y="T49"/>
                    </a:cxn>
                    <a:cxn ang="T91">
                      <a:pos x="T50" y="T51"/>
                    </a:cxn>
                    <a:cxn ang="T92">
                      <a:pos x="T52" y="T53"/>
                    </a:cxn>
                    <a:cxn ang="T93">
                      <a:pos x="T54" y="T55"/>
                    </a:cxn>
                    <a:cxn ang="T94">
                      <a:pos x="T56" y="T57"/>
                    </a:cxn>
                    <a:cxn ang="T95">
                      <a:pos x="T58" y="T59"/>
                    </a:cxn>
                    <a:cxn ang="T96">
                      <a:pos x="T60" y="T61"/>
                    </a:cxn>
                    <a:cxn ang="T97">
                      <a:pos x="T62" y="T63"/>
                    </a:cxn>
                    <a:cxn ang="T98">
                      <a:pos x="T64" y="T65"/>
                    </a:cxn>
                  </a:cxnLst>
                  <a:rect l="T99" t="T100" r="T101" b="T102"/>
                  <a:pathLst>
                    <a:path w="16384" h="16384">
                      <a:moveTo>
                        <a:pt x="2675" y="10142"/>
                      </a:moveTo>
                      <a:lnTo>
                        <a:pt x="3678" y="13003"/>
                      </a:lnTo>
                      <a:lnTo>
                        <a:pt x="3678" y="13523"/>
                      </a:lnTo>
                      <a:lnTo>
                        <a:pt x="3678" y="13783"/>
                      </a:lnTo>
                      <a:lnTo>
                        <a:pt x="3009" y="14043"/>
                      </a:lnTo>
                      <a:lnTo>
                        <a:pt x="3009" y="14303"/>
                      </a:lnTo>
                      <a:lnTo>
                        <a:pt x="3009" y="14564"/>
                      </a:lnTo>
                      <a:lnTo>
                        <a:pt x="3344" y="15604"/>
                      </a:lnTo>
                      <a:lnTo>
                        <a:pt x="3344" y="16384"/>
                      </a:lnTo>
                      <a:lnTo>
                        <a:pt x="4347" y="16124"/>
                      </a:lnTo>
                      <a:lnTo>
                        <a:pt x="4347" y="15864"/>
                      </a:lnTo>
                      <a:lnTo>
                        <a:pt x="4681" y="15604"/>
                      </a:lnTo>
                      <a:lnTo>
                        <a:pt x="5350" y="15344"/>
                      </a:lnTo>
                      <a:lnTo>
                        <a:pt x="7356" y="14564"/>
                      </a:lnTo>
                      <a:lnTo>
                        <a:pt x="8694" y="13523"/>
                      </a:lnTo>
                      <a:lnTo>
                        <a:pt x="9028" y="13263"/>
                      </a:lnTo>
                      <a:lnTo>
                        <a:pt x="9697" y="12483"/>
                      </a:lnTo>
                      <a:lnTo>
                        <a:pt x="9697" y="13263"/>
                      </a:lnTo>
                      <a:lnTo>
                        <a:pt x="10031" y="13523"/>
                      </a:lnTo>
                      <a:lnTo>
                        <a:pt x="10365" y="13523"/>
                      </a:lnTo>
                      <a:lnTo>
                        <a:pt x="10365" y="13003"/>
                      </a:lnTo>
                      <a:lnTo>
                        <a:pt x="10031" y="12483"/>
                      </a:lnTo>
                      <a:lnTo>
                        <a:pt x="10031" y="11963"/>
                      </a:lnTo>
                      <a:lnTo>
                        <a:pt x="10700" y="11443"/>
                      </a:lnTo>
                      <a:lnTo>
                        <a:pt x="10365" y="10923"/>
                      </a:lnTo>
                      <a:lnTo>
                        <a:pt x="9697" y="9622"/>
                      </a:lnTo>
                      <a:lnTo>
                        <a:pt x="9362" y="9362"/>
                      </a:lnTo>
                      <a:lnTo>
                        <a:pt x="10031" y="8582"/>
                      </a:lnTo>
                      <a:lnTo>
                        <a:pt x="10031" y="8062"/>
                      </a:lnTo>
                      <a:lnTo>
                        <a:pt x="10031" y="7542"/>
                      </a:lnTo>
                      <a:lnTo>
                        <a:pt x="10700" y="7282"/>
                      </a:lnTo>
                      <a:lnTo>
                        <a:pt x="11034" y="7282"/>
                      </a:lnTo>
                      <a:lnTo>
                        <a:pt x="11703" y="7802"/>
                      </a:lnTo>
                      <a:lnTo>
                        <a:pt x="12037" y="8582"/>
                      </a:lnTo>
                      <a:lnTo>
                        <a:pt x="12372" y="9882"/>
                      </a:lnTo>
                      <a:lnTo>
                        <a:pt x="12372" y="11183"/>
                      </a:lnTo>
                      <a:lnTo>
                        <a:pt x="12706" y="11703"/>
                      </a:lnTo>
                      <a:lnTo>
                        <a:pt x="13375" y="11703"/>
                      </a:lnTo>
                      <a:lnTo>
                        <a:pt x="14378" y="11443"/>
                      </a:lnTo>
                      <a:lnTo>
                        <a:pt x="14378" y="11183"/>
                      </a:lnTo>
                      <a:lnTo>
                        <a:pt x="14712" y="10663"/>
                      </a:lnTo>
                      <a:lnTo>
                        <a:pt x="14043" y="9882"/>
                      </a:lnTo>
                      <a:lnTo>
                        <a:pt x="14378" y="9622"/>
                      </a:lnTo>
                      <a:lnTo>
                        <a:pt x="14712" y="9622"/>
                      </a:lnTo>
                      <a:lnTo>
                        <a:pt x="15381" y="10663"/>
                      </a:lnTo>
                      <a:lnTo>
                        <a:pt x="15715" y="10142"/>
                      </a:lnTo>
                      <a:lnTo>
                        <a:pt x="16384" y="9362"/>
                      </a:lnTo>
                      <a:lnTo>
                        <a:pt x="16384" y="8582"/>
                      </a:lnTo>
                      <a:lnTo>
                        <a:pt x="15047" y="6502"/>
                      </a:lnTo>
                      <a:lnTo>
                        <a:pt x="14378" y="5981"/>
                      </a:lnTo>
                      <a:lnTo>
                        <a:pt x="14043" y="5461"/>
                      </a:lnTo>
                      <a:lnTo>
                        <a:pt x="13709" y="4941"/>
                      </a:lnTo>
                      <a:lnTo>
                        <a:pt x="13040" y="4941"/>
                      </a:lnTo>
                      <a:lnTo>
                        <a:pt x="11703" y="4941"/>
                      </a:lnTo>
                      <a:lnTo>
                        <a:pt x="10700" y="4941"/>
                      </a:lnTo>
                      <a:lnTo>
                        <a:pt x="10031" y="4421"/>
                      </a:lnTo>
                      <a:lnTo>
                        <a:pt x="10031" y="4161"/>
                      </a:lnTo>
                      <a:lnTo>
                        <a:pt x="9362" y="2341"/>
                      </a:lnTo>
                      <a:lnTo>
                        <a:pt x="8694" y="2341"/>
                      </a:lnTo>
                      <a:lnTo>
                        <a:pt x="8025" y="780"/>
                      </a:lnTo>
                      <a:lnTo>
                        <a:pt x="7690" y="0"/>
                      </a:lnTo>
                      <a:lnTo>
                        <a:pt x="5684" y="520"/>
                      </a:lnTo>
                      <a:lnTo>
                        <a:pt x="0" y="2081"/>
                      </a:lnTo>
                      <a:lnTo>
                        <a:pt x="2006" y="7542"/>
                      </a:lnTo>
                      <a:lnTo>
                        <a:pt x="2675" y="9362"/>
                      </a:lnTo>
                      <a:lnTo>
                        <a:pt x="2675" y="10142"/>
                      </a:lnTo>
                      <a:close/>
                    </a:path>
                  </a:pathLst>
                </a:custGeom>
                <a:solidFill>
                  <a:srgbClr val="FFFF00"/>
                </a:solidFill>
                <a:ln w="9525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defTabSz="121917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58" name="South_Carolina">
                  <a:extLst>
                    <a:ext uri="{FF2B5EF4-FFF2-40B4-BE49-F238E27FC236}">
                      <a16:creationId xmlns:a16="http://schemas.microsoft.com/office/drawing/2014/main" id="{869795B5-CA6F-CE3A-D7CB-D9D8583424B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3602950" y="11049000"/>
                  <a:ext cx="3019425" cy="2190750"/>
                </a:xfrm>
                <a:custGeom>
                  <a:avLst/>
                  <a:gdLst>
                    <a:gd name="T0" fmla="*/ 2147483647 w 16384"/>
                    <a:gd name="T1" fmla="*/ 2147483647 h 16384"/>
                    <a:gd name="T2" fmla="*/ 2147483647 w 16384"/>
                    <a:gd name="T3" fmla="*/ 2147483647 h 16384"/>
                    <a:gd name="T4" fmla="*/ 2147483647 w 16384"/>
                    <a:gd name="T5" fmla="*/ 2147483647 h 16384"/>
                    <a:gd name="T6" fmla="*/ 2147483647 w 16384"/>
                    <a:gd name="T7" fmla="*/ 2147483647 h 16384"/>
                    <a:gd name="T8" fmla="*/ 2147483647 w 16384"/>
                    <a:gd name="T9" fmla="*/ 2147483647 h 16384"/>
                    <a:gd name="T10" fmla="*/ 2147483647 w 16384"/>
                    <a:gd name="T11" fmla="*/ 2147483647 h 16384"/>
                    <a:gd name="T12" fmla="*/ 2147483647 w 16384"/>
                    <a:gd name="T13" fmla="*/ 2147483647 h 16384"/>
                    <a:gd name="T14" fmla="*/ 2147483647 w 16384"/>
                    <a:gd name="T15" fmla="*/ 2147483647 h 16384"/>
                    <a:gd name="T16" fmla="*/ 2147483647 w 16384"/>
                    <a:gd name="T17" fmla="*/ 2147483647 h 16384"/>
                    <a:gd name="T18" fmla="*/ 2147483647 w 16384"/>
                    <a:gd name="T19" fmla="*/ 2147483647 h 16384"/>
                    <a:gd name="T20" fmla="*/ 2147483647 w 16384"/>
                    <a:gd name="T21" fmla="*/ 2147483647 h 16384"/>
                    <a:gd name="T22" fmla="*/ 2147483647 w 16384"/>
                    <a:gd name="T23" fmla="*/ 2147483647 h 16384"/>
                    <a:gd name="T24" fmla="*/ 2147483647 w 16384"/>
                    <a:gd name="T25" fmla="*/ 2147483647 h 16384"/>
                    <a:gd name="T26" fmla="*/ 2147483647 w 16384"/>
                    <a:gd name="T27" fmla="*/ 2147483647 h 16384"/>
                    <a:gd name="T28" fmla="*/ 2147483647 w 16384"/>
                    <a:gd name="T29" fmla="*/ 2147483647 h 16384"/>
                    <a:gd name="T30" fmla="*/ 2147483647 w 16384"/>
                    <a:gd name="T31" fmla="*/ 2147483647 h 16384"/>
                    <a:gd name="T32" fmla="*/ 2147483647 w 16384"/>
                    <a:gd name="T33" fmla="*/ 2147483647 h 16384"/>
                    <a:gd name="T34" fmla="*/ 2147483647 w 16384"/>
                    <a:gd name="T35" fmla="*/ 2147483647 h 16384"/>
                    <a:gd name="T36" fmla="*/ 2147483647 w 16384"/>
                    <a:gd name="T37" fmla="*/ 2147483647 h 16384"/>
                    <a:gd name="T38" fmla="*/ 2147483647 w 16384"/>
                    <a:gd name="T39" fmla="*/ 2147483647 h 16384"/>
                    <a:gd name="T40" fmla="*/ 2147483647 w 16384"/>
                    <a:gd name="T41" fmla="*/ 2147483647 h 16384"/>
                    <a:gd name="T42" fmla="*/ 2147483647 w 16384"/>
                    <a:gd name="T43" fmla="*/ 2147483647 h 16384"/>
                    <a:gd name="T44" fmla="*/ 2147483647 w 16384"/>
                    <a:gd name="T45" fmla="*/ 2147483647 h 16384"/>
                    <a:gd name="T46" fmla="*/ 2147483647 w 16384"/>
                    <a:gd name="T47" fmla="*/ 2147483647 h 16384"/>
                    <a:gd name="T48" fmla="*/ 2147483647 w 16384"/>
                    <a:gd name="T49" fmla="*/ 2147483647 h 16384"/>
                    <a:gd name="T50" fmla="*/ 2147483647 w 16384"/>
                    <a:gd name="T51" fmla="*/ 2147483647 h 16384"/>
                    <a:gd name="T52" fmla="*/ 2147483647 w 16384"/>
                    <a:gd name="T53" fmla="*/ 2147483647 h 16384"/>
                    <a:gd name="T54" fmla="*/ 2147483647 w 16384"/>
                    <a:gd name="T55" fmla="*/ 2147483647 h 16384"/>
                    <a:gd name="T56" fmla="*/ 2147483647 w 16384"/>
                    <a:gd name="T57" fmla="*/ 2147483647 h 16384"/>
                    <a:gd name="T58" fmla="*/ 2147483647 w 16384"/>
                    <a:gd name="T59" fmla="*/ 2147483647 h 16384"/>
                    <a:gd name="T60" fmla="*/ 2147483647 w 16384"/>
                    <a:gd name="T61" fmla="*/ 2147483647 h 16384"/>
                    <a:gd name="T62" fmla="*/ 2147483647 w 16384"/>
                    <a:gd name="T63" fmla="*/ 2147483647 h 16384"/>
                    <a:gd name="T64" fmla="*/ 2147483647 w 16384"/>
                    <a:gd name="T65" fmla="*/ 2147483647 h 16384"/>
                    <a:gd name="T66" fmla="*/ 2147483647 w 16384"/>
                    <a:gd name="T67" fmla="*/ 2147483647 h 16384"/>
                    <a:gd name="T68" fmla="*/ 2147483647 w 16384"/>
                    <a:gd name="T69" fmla="*/ 2147483647 h 16384"/>
                    <a:gd name="T70" fmla="*/ 2147483647 w 16384"/>
                    <a:gd name="T71" fmla="*/ 2147483647 h 16384"/>
                    <a:gd name="T72" fmla="*/ 2147483647 w 16384"/>
                    <a:gd name="T73" fmla="*/ 2147483647 h 16384"/>
                    <a:gd name="T74" fmla="*/ 2147483647 w 16384"/>
                    <a:gd name="T75" fmla="*/ 2147483647 h 16384"/>
                    <a:gd name="T76" fmla="*/ 2147483647 w 16384"/>
                    <a:gd name="T77" fmla="*/ 2147483647 h 16384"/>
                    <a:gd name="T78" fmla="*/ 2147483647 w 16384"/>
                    <a:gd name="T79" fmla="*/ 2147483647 h 16384"/>
                    <a:gd name="T80" fmla="*/ 2147483647 w 16384"/>
                    <a:gd name="T81" fmla="*/ 2147483647 h 16384"/>
                    <a:gd name="T82" fmla="*/ 2147483647 w 16384"/>
                    <a:gd name="T83" fmla="*/ 2147483647 h 16384"/>
                    <a:gd name="T84" fmla="*/ 2147483647 w 16384"/>
                    <a:gd name="T85" fmla="*/ 2147483647 h 16384"/>
                    <a:gd name="T86" fmla="*/ 2147483647 w 16384"/>
                    <a:gd name="T87" fmla="*/ 2147483647 h 16384"/>
                    <a:gd name="T88" fmla="*/ 2147483647 w 16384"/>
                    <a:gd name="T89" fmla="*/ 2147483647 h 16384"/>
                    <a:gd name="T90" fmla="*/ 2147483647 w 16384"/>
                    <a:gd name="T91" fmla="*/ 2147483647 h 16384"/>
                    <a:gd name="T92" fmla="*/ 0 w 16384"/>
                    <a:gd name="T93" fmla="*/ 2147483647 h 16384"/>
                    <a:gd name="T94" fmla="*/ 2147483647 w 16384"/>
                    <a:gd name="T95" fmla="*/ 2147483647 h 16384"/>
                    <a:gd name="T96" fmla="*/ 2147483647 w 16384"/>
                    <a:gd name="T97" fmla="*/ 2147483647 h 16384"/>
                    <a:gd name="T98" fmla="*/ 2147483647 w 16384"/>
                    <a:gd name="T99" fmla="*/ 2147483647 h 16384"/>
                    <a:gd name="T100" fmla="*/ 2147483647 w 16384"/>
                    <a:gd name="T101" fmla="*/ 2147483647 h 16384"/>
                    <a:gd name="T102" fmla="*/ 2147483647 w 16384"/>
                    <a:gd name="T103" fmla="*/ 2147483647 h 16384"/>
                    <a:gd name="T104" fmla="*/ 2147483647 w 16384"/>
                    <a:gd name="T105" fmla="*/ 2147483647 h 16384"/>
                    <a:gd name="T106" fmla="*/ 2147483647 w 16384"/>
                    <a:gd name="T107" fmla="*/ 2147483647 h 16384"/>
                    <a:gd name="T108" fmla="*/ 2147483647 w 16384"/>
                    <a:gd name="T109" fmla="*/ 2147483647 h 16384"/>
                    <a:gd name="T110" fmla="*/ 2147483647 w 16384"/>
                    <a:gd name="T111" fmla="*/ 2147483647 h 16384"/>
                    <a:gd name="T112" fmla="*/ 2147483647 w 16384"/>
                    <a:gd name="T113" fmla="*/ 2147483647 h 16384"/>
                    <a:gd name="T114" fmla="*/ 2147483647 w 16384"/>
                    <a:gd name="T115" fmla="*/ 2147483647 h 16384"/>
                    <a:gd name="T116" fmla="*/ 2147483647 w 16384"/>
                    <a:gd name="T117" fmla="*/ 2147483647 h 16384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w 16384"/>
                    <a:gd name="T178" fmla="*/ 0 h 16384"/>
                    <a:gd name="T179" fmla="*/ 16384 w 16384"/>
                    <a:gd name="T180" fmla="*/ 16384 h 16384"/>
                  </a:gdLst>
                  <a:ahLst/>
                  <a:cxnLst>
                    <a:cxn ang="T118">
                      <a:pos x="T0" y="T1"/>
                    </a:cxn>
                    <a:cxn ang="T119">
                      <a:pos x="T2" y="T3"/>
                    </a:cxn>
                    <a:cxn ang="T120">
                      <a:pos x="T4" y="T5"/>
                    </a:cxn>
                    <a:cxn ang="T121">
                      <a:pos x="T6" y="T7"/>
                    </a:cxn>
                    <a:cxn ang="T122">
                      <a:pos x="T8" y="T9"/>
                    </a:cxn>
                    <a:cxn ang="T123">
                      <a:pos x="T10" y="T11"/>
                    </a:cxn>
                    <a:cxn ang="T124">
                      <a:pos x="T12" y="T13"/>
                    </a:cxn>
                    <a:cxn ang="T125">
                      <a:pos x="T14" y="T15"/>
                    </a:cxn>
                    <a:cxn ang="T126">
                      <a:pos x="T16" y="T17"/>
                    </a:cxn>
                    <a:cxn ang="T127">
                      <a:pos x="T18" y="T19"/>
                    </a:cxn>
                    <a:cxn ang="T128">
                      <a:pos x="T20" y="T21"/>
                    </a:cxn>
                    <a:cxn ang="T129">
                      <a:pos x="T22" y="T23"/>
                    </a:cxn>
                    <a:cxn ang="T130">
                      <a:pos x="T24" y="T25"/>
                    </a:cxn>
                    <a:cxn ang="T131">
                      <a:pos x="T26" y="T27"/>
                    </a:cxn>
                    <a:cxn ang="T132">
                      <a:pos x="T28" y="T29"/>
                    </a:cxn>
                    <a:cxn ang="T133">
                      <a:pos x="T30" y="T31"/>
                    </a:cxn>
                    <a:cxn ang="T134">
                      <a:pos x="T32" y="T33"/>
                    </a:cxn>
                    <a:cxn ang="T135">
                      <a:pos x="T34" y="T35"/>
                    </a:cxn>
                    <a:cxn ang="T136">
                      <a:pos x="T36" y="T37"/>
                    </a:cxn>
                    <a:cxn ang="T137">
                      <a:pos x="T38" y="T39"/>
                    </a:cxn>
                    <a:cxn ang="T138">
                      <a:pos x="T40" y="T41"/>
                    </a:cxn>
                    <a:cxn ang="T139">
                      <a:pos x="T42" y="T43"/>
                    </a:cxn>
                    <a:cxn ang="T140">
                      <a:pos x="T44" y="T45"/>
                    </a:cxn>
                    <a:cxn ang="T141">
                      <a:pos x="T46" y="T47"/>
                    </a:cxn>
                    <a:cxn ang="T142">
                      <a:pos x="T48" y="T49"/>
                    </a:cxn>
                    <a:cxn ang="T143">
                      <a:pos x="T50" y="T51"/>
                    </a:cxn>
                    <a:cxn ang="T144">
                      <a:pos x="T52" y="T53"/>
                    </a:cxn>
                    <a:cxn ang="T145">
                      <a:pos x="T54" y="T55"/>
                    </a:cxn>
                    <a:cxn ang="T146">
                      <a:pos x="T56" y="T57"/>
                    </a:cxn>
                    <a:cxn ang="T147">
                      <a:pos x="T58" y="T59"/>
                    </a:cxn>
                    <a:cxn ang="T148">
                      <a:pos x="T60" y="T61"/>
                    </a:cxn>
                    <a:cxn ang="T149">
                      <a:pos x="T62" y="T63"/>
                    </a:cxn>
                    <a:cxn ang="T150">
                      <a:pos x="T64" y="T65"/>
                    </a:cxn>
                    <a:cxn ang="T151">
                      <a:pos x="T66" y="T67"/>
                    </a:cxn>
                    <a:cxn ang="T152">
                      <a:pos x="T68" y="T69"/>
                    </a:cxn>
                    <a:cxn ang="T153">
                      <a:pos x="T70" y="T71"/>
                    </a:cxn>
                    <a:cxn ang="T154">
                      <a:pos x="T72" y="T73"/>
                    </a:cxn>
                    <a:cxn ang="T155">
                      <a:pos x="T74" y="T75"/>
                    </a:cxn>
                    <a:cxn ang="T156">
                      <a:pos x="T76" y="T77"/>
                    </a:cxn>
                    <a:cxn ang="T157">
                      <a:pos x="T78" y="T79"/>
                    </a:cxn>
                    <a:cxn ang="T158">
                      <a:pos x="T80" y="T81"/>
                    </a:cxn>
                    <a:cxn ang="T159">
                      <a:pos x="T82" y="T83"/>
                    </a:cxn>
                    <a:cxn ang="T160">
                      <a:pos x="T84" y="T85"/>
                    </a:cxn>
                    <a:cxn ang="T161">
                      <a:pos x="T86" y="T87"/>
                    </a:cxn>
                    <a:cxn ang="T162">
                      <a:pos x="T88" y="T89"/>
                    </a:cxn>
                    <a:cxn ang="T163">
                      <a:pos x="T90" y="T91"/>
                    </a:cxn>
                    <a:cxn ang="T164">
                      <a:pos x="T92" y="T93"/>
                    </a:cxn>
                    <a:cxn ang="T165">
                      <a:pos x="T94" y="T95"/>
                    </a:cxn>
                    <a:cxn ang="T166">
                      <a:pos x="T96" y="T97"/>
                    </a:cxn>
                    <a:cxn ang="T167">
                      <a:pos x="T98" y="T99"/>
                    </a:cxn>
                    <a:cxn ang="T168">
                      <a:pos x="T100" y="T101"/>
                    </a:cxn>
                    <a:cxn ang="T169">
                      <a:pos x="T102" y="T103"/>
                    </a:cxn>
                    <a:cxn ang="T170">
                      <a:pos x="T104" y="T105"/>
                    </a:cxn>
                    <a:cxn ang="T171">
                      <a:pos x="T106" y="T107"/>
                    </a:cxn>
                    <a:cxn ang="T172">
                      <a:pos x="T108" y="T109"/>
                    </a:cxn>
                    <a:cxn ang="T173">
                      <a:pos x="T110" y="T111"/>
                    </a:cxn>
                    <a:cxn ang="T174">
                      <a:pos x="T112" y="T113"/>
                    </a:cxn>
                    <a:cxn ang="T175">
                      <a:pos x="T114" y="T115"/>
                    </a:cxn>
                    <a:cxn ang="T176">
                      <a:pos x="T116" y="T117"/>
                    </a:cxn>
                  </a:cxnLst>
                  <a:rect l="T177" t="T178" r="T179" b="T180"/>
                  <a:pathLst>
                    <a:path w="16384" h="16384">
                      <a:moveTo>
                        <a:pt x="6169" y="10900"/>
                      </a:moveTo>
                      <a:lnTo>
                        <a:pt x="6119" y="10967"/>
                      </a:lnTo>
                      <a:lnTo>
                        <a:pt x="6220" y="11101"/>
                      </a:lnTo>
                      <a:lnTo>
                        <a:pt x="6270" y="11235"/>
                      </a:lnTo>
                      <a:lnTo>
                        <a:pt x="6473" y="11302"/>
                      </a:lnTo>
                      <a:lnTo>
                        <a:pt x="6675" y="11368"/>
                      </a:lnTo>
                      <a:lnTo>
                        <a:pt x="6928" y="11569"/>
                      </a:lnTo>
                      <a:lnTo>
                        <a:pt x="7130" y="11636"/>
                      </a:lnTo>
                      <a:lnTo>
                        <a:pt x="7181" y="11770"/>
                      </a:lnTo>
                      <a:lnTo>
                        <a:pt x="7231" y="12104"/>
                      </a:lnTo>
                      <a:lnTo>
                        <a:pt x="7282" y="12171"/>
                      </a:lnTo>
                      <a:lnTo>
                        <a:pt x="7383" y="12305"/>
                      </a:lnTo>
                      <a:lnTo>
                        <a:pt x="7433" y="12505"/>
                      </a:lnTo>
                      <a:lnTo>
                        <a:pt x="7535" y="12505"/>
                      </a:lnTo>
                      <a:lnTo>
                        <a:pt x="7585" y="12907"/>
                      </a:lnTo>
                      <a:lnTo>
                        <a:pt x="7636" y="13107"/>
                      </a:lnTo>
                      <a:lnTo>
                        <a:pt x="7585" y="13174"/>
                      </a:lnTo>
                      <a:lnTo>
                        <a:pt x="7585" y="13308"/>
                      </a:lnTo>
                      <a:lnTo>
                        <a:pt x="7686" y="13375"/>
                      </a:lnTo>
                      <a:lnTo>
                        <a:pt x="7686" y="13508"/>
                      </a:lnTo>
                      <a:lnTo>
                        <a:pt x="7686" y="13642"/>
                      </a:lnTo>
                      <a:lnTo>
                        <a:pt x="7737" y="13776"/>
                      </a:lnTo>
                      <a:lnTo>
                        <a:pt x="7889" y="13910"/>
                      </a:lnTo>
                      <a:lnTo>
                        <a:pt x="7990" y="13910"/>
                      </a:lnTo>
                      <a:lnTo>
                        <a:pt x="8141" y="13977"/>
                      </a:lnTo>
                      <a:lnTo>
                        <a:pt x="8495" y="14311"/>
                      </a:lnTo>
                      <a:lnTo>
                        <a:pt x="8546" y="14378"/>
                      </a:lnTo>
                      <a:lnTo>
                        <a:pt x="8597" y="14578"/>
                      </a:lnTo>
                      <a:lnTo>
                        <a:pt x="8698" y="14846"/>
                      </a:lnTo>
                      <a:lnTo>
                        <a:pt x="8799" y="14980"/>
                      </a:lnTo>
                      <a:lnTo>
                        <a:pt x="8849" y="15113"/>
                      </a:lnTo>
                      <a:lnTo>
                        <a:pt x="8849" y="15180"/>
                      </a:lnTo>
                      <a:lnTo>
                        <a:pt x="8799" y="15582"/>
                      </a:lnTo>
                      <a:lnTo>
                        <a:pt x="8799" y="15849"/>
                      </a:lnTo>
                      <a:lnTo>
                        <a:pt x="8849" y="15983"/>
                      </a:lnTo>
                      <a:lnTo>
                        <a:pt x="8900" y="16117"/>
                      </a:lnTo>
                      <a:lnTo>
                        <a:pt x="9001" y="16183"/>
                      </a:lnTo>
                      <a:lnTo>
                        <a:pt x="9102" y="16250"/>
                      </a:lnTo>
                      <a:lnTo>
                        <a:pt x="9254" y="16250"/>
                      </a:lnTo>
                      <a:lnTo>
                        <a:pt x="9406" y="16250"/>
                      </a:lnTo>
                      <a:lnTo>
                        <a:pt x="9557" y="16317"/>
                      </a:lnTo>
                      <a:lnTo>
                        <a:pt x="9709" y="16384"/>
                      </a:lnTo>
                      <a:lnTo>
                        <a:pt x="9810" y="16384"/>
                      </a:lnTo>
                      <a:lnTo>
                        <a:pt x="9810" y="16183"/>
                      </a:lnTo>
                      <a:lnTo>
                        <a:pt x="9861" y="16117"/>
                      </a:lnTo>
                      <a:lnTo>
                        <a:pt x="9911" y="16050"/>
                      </a:lnTo>
                      <a:lnTo>
                        <a:pt x="9911" y="15849"/>
                      </a:lnTo>
                      <a:lnTo>
                        <a:pt x="9962" y="15849"/>
                      </a:lnTo>
                      <a:lnTo>
                        <a:pt x="10063" y="15916"/>
                      </a:lnTo>
                      <a:lnTo>
                        <a:pt x="10164" y="15782"/>
                      </a:lnTo>
                      <a:lnTo>
                        <a:pt x="10265" y="15715"/>
                      </a:lnTo>
                      <a:lnTo>
                        <a:pt x="10366" y="15515"/>
                      </a:lnTo>
                      <a:lnTo>
                        <a:pt x="10417" y="15314"/>
                      </a:lnTo>
                      <a:lnTo>
                        <a:pt x="10417" y="15180"/>
                      </a:lnTo>
                      <a:lnTo>
                        <a:pt x="10366" y="15113"/>
                      </a:lnTo>
                      <a:lnTo>
                        <a:pt x="10265" y="15113"/>
                      </a:lnTo>
                      <a:lnTo>
                        <a:pt x="10215" y="15113"/>
                      </a:lnTo>
                      <a:lnTo>
                        <a:pt x="10164" y="15247"/>
                      </a:lnTo>
                      <a:lnTo>
                        <a:pt x="10063" y="15381"/>
                      </a:lnTo>
                      <a:lnTo>
                        <a:pt x="10012" y="15314"/>
                      </a:lnTo>
                      <a:lnTo>
                        <a:pt x="10012" y="15180"/>
                      </a:lnTo>
                      <a:lnTo>
                        <a:pt x="10063" y="15047"/>
                      </a:lnTo>
                      <a:lnTo>
                        <a:pt x="10012" y="14913"/>
                      </a:lnTo>
                      <a:lnTo>
                        <a:pt x="9962" y="14779"/>
                      </a:lnTo>
                      <a:lnTo>
                        <a:pt x="9861" y="14645"/>
                      </a:lnTo>
                      <a:lnTo>
                        <a:pt x="9760" y="14512"/>
                      </a:lnTo>
                      <a:lnTo>
                        <a:pt x="9760" y="14311"/>
                      </a:lnTo>
                      <a:lnTo>
                        <a:pt x="9810" y="14244"/>
                      </a:lnTo>
                      <a:lnTo>
                        <a:pt x="9861" y="14177"/>
                      </a:lnTo>
                      <a:lnTo>
                        <a:pt x="10012" y="14445"/>
                      </a:lnTo>
                      <a:lnTo>
                        <a:pt x="10114" y="14578"/>
                      </a:lnTo>
                      <a:lnTo>
                        <a:pt x="10316" y="14846"/>
                      </a:lnTo>
                      <a:lnTo>
                        <a:pt x="10468" y="14846"/>
                      </a:lnTo>
                      <a:lnTo>
                        <a:pt x="10518" y="14846"/>
                      </a:lnTo>
                      <a:lnTo>
                        <a:pt x="10569" y="14779"/>
                      </a:lnTo>
                      <a:lnTo>
                        <a:pt x="10670" y="14712"/>
                      </a:lnTo>
                      <a:lnTo>
                        <a:pt x="10720" y="14578"/>
                      </a:lnTo>
                      <a:lnTo>
                        <a:pt x="10822" y="14311"/>
                      </a:lnTo>
                      <a:lnTo>
                        <a:pt x="10872" y="14177"/>
                      </a:lnTo>
                      <a:lnTo>
                        <a:pt x="10973" y="14110"/>
                      </a:lnTo>
                      <a:lnTo>
                        <a:pt x="10973" y="14043"/>
                      </a:lnTo>
                      <a:lnTo>
                        <a:pt x="10973" y="13977"/>
                      </a:lnTo>
                      <a:lnTo>
                        <a:pt x="10872" y="13910"/>
                      </a:lnTo>
                      <a:lnTo>
                        <a:pt x="10771" y="13910"/>
                      </a:lnTo>
                      <a:lnTo>
                        <a:pt x="10720" y="13843"/>
                      </a:lnTo>
                      <a:lnTo>
                        <a:pt x="10670" y="13776"/>
                      </a:lnTo>
                      <a:lnTo>
                        <a:pt x="10720" y="13709"/>
                      </a:lnTo>
                      <a:lnTo>
                        <a:pt x="10771" y="13642"/>
                      </a:lnTo>
                      <a:lnTo>
                        <a:pt x="11024" y="13642"/>
                      </a:lnTo>
                      <a:lnTo>
                        <a:pt x="11074" y="13575"/>
                      </a:lnTo>
                      <a:lnTo>
                        <a:pt x="11176" y="13508"/>
                      </a:lnTo>
                      <a:lnTo>
                        <a:pt x="11277" y="13508"/>
                      </a:lnTo>
                      <a:lnTo>
                        <a:pt x="11378" y="13642"/>
                      </a:lnTo>
                      <a:lnTo>
                        <a:pt x="11479" y="13575"/>
                      </a:lnTo>
                      <a:lnTo>
                        <a:pt x="11529" y="13442"/>
                      </a:lnTo>
                      <a:lnTo>
                        <a:pt x="11631" y="13375"/>
                      </a:lnTo>
                      <a:lnTo>
                        <a:pt x="11732" y="13174"/>
                      </a:lnTo>
                      <a:lnTo>
                        <a:pt x="11732" y="13107"/>
                      </a:lnTo>
                      <a:lnTo>
                        <a:pt x="11681" y="12973"/>
                      </a:lnTo>
                      <a:lnTo>
                        <a:pt x="11732" y="12907"/>
                      </a:lnTo>
                      <a:lnTo>
                        <a:pt x="11833" y="12907"/>
                      </a:lnTo>
                      <a:lnTo>
                        <a:pt x="11883" y="12973"/>
                      </a:lnTo>
                      <a:lnTo>
                        <a:pt x="11985" y="12907"/>
                      </a:lnTo>
                      <a:lnTo>
                        <a:pt x="12035" y="12773"/>
                      </a:lnTo>
                      <a:lnTo>
                        <a:pt x="12187" y="12773"/>
                      </a:lnTo>
                      <a:lnTo>
                        <a:pt x="12339" y="12572"/>
                      </a:lnTo>
                      <a:lnTo>
                        <a:pt x="12440" y="12572"/>
                      </a:lnTo>
                      <a:lnTo>
                        <a:pt x="12541" y="12572"/>
                      </a:lnTo>
                      <a:lnTo>
                        <a:pt x="12591" y="12238"/>
                      </a:lnTo>
                      <a:lnTo>
                        <a:pt x="12693" y="12104"/>
                      </a:lnTo>
                      <a:lnTo>
                        <a:pt x="12693" y="12037"/>
                      </a:lnTo>
                      <a:lnTo>
                        <a:pt x="12693" y="11970"/>
                      </a:lnTo>
                      <a:lnTo>
                        <a:pt x="12591" y="11970"/>
                      </a:lnTo>
                      <a:lnTo>
                        <a:pt x="12541" y="11903"/>
                      </a:lnTo>
                      <a:lnTo>
                        <a:pt x="12541" y="11837"/>
                      </a:lnTo>
                      <a:lnTo>
                        <a:pt x="12591" y="11770"/>
                      </a:lnTo>
                      <a:lnTo>
                        <a:pt x="12591" y="11569"/>
                      </a:lnTo>
                      <a:lnTo>
                        <a:pt x="12693" y="11569"/>
                      </a:lnTo>
                      <a:lnTo>
                        <a:pt x="12794" y="11770"/>
                      </a:lnTo>
                      <a:lnTo>
                        <a:pt x="12844" y="11837"/>
                      </a:lnTo>
                      <a:lnTo>
                        <a:pt x="12945" y="11770"/>
                      </a:lnTo>
                      <a:lnTo>
                        <a:pt x="12996" y="11636"/>
                      </a:lnTo>
                      <a:lnTo>
                        <a:pt x="13148" y="11368"/>
                      </a:lnTo>
                      <a:lnTo>
                        <a:pt x="13249" y="11235"/>
                      </a:lnTo>
                      <a:lnTo>
                        <a:pt x="13350" y="11101"/>
                      </a:lnTo>
                      <a:lnTo>
                        <a:pt x="13451" y="10967"/>
                      </a:lnTo>
                      <a:lnTo>
                        <a:pt x="13400" y="10900"/>
                      </a:lnTo>
                      <a:lnTo>
                        <a:pt x="13400" y="10767"/>
                      </a:lnTo>
                      <a:lnTo>
                        <a:pt x="13400" y="10700"/>
                      </a:lnTo>
                      <a:lnTo>
                        <a:pt x="13552" y="10499"/>
                      </a:lnTo>
                      <a:lnTo>
                        <a:pt x="13704" y="10232"/>
                      </a:lnTo>
                      <a:lnTo>
                        <a:pt x="13805" y="10165"/>
                      </a:lnTo>
                      <a:lnTo>
                        <a:pt x="13856" y="10165"/>
                      </a:lnTo>
                      <a:lnTo>
                        <a:pt x="13906" y="10232"/>
                      </a:lnTo>
                      <a:lnTo>
                        <a:pt x="14007" y="10165"/>
                      </a:lnTo>
                      <a:lnTo>
                        <a:pt x="14058" y="9964"/>
                      </a:lnTo>
                      <a:lnTo>
                        <a:pt x="14108" y="9897"/>
                      </a:lnTo>
                      <a:lnTo>
                        <a:pt x="14210" y="9897"/>
                      </a:lnTo>
                      <a:lnTo>
                        <a:pt x="14260" y="9830"/>
                      </a:lnTo>
                      <a:lnTo>
                        <a:pt x="14260" y="9697"/>
                      </a:lnTo>
                      <a:lnTo>
                        <a:pt x="14311" y="9630"/>
                      </a:lnTo>
                      <a:lnTo>
                        <a:pt x="14412" y="9630"/>
                      </a:lnTo>
                      <a:lnTo>
                        <a:pt x="14513" y="9563"/>
                      </a:lnTo>
                      <a:lnTo>
                        <a:pt x="14564" y="9496"/>
                      </a:lnTo>
                      <a:lnTo>
                        <a:pt x="14614" y="9429"/>
                      </a:lnTo>
                      <a:lnTo>
                        <a:pt x="14614" y="9362"/>
                      </a:lnTo>
                      <a:lnTo>
                        <a:pt x="14564" y="9295"/>
                      </a:lnTo>
                      <a:lnTo>
                        <a:pt x="14614" y="9229"/>
                      </a:lnTo>
                      <a:lnTo>
                        <a:pt x="14665" y="9229"/>
                      </a:lnTo>
                      <a:lnTo>
                        <a:pt x="14715" y="9229"/>
                      </a:lnTo>
                      <a:lnTo>
                        <a:pt x="14766" y="9162"/>
                      </a:lnTo>
                      <a:lnTo>
                        <a:pt x="14766" y="8961"/>
                      </a:lnTo>
                      <a:lnTo>
                        <a:pt x="14715" y="8827"/>
                      </a:lnTo>
                      <a:lnTo>
                        <a:pt x="14614" y="8760"/>
                      </a:lnTo>
                      <a:lnTo>
                        <a:pt x="14513" y="8760"/>
                      </a:lnTo>
                      <a:lnTo>
                        <a:pt x="14412" y="8694"/>
                      </a:lnTo>
                      <a:lnTo>
                        <a:pt x="14361" y="8493"/>
                      </a:lnTo>
                      <a:lnTo>
                        <a:pt x="14361" y="8359"/>
                      </a:lnTo>
                      <a:lnTo>
                        <a:pt x="14361" y="8225"/>
                      </a:lnTo>
                      <a:lnTo>
                        <a:pt x="14412" y="8159"/>
                      </a:lnTo>
                      <a:lnTo>
                        <a:pt x="14412" y="8092"/>
                      </a:lnTo>
                      <a:lnTo>
                        <a:pt x="14462" y="8159"/>
                      </a:lnTo>
                      <a:lnTo>
                        <a:pt x="14513" y="8426"/>
                      </a:lnTo>
                      <a:lnTo>
                        <a:pt x="14513" y="8493"/>
                      </a:lnTo>
                      <a:lnTo>
                        <a:pt x="14564" y="8426"/>
                      </a:lnTo>
                      <a:lnTo>
                        <a:pt x="14665" y="8292"/>
                      </a:lnTo>
                      <a:lnTo>
                        <a:pt x="14766" y="8025"/>
                      </a:lnTo>
                      <a:lnTo>
                        <a:pt x="14816" y="7891"/>
                      </a:lnTo>
                      <a:lnTo>
                        <a:pt x="14816" y="7690"/>
                      </a:lnTo>
                      <a:lnTo>
                        <a:pt x="14968" y="7289"/>
                      </a:lnTo>
                      <a:lnTo>
                        <a:pt x="15069" y="7022"/>
                      </a:lnTo>
                      <a:lnTo>
                        <a:pt x="15120" y="6888"/>
                      </a:lnTo>
                      <a:lnTo>
                        <a:pt x="15221" y="6687"/>
                      </a:lnTo>
                      <a:lnTo>
                        <a:pt x="15373" y="6353"/>
                      </a:lnTo>
                      <a:lnTo>
                        <a:pt x="15524" y="6019"/>
                      </a:lnTo>
                      <a:lnTo>
                        <a:pt x="15727" y="5751"/>
                      </a:lnTo>
                      <a:lnTo>
                        <a:pt x="15929" y="5484"/>
                      </a:lnTo>
                      <a:lnTo>
                        <a:pt x="16131" y="5283"/>
                      </a:lnTo>
                      <a:lnTo>
                        <a:pt x="16283" y="5082"/>
                      </a:lnTo>
                      <a:lnTo>
                        <a:pt x="16384" y="4949"/>
                      </a:lnTo>
                      <a:lnTo>
                        <a:pt x="16081" y="4614"/>
                      </a:lnTo>
                      <a:lnTo>
                        <a:pt x="14412" y="3143"/>
                      </a:lnTo>
                      <a:lnTo>
                        <a:pt x="12945" y="1739"/>
                      </a:lnTo>
                      <a:lnTo>
                        <a:pt x="12035" y="936"/>
                      </a:lnTo>
                      <a:lnTo>
                        <a:pt x="11985" y="936"/>
                      </a:lnTo>
                      <a:lnTo>
                        <a:pt x="11277" y="1070"/>
                      </a:lnTo>
                      <a:lnTo>
                        <a:pt x="9911" y="1337"/>
                      </a:lnTo>
                      <a:lnTo>
                        <a:pt x="9203" y="1538"/>
                      </a:lnTo>
                      <a:lnTo>
                        <a:pt x="8394" y="1672"/>
                      </a:lnTo>
                      <a:lnTo>
                        <a:pt x="8344" y="1070"/>
                      </a:lnTo>
                      <a:lnTo>
                        <a:pt x="8040" y="602"/>
                      </a:lnTo>
                      <a:lnTo>
                        <a:pt x="7838" y="334"/>
                      </a:lnTo>
                      <a:lnTo>
                        <a:pt x="7686" y="201"/>
                      </a:lnTo>
                      <a:lnTo>
                        <a:pt x="7433" y="535"/>
                      </a:lnTo>
                      <a:lnTo>
                        <a:pt x="7332" y="401"/>
                      </a:lnTo>
                      <a:lnTo>
                        <a:pt x="7332" y="334"/>
                      </a:lnTo>
                      <a:lnTo>
                        <a:pt x="7383" y="267"/>
                      </a:lnTo>
                      <a:lnTo>
                        <a:pt x="7383" y="134"/>
                      </a:lnTo>
                      <a:lnTo>
                        <a:pt x="7383" y="0"/>
                      </a:lnTo>
                      <a:lnTo>
                        <a:pt x="6422" y="134"/>
                      </a:lnTo>
                      <a:lnTo>
                        <a:pt x="6270" y="134"/>
                      </a:lnTo>
                      <a:lnTo>
                        <a:pt x="4956" y="334"/>
                      </a:lnTo>
                      <a:lnTo>
                        <a:pt x="4602" y="401"/>
                      </a:lnTo>
                      <a:lnTo>
                        <a:pt x="4248" y="401"/>
                      </a:lnTo>
                      <a:lnTo>
                        <a:pt x="3489" y="535"/>
                      </a:lnTo>
                      <a:lnTo>
                        <a:pt x="3287" y="602"/>
                      </a:lnTo>
                      <a:lnTo>
                        <a:pt x="3186" y="669"/>
                      </a:lnTo>
                      <a:lnTo>
                        <a:pt x="3034" y="669"/>
                      </a:lnTo>
                      <a:lnTo>
                        <a:pt x="2933" y="669"/>
                      </a:lnTo>
                      <a:lnTo>
                        <a:pt x="2882" y="602"/>
                      </a:lnTo>
                      <a:lnTo>
                        <a:pt x="2832" y="669"/>
                      </a:lnTo>
                      <a:lnTo>
                        <a:pt x="2731" y="802"/>
                      </a:lnTo>
                      <a:lnTo>
                        <a:pt x="2630" y="802"/>
                      </a:lnTo>
                      <a:lnTo>
                        <a:pt x="2579" y="869"/>
                      </a:lnTo>
                      <a:lnTo>
                        <a:pt x="2276" y="1070"/>
                      </a:lnTo>
                      <a:lnTo>
                        <a:pt x="2124" y="1204"/>
                      </a:lnTo>
                      <a:lnTo>
                        <a:pt x="2023" y="1204"/>
                      </a:lnTo>
                      <a:lnTo>
                        <a:pt x="1972" y="1204"/>
                      </a:lnTo>
                      <a:lnTo>
                        <a:pt x="1972" y="1271"/>
                      </a:lnTo>
                      <a:lnTo>
                        <a:pt x="1972" y="1404"/>
                      </a:lnTo>
                      <a:lnTo>
                        <a:pt x="1820" y="1538"/>
                      </a:lnTo>
                      <a:lnTo>
                        <a:pt x="1770" y="1605"/>
                      </a:lnTo>
                      <a:lnTo>
                        <a:pt x="1669" y="1538"/>
                      </a:lnTo>
                      <a:lnTo>
                        <a:pt x="1618" y="1538"/>
                      </a:lnTo>
                      <a:lnTo>
                        <a:pt x="1416" y="1672"/>
                      </a:lnTo>
                      <a:lnTo>
                        <a:pt x="1062" y="1939"/>
                      </a:lnTo>
                      <a:lnTo>
                        <a:pt x="1011" y="2006"/>
                      </a:lnTo>
                      <a:lnTo>
                        <a:pt x="657" y="2207"/>
                      </a:lnTo>
                      <a:lnTo>
                        <a:pt x="607" y="2341"/>
                      </a:lnTo>
                      <a:lnTo>
                        <a:pt x="607" y="2474"/>
                      </a:lnTo>
                      <a:lnTo>
                        <a:pt x="455" y="2675"/>
                      </a:lnTo>
                      <a:lnTo>
                        <a:pt x="101" y="3277"/>
                      </a:lnTo>
                      <a:lnTo>
                        <a:pt x="101" y="3344"/>
                      </a:lnTo>
                      <a:lnTo>
                        <a:pt x="0" y="3678"/>
                      </a:lnTo>
                      <a:lnTo>
                        <a:pt x="0" y="3745"/>
                      </a:lnTo>
                      <a:lnTo>
                        <a:pt x="0" y="3879"/>
                      </a:lnTo>
                      <a:lnTo>
                        <a:pt x="51" y="4012"/>
                      </a:lnTo>
                      <a:lnTo>
                        <a:pt x="202" y="4079"/>
                      </a:lnTo>
                      <a:lnTo>
                        <a:pt x="354" y="4280"/>
                      </a:lnTo>
                      <a:lnTo>
                        <a:pt x="455" y="4280"/>
                      </a:lnTo>
                      <a:lnTo>
                        <a:pt x="556" y="4280"/>
                      </a:lnTo>
                      <a:lnTo>
                        <a:pt x="657" y="4347"/>
                      </a:lnTo>
                      <a:lnTo>
                        <a:pt x="759" y="4414"/>
                      </a:lnTo>
                      <a:lnTo>
                        <a:pt x="910" y="4681"/>
                      </a:lnTo>
                      <a:lnTo>
                        <a:pt x="1112" y="4815"/>
                      </a:lnTo>
                      <a:lnTo>
                        <a:pt x="1315" y="4815"/>
                      </a:lnTo>
                      <a:lnTo>
                        <a:pt x="1466" y="4815"/>
                      </a:lnTo>
                      <a:lnTo>
                        <a:pt x="1669" y="4815"/>
                      </a:lnTo>
                      <a:lnTo>
                        <a:pt x="1719" y="4882"/>
                      </a:lnTo>
                      <a:lnTo>
                        <a:pt x="1820" y="5016"/>
                      </a:lnTo>
                      <a:lnTo>
                        <a:pt x="1922" y="5350"/>
                      </a:lnTo>
                      <a:lnTo>
                        <a:pt x="1972" y="5484"/>
                      </a:lnTo>
                      <a:lnTo>
                        <a:pt x="2124" y="5684"/>
                      </a:lnTo>
                      <a:lnTo>
                        <a:pt x="2225" y="5885"/>
                      </a:lnTo>
                      <a:lnTo>
                        <a:pt x="2326" y="6085"/>
                      </a:lnTo>
                      <a:lnTo>
                        <a:pt x="2377" y="6219"/>
                      </a:lnTo>
                      <a:lnTo>
                        <a:pt x="2427" y="6353"/>
                      </a:lnTo>
                      <a:lnTo>
                        <a:pt x="2528" y="6487"/>
                      </a:lnTo>
                      <a:lnTo>
                        <a:pt x="2630" y="6554"/>
                      </a:lnTo>
                      <a:lnTo>
                        <a:pt x="2731" y="6754"/>
                      </a:lnTo>
                      <a:lnTo>
                        <a:pt x="2781" y="6821"/>
                      </a:lnTo>
                      <a:lnTo>
                        <a:pt x="2882" y="6888"/>
                      </a:lnTo>
                      <a:lnTo>
                        <a:pt x="2933" y="7022"/>
                      </a:lnTo>
                      <a:lnTo>
                        <a:pt x="3034" y="7356"/>
                      </a:lnTo>
                      <a:lnTo>
                        <a:pt x="3085" y="7423"/>
                      </a:lnTo>
                      <a:lnTo>
                        <a:pt x="3287" y="7557"/>
                      </a:lnTo>
                      <a:lnTo>
                        <a:pt x="3337" y="7690"/>
                      </a:lnTo>
                      <a:lnTo>
                        <a:pt x="3439" y="7757"/>
                      </a:lnTo>
                      <a:lnTo>
                        <a:pt x="3590" y="7757"/>
                      </a:lnTo>
                      <a:lnTo>
                        <a:pt x="3742" y="7891"/>
                      </a:lnTo>
                      <a:lnTo>
                        <a:pt x="3995" y="8092"/>
                      </a:lnTo>
                      <a:lnTo>
                        <a:pt x="4045" y="8159"/>
                      </a:lnTo>
                      <a:lnTo>
                        <a:pt x="4147" y="8225"/>
                      </a:lnTo>
                      <a:lnTo>
                        <a:pt x="4248" y="8426"/>
                      </a:lnTo>
                      <a:lnTo>
                        <a:pt x="4349" y="8560"/>
                      </a:lnTo>
                      <a:lnTo>
                        <a:pt x="4450" y="8760"/>
                      </a:lnTo>
                      <a:lnTo>
                        <a:pt x="4551" y="8961"/>
                      </a:lnTo>
                      <a:lnTo>
                        <a:pt x="4602" y="9028"/>
                      </a:lnTo>
                      <a:lnTo>
                        <a:pt x="4753" y="9028"/>
                      </a:lnTo>
                      <a:lnTo>
                        <a:pt x="4855" y="9028"/>
                      </a:lnTo>
                      <a:lnTo>
                        <a:pt x="5057" y="9229"/>
                      </a:lnTo>
                      <a:lnTo>
                        <a:pt x="5158" y="9362"/>
                      </a:lnTo>
                      <a:lnTo>
                        <a:pt x="5259" y="9429"/>
                      </a:lnTo>
                      <a:lnTo>
                        <a:pt x="5461" y="9563"/>
                      </a:lnTo>
                      <a:lnTo>
                        <a:pt x="5461" y="9697"/>
                      </a:lnTo>
                      <a:lnTo>
                        <a:pt x="5461" y="9764"/>
                      </a:lnTo>
                      <a:lnTo>
                        <a:pt x="5411" y="9897"/>
                      </a:lnTo>
                      <a:lnTo>
                        <a:pt x="5461" y="10031"/>
                      </a:lnTo>
                      <a:lnTo>
                        <a:pt x="5461" y="10098"/>
                      </a:lnTo>
                      <a:lnTo>
                        <a:pt x="5512" y="10232"/>
                      </a:lnTo>
                      <a:lnTo>
                        <a:pt x="5714" y="10299"/>
                      </a:lnTo>
                      <a:lnTo>
                        <a:pt x="5815" y="10566"/>
                      </a:lnTo>
                      <a:lnTo>
                        <a:pt x="5815" y="10700"/>
                      </a:lnTo>
                      <a:lnTo>
                        <a:pt x="5866" y="10767"/>
                      </a:lnTo>
                      <a:lnTo>
                        <a:pt x="5967" y="10834"/>
                      </a:lnTo>
                      <a:lnTo>
                        <a:pt x="6068" y="10767"/>
                      </a:lnTo>
                      <a:lnTo>
                        <a:pt x="6169" y="10900"/>
                      </a:lnTo>
                      <a:close/>
                    </a:path>
                  </a:pathLst>
                </a:custGeom>
                <a:solidFill>
                  <a:srgbClr val="00B050"/>
                </a:solidFill>
                <a:ln w="9525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defTabSz="121917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59" name="South_Dakota">
                  <a:extLst>
                    <a:ext uri="{FF2B5EF4-FFF2-40B4-BE49-F238E27FC236}">
                      <a16:creationId xmlns:a16="http://schemas.microsoft.com/office/drawing/2014/main" id="{D041E874-63E1-E0CC-E47C-020C3D17FD3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1477625" y="3800475"/>
                  <a:ext cx="4181475" cy="2657475"/>
                </a:xfrm>
                <a:custGeom>
                  <a:avLst/>
                  <a:gdLst>
                    <a:gd name="T0" fmla="*/ 2147483647 w 16384"/>
                    <a:gd name="T1" fmla="*/ 2147483647 h 16384"/>
                    <a:gd name="T2" fmla="*/ 2147483647 w 16384"/>
                    <a:gd name="T3" fmla="*/ 2147483647 h 16384"/>
                    <a:gd name="T4" fmla="*/ 2147483647 w 16384"/>
                    <a:gd name="T5" fmla="*/ 2147483647 h 16384"/>
                    <a:gd name="T6" fmla="*/ 2147483647 w 16384"/>
                    <a:gd name="T7" fmla="*/ 2147483647 h 16384"/>
                    <a:gd name="T8" fmla="*/ 2147483647 w 16384"/>
                    <a:gd name="T9" fmla="*/ 2147483647 h 16384"/>
                    <a:gd name="T10" fmla="*/ 2147483647 w 16384"/>
                    <a:gd name="T11" fmla="*/ 2147483647 h 16384"/>
                    <a:gd name="T12" fmla="*/ 2147483647 w 16384"/>
                    <a:gd name="T13" fmla="*/ 2147483647 h 16384"/>
                    <a:gd name="T14" fmla="*/ 2147483647 w 16384"/>
                    <a:gd name="T15" fmla="*/ 2147483647 h 16384"/>
                    <a:gd name="T16" fmla="*/ 2147483647 w 16384"/>
                    <a:gd name="T17" fmla="*/ 2147483647 h 16384"/>
                    <a:gd name="T18" fmla="*/ 2147483647 w 16384"/>
                    <a:gd name="T19" fmla="*/ 2147483647 h 16384"/>
                    <a:gd name="T20" fmla="*/ 2147483647 w 16384"/>
                    <a:gd name="T21" fmla="*/ 2147483647 h 16384"/>
                    <a:gd name="T22" fmla="*/ 2147483647 w 16384"/>
                    <a:gd name="T23" fmla="*/ 2147483647 h 16384"/>
                    <a:gd name="T24" fmla="*/ 2147483647 w 16384"/>
                    <a:gd name="T25" fmla="*/ 2147483647 h 16384"/>
                    <a:gd name="T26" fmla="*/ 2147483647 w 16384"/>
                    <a:gd name="T27" fmla="*/ 2147483647 h 16384"/>
                    <a:gd name="T28" fmla="*/ 2147483647 w 16384"/>
                    <a:gd name="T29" fmla="*/ 2147483647 h 16384"/>
                    <a:gd name="T30" fmla="*/ 2147483647 w 16384"/>
                    <a:gd name="T31" fmla="*/ 2147483647 h 16384"/>
                    <a:gd name="T32" fmla="*/ 2147483647 w 16384"/>
                    <a:gd name="T33" fmla="*/ 2147483647 h 16384"/>
                    <a:gd name="T34" fmla="*/ 2147483647 w 16384"/>
                    <a:gd name="T35" fmla="*/ 2147483647 h 16384"/>
                    <a:gd name="T36" fmla="*/ 2147483647 w 16384"/>
                    <a:gd name="T37" fmla="*/ 2147483647 h 16384"/>
                    <a:gd name="T38" fmla="*/ 2147483647 w 16384"/>
                    <a:gd name="T39" fmla="*/ 2147483647 h 16384"/>
                    <a:gd name="T40" fmla="*/ 2147483647 w 16384"/>
                    <a:gd name="T41" fmla="*/ 2147483647 h 16384"/>
                    <a:gd name="T42" fmla="*/ 2147483647 w 16384"/>
                    <a:gd name="T43" fmla="*/ 2147483647 h 16384"/>
                    <a:gd name="T44" fmla="*/ 2147483647 w 16384"/>
                    <a:gd name="T45" fmla="*/ 2147483647 h 16384"/>
                    <a:gd name="T46" fmla="*/ 2147483647 w 16384"/>
                    <a:gd name="T47" fmla="*/ 2147483647 h 16384"/>
                    <a:gd name="T48" fmla="*/ 2147483647 w 16384"/>
                    <a:gd name="T49" fmla="*/ 2147483647 h 16384"/>
                    <a:gd name="T50" fmla="*/ 2147483647 w 16384"/>
                    <a:gd name="T51" fmla="*/ 2147483647 h 16384"/>
                    <a:gd name="T52" fmla="*/ 2147483647 w 16384"/>
                    <a:gd name="T53" fmla="*/ 2147483647 h 16384"/>
                    <a:gd name="T54" fmla="*/ 2147483647 w 16384"/>
                    <a:gd name="T55" fmla="*/ 2147483647 h 16384"/>
                    <a:gd name="T56" fmla="*/ 2147483647 w 16384"/>
                    <a:gd name="T57" fmla="*/ 2147483647 h 16384"/>
                    <a:gd name="T58" fmla="*/ 2147483647 w 16384"/>
                    <a:gd name="T59" fmla="*/ 2147483647 h 16384"/>
                    <a:gd name="T60" fmla="*/ 2147483647 w 16384"/>
                    <a:gd name="T61" fmla="*/ 2147483647 h 16384"/>
                    <a:gd name="T62" fmla="*/ 2147483647 w 16384"/>
                    <a:gd name="T63" fmla="*/ 2147483647 h 16384"/>
                    <a:gd name="T64" fmla="*/ 2147483647 w 16384"/>
                    <a:gd name="T65" fmla="*/ 2147483647 h 16384"/>
                    <a:gd name="T66" fmla="*/ 2147483647 w 16384"/>
                    <a:gd name="T67" fmla="*/ 2147483647 h 16384"/>
                    <a:gd name="T68" fmla="*/ 2147483647 w 16384"/>
                    <a:gd name="T69" fmla="*/ 2147483647 h 16384"/>
                    <a:gd name="T70" fmla="*/ 2147483647 w 16384"/>
                    <a:gd name="T71" fmla="*/ 2147483647 h 16384"/>
                    <a:gd name="T72" fmla="*/ 2147483647 w 16384"/>
                    <a:gd name="T73" fmla="*/ 2147483647 h 16384"/>
                    <a:gd name="T74" fmla="*/ 2147483647 w 16384"/>
                    <a:gd name="T75" fmla="*/ 2147483647 h 16384"/>
                    <a:gd name="T76" fmla="*/ 2147483647 w 16384"/>
                    <a:gd name="T77" fmla="*/ 2147483647 h 16384"/>
                    <a:gd name="T78" fmla="*/ 2147483647 w 16384"/>
                    <a:gd name="T79" fmla="*/ 2147483647 h 16384"/>
                    <a:gd name="T80" fmla="*/ 2147483647 w 16384"/>
                    <a:gd name="T81" fmla="*/ 2147483647 h 16384"/>
                    <a:gd name="T82" fmla="*/ 2147483647 w 16384"/>
                    <a:gd name="T83" fmla="*/ 2147483647 h 16384"/>
                    <a:gd name="T84" fmla="*/ 2147483647 w 16384"/>
                    <a:gd name="T85" fmla="*/ 2147483647 h 16384"/>
                    <a:gd name="T86" fmla="*/ 2147483647 w 16384"/>
                    <a:gd name="T87" fmla="*/ 2147483647 h 16384"/>
                    <a:gd name="T88" fmla="*/ 2147483647 w 16384"/>
                    <a:gd name="T89" fmla="*/ 2147483647 h 16384"/>
                    <a:gd name="T90" fmla="*/ 2147483647 w 16384"/>
                    <a:gd name="T91" fmla="*/ 2147483647 h 16384"/>
                    <a:gd name="T92" fmla="*/ 2147483647 w 16384"/>
                    <a:gd name="T93" fmla="*/ 2147483647 h 16384"/>
                    <a:gd name="T94" fmla="*/ 2147483647 w 16384"/>
                    <a:gd name="T95" fmla="*/ 2147483647 h 16384"/>
                    <a:gd name="T96" fmla="*/ 2147483647 w 16384"/>
                    <a:gd name="T97" fmla="*/ 2147483647 h 16384"/>
                    <a:gd name="T98" fmla="*/ 2147483647 w 16384"/>
                    <a:gd name="T99" fmla="*/ 2147483647 h 16384"/>
                    <a:gd name="T100" fmla="*/ 2147483647 w 16384"/>
                    <a:gd name="T101" fmla="*/ 2147483647 h 16384"/>
                    <a:gd name="T102" fmla="*/ 2147483647 w 16384"/>
                    <a:gd name="T103" fmla="*/ 2147483647 h 16384"/>
                    <a:gd name="T104" fmla="*/ 2147483647 w 16384"/>
                    <a:gd name="T105" fmla="*/ 2147483647 h 16384"/>
                    <a:gd name="T106" fmla="*/ 2147483647 w 16384"/>
                    <a:gd name="T107" fmla="*/ 2147483647 h 16384"/>
                    <a:gd name="T108" fmla="*/ 2147483647 w 16384"/>
                    <a:gd name="T109" fmla="*/ 2147483647 h 16384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w 16384"/>
                    <a:gd name="T166" fmla="*/ 0 h 16384"/>
                    <a:gd name="T167" fmla="*/ 16384 w 16384"/>
                    <a:gd name="T168" fmla="*/ 16384 h 16384"/>
                  </a:gdLst>
                  <a:ahLst/>
                  <a:cxnLst>
                    <a:cxn ang="T110">
                      <a:pos x="T0" y="T1"/>
                    </a:cxn>
                    <a:cxn ang="T111">
                      <a:pos x="T2" y="T3"/>
                    </a:cxn>
                    <a:cxn ang="T112">
                      <a:pos x="T4" y="T5"/>
                    </a:cxn>
                    <a:cxn ang="T113">
                      <a:pos x="T6" y="T7"/>
                    </a:cxn>
                    <a:cxn ang="T114">
                      <a:pos x="T8" y="T9"/>
                    </a:cxn>
                    <a:cxn ang="T115">
                      <a:pos x="T10" y="T11"/>
                    </a:cxn>
                    <a:cxn ang="T116">
                      <a:pos x="T12" y="T13"/>
                    </a:cxn>
                    <a:cxn ang="T117">
                      <a:pos x="T14" y="T15"/>
                    </a:cxn>
                    <a:cxn ang="T118">
                      <a:pos x="T16" y="T17"/>
                    </a:cxn>
                    <a:cxn ang="T119">
                      <a:pos x="T18" y="T19"/>
                    </a:cxn>
                    <a:cxn ang="T120">
                      <a:pos x="T20" y="T21"/>
                    </a:cxn>
                    <a:cxn ang="T121">
                      <a:pos x="T22" y="T23"/>
                    </a:cxn>
                    <a:cxn ang="T122">
                      <a:pos x="T24" y="T25"/>
                    </a:cxn>
                    <a:cxn ang="T123">
                      <a:pos x="T26" y="T27"/>
                    </a:cxn>
                    <a:cxn ang="T124">
                      <a:pos x="T28" y="T29"/>
                    </a:cxn>
                    <a:cxn ang="T125">
                      <a:pos x="T30" y="T31"/>
                    </a:cxn>
                    <a:cxn ang="T126">
                      <a:pos x="T32" y="T33"/>
                    </a:cxn>
                    <a:cxn ang="T127">
                      <a:pos x="T34" y="T35"/>
                    </a:cxn>
                    <a:cxn ang="T128">
                      <a:pos x="T36" y="T37"/>
                    </a:cxn>
                    <a:cxn ang="T129">
                      <a:pos x="T38" y="T39"/>
                    </a:cxn>
                    <a:cxn ang="T130">
                      <a:pos x="T40" y="T41"/>
                    </a:cxn>
                    <a:cxn ang="T131">
                      <a:pos x="T42" y="T43"/>
                    </a:cxn>
                    <a:cxn ang="T132">
                      <a:pos x="T44" y="T45"/>
                    </a:cxn>
                    <a:cxn ang="T133">
                      <a:pos x="T46" y="T47"/>
                    </a:cxn>
                    <a:cxn ang="T134">
                      <a:pos x="T48" y="T49"/>
                    </a:cxn>
                    <a:cxn ang="T135">
                      <a:pos x="T50" y="T51"/>
                    </a:cxn>
                    <a:cxn ang="T136">
                      <a:pos x="T52" y="T53"/>
                    </a:cxn>
                    <a:cxn ang="T137">
                      <a:pos x="T54" y="T55"/>
                    </a:cxn>
                    <a:cxn ang="T138">
                      <a:pos x="T56" y="T57"/>
                    </a:cxn>
                    <a:cxn ang="T139">
                      <a:pos x="T58" y="T59"/>
                    </a:cxn>
                    <a:cxn ang="T140">
                      <a:pos x="T60" y="T61"/>
                    </a:cxn>
                    <a:cxn ang="T141">
                      <a:pos x="T62" y="T63"/>
                    </a:cxn>
                    <a:cxn ang="T142">
                      <a:pos x="T64" y="T65"/>
                    </a:cxn>
                    <a:cxn ang="T143">
                      <a:pos x="T66" y="T67"/>
                    </a:cxn>
                    <a:cxn ang="T144">
                      <a:pos x="T68" y="T69"/>
                    </a:cxn>
                    <a:cxn ang="T145">
                      <a:pos x="T70" y="T71"/>
                    </a:cxn>
                    <a:cxn ang="T146">
                      <a:pos x="T72" y="T73"/>
                    </a:cxn>
                    <a:cxn ang="T147">
                      <a:pos x="T74" y="T75"/>
                    </a:cxn>
                    <a:cxn ang="T148">
                      <a:pos x="T76" y="T77"/>
                    </a:cxn>
                    <a:cxn ang="T149">
                      <a:pos x="T78" y="T79"/>
                    </a:cxn>
                    <a:cxn ang="T150">
                      <a:pos x="T80" y="T81"/>
                    </a:cxn>
                    <a:cxn ang="T151">
                      <a:pos x="T82" y="T83"/>
                    </a:cxn>
                    <a:cxn ang="T152">
                      <a:pos x="T84" y="T85"/>
                    </a:cxn>
                    <a:cxn ang="T153">
                      <a:pos x="T86" y="T87"/>
                    </a:cxn>
                    <a:cxn ang="T154">
                      <a:pos x="T88" y="T89"/>
                    </a:cxn>
                    <a:cxn ang="T155">
                      <a:pos x="T90" y="T91"/>
                    </a:cxn>
                    <a:cxn ang="T156">
                      <a:pos x="T92" y="T93"/>
                    </a:cxn>
                    <a:cxn ang="T157">
                      <a:pos x="T94" y="T95"/>
                    </a:cxn>
                    <a:cxn ang="T158">
                      <a:pos x="T96" y="T97"/>
                    </a:cxn>
                    <a:cxn ang="T159">
                      <a:pos x="T98" y="T99"/>
                    </a:cxn>
                    <a:cxn ang="T160">
                      <a:pos x="T100" y="T101"/>
                    </a:cxn>
                    <a:cxn ang="T161">
                      <a:pos x="T102" y="T103"/>
                    </a:cxn>
                    <a:cxn ang="T162">
                      <a:pos x="T104" y="T105"/>
                    </a:cxn>
                    <a:cxn ang="T163">
                      <a:pos x="T106" y="T107"/>
                    </a:cxn>
                    <a:cxn ang="T164">
                      <a:pos x="T108" y="T109"/>
                    </a:cxn>
                  </a:cxnLst>
                  <a:rect l="T165" t="T166" r="T167" b="T168"/>
                  <a:pathLst>
                    <a:path w="16384" h="16384">
                      <a:moveTo>
                        <a:pt x="9691" y="13838"/>
                      </a:moveTo>
                      <a:lnTo>
                        <a:pt x="10277" y="13838"/>
                      </a:lnTo>
                      <a:lnTo>
                        <a:pt x="11886" y="13949"/>
                      </a:lnTo>
                      <a:lnTo>
                        <a:pt x="11922" y="13949"/>
                      </a:lnTo>
                      <a:lnTo>
                        <a:pt x="11959" y="14004"/>
                      </a:lnTo>
                      <a:lnTo>
                        <a:pt x="11995" y="14115"/>
                      </a:lnTo>
                      <a:lnTo>
                        <a:pt x="11995" y="14170"/>
                      </a:lnTo>
                      <a:lnTo>
                        <a:pt x="12105" y="14225"/>
                      </a:lnTo>
                      <a:lnTo>
                        <a:pt x="12142" y="14281"/>
                      </a:lnTo>
                      <a:lnTo>
                        <a:pt x="12251" y="14447"/>
                      </a:lnTo>
                      <a:lnTo>
                        <a:pt x="12325" y="14502"/>
                      </a:lnTo>
                      <a:lnTo>
                        <a:pt x="12361" y="14447"/>
                      </a:lnTo>
                      <a:lnTo>
                        <a:pt x="12471" y="14613"/>
                      </a:lnTo>
                      <a:lnTo>
                        <a:pt x="12581" y="14668"/>
                      </a:lnTo>
                      <a:lnTo>
                        <a:pt x="12690" y="14834"/>
                      </a:lnTo>
                      <a:lnTo>
                        <a:pt x="12800" y="14945"/>
                      </a:lnTo>
                      <a:lnTo>
                        <a:pt x="12910" y="15000"/>
                      </a:lnTo>
                      <a:lnTo>
                        <a:pt x="13056" y="15056"/>
                      </a:lnTo>
                      <a:lnTo>
                        <a:pt x="13129" y="15000"/>
                      </a:lnTo>
                      <a:lnTo>
                        <a:pt x="13202" y="14890"/>
                      </a:lnTo>
                      <a:lnTo>
                        <a:pt x="13275" y="14723"/>
                      </a:lnTo>
                      <a:lnTo>
                        <a:pt x="13312" y="14668"/>
                      </a:lnTo>
                      <a:lnTo>
                        <a:pt x="13422" y="14723"/>
                      </a:lnTo>
                      <a:lnTo>
                        <a:pt x="13495" y="14723"/>
                      </a:lnTo>
                      <a:lnTo>
                        <a:pt x="13568" y="14668"/>
                      </a:lnTo>
                      <a:lnTo>
                        <a:pt x="13641" y="14779"/>
                      </a:lnTo>
                      <a:lnTo>
                        <a:pt x="13714" y="14723"/>
                      </a:lnTo>
                      <a:lnTo>
                        <a:pt x="13787" y="14723"/>
                      </a:lnTo>
                      <a:lnTo>
                        <a:pt x="13861" y="14723"/>
                      </a:lnTo>
                      <a:lnTo>
                        <a:pt x="14007" y="14668"/>
                      </a:lnTo>
                      <a:lnTo>
                        <a:pt x="14117" y="14723"/>
                      </a:lnTo>
                      <a:lnTo>
                        <a:pt x="14190" y="14723"/>
                      </a:lnTo>
                      <a:lnTo>
                        <a:pt x="14263" y="14668"/>
                      </a:lnTo>
                      <a:lnTo>
                        <a:pt x="14373" y="14613"/>
                      </a:lnTo>
                      <a:lnTo>
                        <a:pt x="14409" y="14613"/>
                      </a:lnTo>
                      <a:lnTo>
                        <a:pt x="14482" y="14668"/>
                      </a:lnTo>
                      <a:lnTo>
                        <a:pt x="14629" y="14723"/>
                      </a:lnTo>
                      <a:lnTo>
                        <a:pt x="14629" y="14779"/>
                      </a:lnTo>
                      <a:lnTo>
                        <a:pt x="14629" y="14834"/>
                      </a:lnTo>
                      <a:lnTo>
                        <a:pt x="14665" y="14890"/>
                      </a:lnTo>
                      <a:lnTo>
                        <a:pt x="14738" y="14890"/>
                      </a:lnTo>
                      <a:lnTo>
                        <a:pt x="14775" y="14945"/>
                      </a:lnTo>
                      <a:lnTo>
                        <a:pt x="14811" y="15000"/>
                      </a:lnTo>
                      <a:lnTo>
                        <a:pt x="14921" y="15111"/>
                      </a:lnTo>
                      <a:lnTo>
                        <a:pt x="14994" y="15111"/>
                      </a:lnTo>
                      <a:lnTo>
                        <a:pt x="15104" y="15166"/>
                      </a:lnTo>
                      <a:lnTo>
                        <a:pt x="15141" y="15166"/>
                      </a:lnTo>
                      <a:lnTo>
                        <a:pt x="15177" y="15277"/>
                      </a:lnTo>
                      <a:lnTo>
                        <a:pt x="15214" y="15277"/>
                      </a:lnTo>
                      <a:lnTo>
                        <a:pt x="15287" y="15277"/>
                      </a:lnTo>
                      <a:lnTo>
                        <a:pt x="15397" y="15332"/>
                      </a:lnTo>
                      <a:lnTo>
                        <a:pt x="15470" y="15332"/>
                      </a:lnTo>
                      <a:lnTo>
                        <a:pt x="15543" y="15388"/>
                      </a:lnTo>
                      <a:lnTo>
                        <a:pt x="15579" y="15443"/>
                      </a:lnTo>
                      <a:lnTo>
                        <a:pt x="15689" y="15498"/>
                      </a:lnTo>
                      <a:lnTo>
                        <a:pt x="15726" y="15664"/>
                      </a:lnTo>
                      <a:lnTo>
                        <a:pt x="15762" y="15775"/>
                      </a:lnTo>
                      <a:lnTo>
                        <a:pt x="15799" y="15886"/>
                      </a:lnTo>
                      <a:lnTo>
                        <a:pt x="15872" y="15941"/>
                      </a:lnTo>
                      <a:lnTo>
                        <a:pt x="15909" y="15997"/>
                      </a:lnTo>
                      <a:lnTo>
                        <a:pt x="15982" y="16218"/>
                      </a:lnTo>
                      <a:lnTo>
                        <a:pt x="16055" y="16163"/>
                      </a:lnTo>
                      <a:lnTo>
                        <a:pt x="16091" y="16273"/>
                      </a:lnTo>
                      <a:lnTo>
                        <a:pt x="16165" y="16329"/>
                      </a:lnTo>
                      <a:lnTo>
                        <a:pt x="16201" y="16384"/>
                      </a:lnTo>
                      <a:lnTo>
                        <a:pt x="16238" y="16384"/>
                      </a:lnTo>
                      <a:lnTo>
                        <a:pt x="16311" y="16329"/>
                      </a:lnTo>
                      <a:lnTo>
                        <a:pt x="16347" y="16384"/>
                      </a:lnTo>
                      <a:lnTo>
                        <a:pt x="16311" y="16329"/>
                      </a:lnTo>
                      <a:lnTo>
                        <a:pt x="16274" y="16218"/>
                      </a:lnTo>
                      <a:lnTo>
                        <a:pt x="16274" y="16163"/>
                      </a:lnTo>
                      <a:lnTo>
                        <a:pt x="16274" y="16052"/>
                      </a:lnTo>
                      <a:lnTo>
                        <a:pt x="16274" y="15941"/>
                      </a:lnTo>
                      <a:lnTo>
                        <a:pt x="16091" y="15498"/>
                      </a:lnTo>
                      <a:lnTo>
                        <a:pt x="16018" y="15443"/>
                      </a:lnTo>
                      <a:lnTo>
                        <a:pt x="15982" y="15332"/>
                      </a:lnTo>
                      <a:lnTo>
                        <a:pt x="15982" y="15222"/>
                      </a:lnTo>
                      <a:lnTo>
                        <a:pt x="16018" y="15056"/>
                      </a:lnTo>
                      <a:lnTo>
                        <a:pt x="16091" y="14890"/>
                      </a:lnTo>
                      <a:lnTo>
                        <a:pt x="16165" y="14613"/>
                      </a:lnTo>
                      <a:lnTo>
                        <a:pt x="16165" y="14502"/>
                      </a:lnTo>
                      <a:lnTo>
                        <a:pt x="16165" y="14391"/>
                      </a:lnTo>
                      <a:lnTo>
                        <a:pt x="16201" y="14336"/>
                      </a:lnTo>
                      <a:lnTo>
                        <a:pt x="16201" y="14115"/>
                      </a:lnTo>
                      <a:lnTo>
                        <a:pt x="16238" y="14004"/>
                      </a:lnTo>
                      <a:lnTo>
                        <a:pt x="16165" y="13893"/>
                      </a:lnTo>
                      <a:lnTo>
                        <a:pt x="16347" y="13782"/>
                      </a:lnTo>
                      <a:lnTo>
                        <a:pt x="16347" y="13672"/>
                      </a:lnTo>
                      <a:lnTo>
                        <a:pt x="16347" y="13561"/>
                      </a:lnTo>
                      <a:lnTo>
                        <a:pt x="16347" y="13506"/>
                      </a:lnTo>
                      <a:lnTo>
                        <a:pt x="16347" y="13395"/>
                      </a:lnTo>
                      <a:lnTo>
                        <a:pt x="16311" y="13284"/>
                      </a:lnTo>
                      <a:lnTo>
                        <a:pt x="16311" y="13174"/>
                      </a:lnTo>
                      <a:lnTo>
                        <a:pt x="16274" y="13118"/>
                      </a:lnTo>
                      <a:lnTo>
                        <a:pt x="16238" y="13063"/>
                      </a:lnTo>
                      <a:lnTo>
                        <a:pt x="16165" y="13063"/>
                      </a:lnTo>
                      <a:lnTo>
                        <a:pt x="16091" y="13008"/>
                      </a:lnTo>
                      <a:lnTo>
                        <a:pt x="16091" y="12897"/>
                      </a:lnTo>
                      <a:lnTo>
                        <a:pt x="16055" y="12786"/>
                      </a:lnTo>
                      <a:lnTo>
                        <a:pt x="16091" y="12731"/>
                      </a:lnTo>
                      <a:lnTo>
                        <a:pt x="16165" y="12675"/>
                      </a:lnTo>
                      <a:lnTo>
                        <a:pt x="16201" y="12565"/>
                      </a:lnTo>
                      <a:lnTo>
                        <a:pt x="16201" y="12399"/>
                      </a:lnTo>
                      <a:lnTo>
                        <a:pt x="16165" y="12288"/>
                      </a:lnTo>
                      <a:lnTo>
                        <a:pt x="16055" y="12177"/>
                      </a:lnTo>
                      <a:lnTo>
                        <a:pt x="16018" y="12011"/>
                      </a:lnTo>
                      <a:lnTo>
                        <a:pt x="16055" y="11845"/>
                      </a:lnTo>
                      <a:lnTo>
                        <a:pt x="16384" y="11845"/>
                      </a:lnTo>
                      <a:lnTo>
                        <a:pt x="16384" y="10295"/>
                      </a:lnTo>
                      <a:lnTo>
                        <a:pt x="16384" y="8746"/>
                      </a:lnTo>
                      <a:lnTo>
                        <a:pt x="16384" y="8690"/>
                      </a:lnTo>
                      <a:lnTo>
                        <a:pt x="16384" y="7251"/>
                      </a:lnTo>
                      <a:lnTo>
                        <a:pt x="16384" y="6808"/>
                      </a:lnTo>
                      <a:lnTo>
                        <a:pt x="16384" y="6033"/>
                      </a:lnTo>
                      <a:lnTo>
                        <a:pt x="16384" y="5314"/>
                      </a:lnTo>
                      <a:lnTo>
                        <a:pt x="16384" y="4041"/>
                      </a:lnTo>
                      <a:lnTo>
                        <a:pt x="16384" y="3930"/>
                      </a:lnTo>
                      <a:lnTo>
                        <a:pt x="16384" y="3819"/>
                      </a:lnTo>
                      <a:lnTo>
                        <a:pt x="16347" y="3653"/>
                      </a:lnTo>
                      <a:lnTo>
                        <a:pt x="16238" y="3542"/>
                      </a:lnTo>
                      <a:lnTo>
                        <a:pt x="16091" y="3432"/>
                      </a:lnTo>
                      <a:lnTo>
                        <a:pt x="15872" y="3266"/>
                      </a:lnTo>
                      <a:lnTo>
                        <a:pt x="15799" y="3044"/>
                      </a:lnTo>
                      <a:lnTo>
                        <a:pt x="15689" y="2768"/>
                      </a:lnTo>
                      <a:lnTo>
                        <a:pt x="15616" y="2657"/>
                      </a:lnTo>
                      <a:lnTo>
                        <a:pt x="15579" y="2602"/>
                      </a:lnTo>
                      <a:lnTo>
                        <a:pt x="15579" y="2435"/>
                      </a:lnTo>
                      <a:lnTo>
                        <a:pt x="15579" y="2380"/>
                      </a:lnTo>
                      <a:lnTo>
                        <a:pt x="15616" y="2269"/>
                      </a:lnTo>
                      <a:lnTo>
                        <a:pt x="15689" y="2214"/>
                      </a:lnTo>
                      <a:lnTo>
                        <a:pt x="15945" y="1882"/>
                      </a:lnTo>
                      <a:lnTo>
                        <a:pt x="16091" y="1605"/>
                      </a:lnTo>
                      <a:lnTo>
                        <a:pt x="16128" y="1494"/>
                      </a:lnTo>
                      <a:lnTo>
                        <a:pt x="16165" y="1384"/>
                      </a:lnTo>
                      <a:lnTo>
                        <a:pt x="16165" y="1218"/>
                      </a:lnTo>
                      <a:lnTo>
                        <a:pt x="16165" y="1107"/>
                      </a:lnTo>
                      <a:lnTo>
                        <a:pt x="14775" y="1052"/>
                      </a:lnTo>
                      <a:lnTo>
                        <a:pt x="13239" y="1052"/>
                      </a:lnTo>
                      <a:lnTo>
                        <a:pt x="13202" y="1052"/>
                      </a:lnTo>
                      <a:lnTo>
                        <a:pt x="11703" y="996"/>
                      </a:lnTo>
                      <a:lnTo>
                        <a:pt x="11154" y="941"/>
                      </a:lnTo>
                      <a:lnTo>
                        <a:pt x="9691" y="830"/>
                      </a:lnTo>
                      <a:lnTo>
                        <a:pt x="9362" y="830"/>
                      </a:lnTo>
                      <a:lnTo>
                        <a:pt x="8046" y="720"/>
                      </a:lnTo>
                      <a:lnTo>
                        <a:pt x="4974" y="498"/>
                      </a:lnTo>
                      <a:lnTo>
                        <a:pt x="3072" y="277"/>
                      </a:lnTo>
                      <a:lnTo>
                        <a:pt x="2962" y="221"/>
                      </a:lnTo>
                      <a:lnTo>
                        <a:pt x="768" y="0"/>
                      </a:lnTo>
                      <a:lnTo>
                        <a:pt x="768" y="277"/>
                      </a:lnTo>
                      <a:lnTo>
                        <a:pt x="585" y="3155"/>
                      </a:lnTo>
                      <a:lnTo>
                        <a:pt x="549" y="4096"/>
                      </a:lnTo>
                      <a:lnTo>
                        <a:pt x="439" y="5923"/>
                      </a:lnTo>
                      <a:lnTo>
                        <a:pt x="329" y="7694"/>
                      </a:lnTo>
                      <a:lnTo>
                        <a:pt x="293" y="7915"/>
                      </a:lnTo>
                      <a:lnTo>
                        <a:pt x="219" y="9133"/>
                      </a:lnTo>
                      <a:lnTo>
                        <a:pt x="146" y="10683"/>
                      </a:lnTo>
                      <a:lnTo>
                        <a:pt x="110" y="10794"/>
                      </a:lnTo>
                      <a:lnTo>
                        <a:pt x="0" y="12897"/>
                      </a:lnTo>
                      <a:lnTo>
                        <a:pt x="1170" y="13008"/>
                      </a:lnTo>
                      <a:lnTo>
                        <a:pt x="2267" y="13174"/>
                      </a:lnTo>
                      <a:lnTo>
                        <a:pt x="2743" y="13229"/>
                      </a:lnTo>
                      <a:lnTo>
                        <a:pt x="4242" y="13395"/>
                      </a:lnTo>
                      <a:lnTo>
                        <a:pt x="6071" y="13561"/>
                      </a:lnTo>
                      <a:lnTo>
                        <a:pt x="8265" y="13727"/>
                      </a:lnTo>
                      <a:lnTo>
                        <a:pt x="9691" y="13838"/>
                      </a:lnTo>
                      <a:close/>
                    </a:path>
                  </a:pathLst>
                </a:custGeom>
                <a:solidFill>
                  <a:srgbClr val="00B050"/>
                </a:solidFill>
                <a:ln w="9525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defTabSz="121917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60" name="Tennessee">
                  <a:extLst>
                    <a:ext uri="{FF2B5EF4-FFF2-40B4-BE49-F238E27FC236}">
                      <a16:creationId xmlns:a16="http://schemas.microsoft.com/office/drawing/2014/main" id="{B0FA8BA5-C5F2-FFB9-99F2-F78D4CAF982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8730332" y="10058399"/>
                  <a:ext cx="6335289" cy="1676402"/>
                </a:xfrm>
                <a:custGeom>
                  <a:avLst/>
                  <a:gdLst>
                    <a:gd name="T0" fmla="*/ 2147483647 w 16384"/>
                    <a:gd name="T1" fmla="*/ 2147483647 h 16384"/>
                    <a:gd name="T2" fmla="*/ 2147483647 w 16384"/>
                    <a:gd name="T3" fmla="*/ 2147483647 h 16384"/>
                    <a:gd name="T4" fmla="*/ 2147483647 w 16384"/>
                    <a:gd name="T5" fmla="*/ 2147483647 h 16384"/>
                    <a:gd name="T6" fmla="*/ 2147483647 w 16384"/>
                    <a:gd name="T7" fmla="*/ 2147483647 h 16384"/>
                    <a:gd name="T8" fmla="*/ 2147483647 w 16384"/>
                    <a:gd name="T9" fmla="*/ 2147483647 h 16384"/>
                    <a:gd name="T10" fmla="*/ 2147483647 w 16384"/>
                    <a:gd name="T11" fmla="*/ 2147483647 h 16384"/>
                    <a:gd name="T12" fmla="*/ 2147483647 w 16384"/>
                    <a:gd name="T13" fmla="*/ 2147483647 h 16384"/>
                    <a:gd name="T14" fmla="*/ 2147483647 w 16384"/>
                    <a:gd name="T15" fmla="*/ 2147483647 h 16384"/>
                    <a:gd name="T16" fmla="*/ 2147483647 w 16384"/>
                    <a:gd name="T17" fmla="*/ 2147483647 h 16384"/>
                    <a:gd name="T18" fmla="*/ 2147483647 w 16384"/>
                    <a:gd name="T19" fmla="*/ 2147483647 h 16384"/>
                    <a:gd name="T20" fmla="*/ 2147483647 w 16384"/>
                    <a:gd name="T21" fmla="*/ 2147483647 h 16384"/>
                    <a:gd name="T22" fmla="*/ 2147483647 w 16384"/>
                    <a:gd name="T23" fmla="*/ 2147483647 h 16384"/>
                    <a:gd name="T24" fmla="*/ 2147483647 w 16384"/>
                    <a:gd name="T25" fmla="*/ 2147483647 h 16384"/>
                    <a:gd name="T26" fmla="*/ 2147483647 w 16384"/>
                    <a:gd name="T27" fmla="*/ 2147483647 h 16384"/>
                    <a:gd name="T28" fmla="*/ 2147483647 w 16384"/>
                    <a:gd name="T29" fmla="*/ 2147483647 h 16384"/>
                    <a:gd name="T30" fmla="*/ 2147483647 w 16384"/>
                    <a:gd name="T31" fmla="*/ 2147483647 h 16384"/>
                    <a:gd name="T32" fmla="*/ 2147483647 w 16384"/>
                    <a:gd name="T33" fmla="*/ 2147483647 h 16384"/>
                    <a:gd name="T34" fmla="*/ 2147483647 w 16384"/>
                    <a:gd name="T35" fmla="*/ 2147483647 h 16384"/>
                    <a:gd name="T36" fmla="*/ 2147483647 w 16384"/>
                    <a:gd name="T37" fmla="*/ 2147483647 h 16384"/>
                    <a:gd name="T38" fmla="*/ 2147483647 w 16384"/>
                    <a:gd name="T39" fmla="*/ 2147483647 h 16384"/>
                    <a:gd name="T40" fmla="*/ 2147483647 w 16384"/>
                    <a:gd name="T41" fmla="*/ 2147483647 h 16384"/>
                    <a:gd name="T42" fmla="*/ 2147483647 w 16384"/>
                    <a:gd name="T43" fmla="*/ 2147483647 h 16384"/>
                    <a:gd name="T44" fmla="*/ 2147483647 w 16384"/>
                    <a:gd name="T45" fmla="*/ 2147483647 h 16384"/>
                    <a:gd name="T46" fmla="*/ 2147483647 w 16384"/>
                    <a:gd name="T47" fmla="*/ 2147483647 h 16384"/>
                    <a:gd name="T48" fmla="*/ 2147483647 w 16384"/>
                    <a:gd name="T49" fmla="*/ 2147483647 h 16384"/>
                    <a:gd name="T50" fmla="*/ 2147483647 w 16384"/>
                    <a:gd name="T51" fmla="*/ 2147483647 h 16384"/>
                    <a:gd name="T52" fmla="*/ 2147483647 w 16384"/>
                    <a:gd name="T53" fmla="*/ 2147483647 h 16384"/>
                    <a:gd name="T54" fmla="*/ 2147483647 w 16384"/>
                    <a:gd name="T55" fmla="*/ 2147483647 h 16384"/>
                    <a:gd name="T56" fmla="*/ 2147483647 w 16384"/>
                    <a:gd name="T57" fmla="*/ 2147483647 h 16384"/>
                    <a:gd name="T58" fmla="*/ 2147483647 w 16384"/>
                    <a:gd name="T59" fmla="*/ 2147483647 h 16384"/>
                    <a:gd name="T60" fmla="*/ 2147483647 w 16384"/>
                    <a:gd name="T61" fmla="*/ 2147483647 h 16384"/>
                    <a:gd name="T62" fmla="*/ 2147483647 w 16384"/>
                    <a:gd name="T63" fmla="*/ 2147483647 h 16384"/>
                    <a:gd name="T64" fmla="*/ 2147483647 w 16384"/>
                    <a:gd name="T65" fmla="*/ 2147483647 h 16384"/>
                    <a:gd name="T66" fmla="*/ 2147483647 w 16384"/>
                    <a:gd name="T67" fmla="*/ 2147483647 h 16384"/>
                    <a:gd name="T68" fmla="*/ 2147483647 w 16384"/>
                    <a:gd name="T69" fmla="*/ 2147483647 h 16384"/>
                    <a:gd name="T70" fmla="*/ 2147483647 w 16384"/>
                    <a:gd name="T71" fmla="*/ 2147483647 h 16384"/>
                    <a:gd name="T72" fmla="*/ 2147483647 w 16384"/>
                    <a:gd name="T73" fmla="*/ 2147483647 h 16384"/>
                    <a:gd name="T74" fmla="*/ 2147483647 w 16384"/>
                    <a:gd name="T75" fmla="*/ 2147483647 h 16384"/>
                    <a:gd name="T76" fmla="*/ 2147483647 w 16384"/>
                    <a:gd name="T77" fmla="*/ 2147483647 h 16384"/>
                    <a:gd name="T78" fmla="*/ 2147483647 w 16384"/>
                    <a:gd name="T79" fmla="*/ 2147483647 h 16384"/>
                    <a:gd name="T80" fmla="*/ 2147483647 w 16384"/>
                    <a:gd name="T81" fmla="*/ 2147483647 h 16384"/>
                    <a:gd name="T82" fmla="*/ 2147483647 w 16384"/>
                    <a:gd name="T83" fmla="*/ 2147483647 h 16384"/>
                    <a:gd name="T84" fmla="*/ 2147483647 w 16384"/>
                    <a:gd name="T85" fmla="*/ 2147483647 h 16384"/>
                    <a:gd name="T86" fmla="*/ 2147483647 w 16384"/>
                    <a:gd name="T87" fmla="*/ 2147483647 h 16384"/>
                    <a:gd name="T88" fmla="*/ 2147483647 w 16384"/>
                    <a:gd name="T89" fmla="*/ 2147483647 h 16384"/>
                    <a:gd name="T90" fmla="*/ 2147483647 w 16384"/>
                    <a:gd name="T91" fmla="*/ 2147483647 h 16384"/>
                    <a:gd name="T92" fmla="*/ 2147483647 w 16384"/>
                    <a:gd name="T93" fmla="*/ 2147483647 h 16384"/>
                    <a:gd name="T94" fmla="*/ 2147483647 w 16384"/>
                    <a:gd name="T95" fmla="*/ 2147483647 h 16384"/>
                    <a:gd name="T96" fmla="*/ 2147483647 w 16384"/>
                    <a:gd name="T97" fmla="*/ 2147483647 h 16384"/>
                    <a:gd name="T98" fmla="*/ 2147483647 w 16384"/>
                    <a:gd name="T99" fmla="*/ 2147483647 h 16384"/>
                    <a:gd name="T100" fmla="*/ 2147483647 w 16384"/>
                    <a:gd name="T101" fmla="*/ 2147483647 h 16384"/>
                    <a:gd name="T102" fmla="*/ 2147483647 w 16384"/>
                    <a:gd name="T103" fmla="*/ 2147483647 h 16384"/>
                    <a:gd name="T104" fmla="*/ 2147483647 w 16384"/>
                    <a:gd name="T105" fmla="*/ 2147483647 h 16384"/>
                    <a:gd name="T106" fmla="*/ 2147483647 w 16384"/>
                    <a:gd name="T107" fmla="*/ 2147483647 h 16384"/>
                    <a:gd name="T108" fmla="*/ 2147483647 w 16384"/>
                    <a:gd name="T109" fmla="*/ 2147483647 h 16384"/>
                    <a:gd name="T110" fmla="*/ 2147483647 w 16384"/>
                    <a:gd name="T111" fmla="*/ 2147483647 h 16384"/>
                    <a:gd name="T112" fmla="*/ 2147483647 w 16384"/>
                    <a:gd name="T113" fmla="*/ 2147483647 h 16384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w 16384"/>
                    <a:gd name="T172" fmla="*/ 0 h 16384"/>
                    <a:gd name="T173" fmla="*/ 16384 w 16384"/>
                    <a:gd name="T174" fmla="*/ 16384 h 16384"/>
                  </a:gdLst>
                  <a:ahLst/>
                  <a:cxnLst>
                    <a:cxn ang="T114">
                      <a:pos x="T0" y="T1"/>
                    </a:cxn>
                    <a:cxn ang="T115">
                      <a:pos x="T2" y="T3"/>
                    </a:cxn>
                    <a:cxn ang="T116">
                      <a:pos x="T4" y="T5"/>
                    </a:cxn>
                    <a:cxn ang="T117">
                      <a:pos x="T6" y="T7"/>
                    </a:cxn>
                    <a:cxn ang="T118">
                      <a:pos x="T8" y="T9"/>
                    </a:cxn>
                    <a:cxn ang="T119">
                      <a:pos x="T10" y="T11"/>
                    </a:cxn>
                    <a:cxn ang="T120">
                      <a:pos x="T12" y="T13"/>
                    </a:cxn>
                    <a:cxn ang="T121">
                      <a:pos x="T14" y="T15"/>
                    </a:cxn>
                    <a:cxn ang="T122">
                      <a:pos x="T16" y="T17"/>
                    </a:cxn>
                    <a:cxn ang="T123">
                      <a:pos x="T18" y="T19"/>
                    </a:cxn>
                    <a:cxn ang="T124">
                      <a:pos x="T20" y="T21"/>
                    </a:cxn>
                    <a:cxn ang="T125">
                      <a:pos x="T22" y="T23"/>
                    </a:cxn>
                    <a:cxn ang="T126">
                      <a:pos x="T24" y="T25"/>
                    </a:cxn>
                    <a:cxn ang="T127">
                      <a:pos x="T26" y="T27"/>
                    </a:cxn>
                    <a:cxn ang="T128">
                      <a:pos x="T28" y="T29"/>
                    </a:cxn>
                    <a:cxn ang="T129">
                      <a:pos x="T30" y="T31"/>
                    </a:cxn>
                    <a:cxn ang="T130">
                      <a:pos x="T32" y="T33"/>
                    </a:cxn>
                    <a:cxn ang="T131">
                      <a:pos x="T34" y="T35"/>
                    </a:cxn>
                    <a:cxn ang="T132">
                      <a:pos x="T36" y="T37"/>
                    </a:cxn>
                    <a:cxn ang="T133">
                      <a:pos x="T38" y="T39"/>
                    </a:cxn>
                    <a:cxn ang="T134">
                      <a:pos x="T40" y="T41"/>
                    </a:cxn>
                    <a:cxn ang="T135">
                      <a:pos x="T42" y="T43"/>
                    </a:cxn>
                    <a:cxn ang="T136">
                      <a:pos x="T44" y="T45"/>
                    </a:cxn>
                    <a:cxn ang="T137">
                      <a:pos x="T46" y="T47"/>
                    </a:cxn>
                    <a:cxn ang="T138">
                      <a:pos x="T48" y="T49"/>
                    </a:cxn>
                    <a:cxn ang="T139">
                      <a:pos x="T50" y="T51"/>
                    </a:cxn>
                    <a:cxn ang="T140">
                      <a:pos x="T52" y="T53"/>
                    </a:cxn>
                    <a:cxn ang="T141">
                      <a:pos x="T54" y="T55"/>
                    </a:cxn>
                    <a:cxn ang="T142">
                      <a:pos x="T56" y="T57"/>
                    </a:cxn>
                    <a:cxn ang="T143">
                      <a:pos x="T58" y="T59"/>
                    </a:cxn>
                    <a:cxn ang="T144">
                      <a:pos x="T60" y="T61"/>
                    </a:cxn>
                    <a:cxn ang="T145">
                      <a:pos x="T62" y="T63"/>
                    </a:cxn>
                    <a:cxn ang="T146">
                      <a:pos x="T64" y="T65"/>
                    </a:cxn>
                    <a:cxn ang="T147">
                      <a:pos x="T66" y="T67"/>
                    </a:cxn>
                    <a:cxn ang="T148">
                      <a:pos x="T68" y="T69"/>
                    </a:cxn>
                    <a:cxn ang="T149">
                      <a:pos x="T70" y="T71"/>
                    </a:cxn>
                    <a:cxn ang="T150">
                      <a:pos x="T72" y="T73"/>
                    </a:cxn>
                    <a:cxn ang="T151">
                      <a:pos x="T74" y="T75"/>
                    </a:cxn>
                    <a:cxn ang="T152">
                      <a:pos x="T76" y="T77"/>
                    </a:cxn>
                    <a:cxn ang="T153">
                      <a:pos x="T78" y="T79"/>
                    </a:cxn>
                    <a:cxn ang="T154">
                      <a:pos x="T80" y="T81"/>
                    </a:cxn>
                    <a:cxn ang="T155">
                      <a:pos x="T82" y="T83"/>
                    </a:cxn>
                    <a:cxn ang="T156">
                      <a:pos x="T84" y="T85"/>
                    </a:cxn>
                    <a:cxn ang="T157">
                      <a:pos x="T86" y="T87"/>
                    </a:cxn>
                    <a:cxn ang="T158">
                      <a:pos x="T88" y="T89"/>
                    </a:cxn>
                    <a:cxn ang="T159">
                      <a:pos x="T90" y="T91"/>
                    </a:cxn>
                    <a:cxn ang="T160">
                      <a:pos x="T92" y="T93"/>
                    </a:cxn>
                    <a:cxn ang="T161">
                      <a:pos x="T94" y="T95"/>
                    </a:cxn>
                    <a:cxn ang="T162">
                      <a:pos x="T96" y="T97"/>
                    </a:cxn>
                    <a:cxn ang="T163">
                      <a:pos x="T98" y="T99"/>
                    </a:cxn>
                    <a:cxn ang="T164">
                      <a:pos x="T100" y="T101"/>
                    </a:cxn>
                    <a:cxn ang="T165">
                      <a:pos x="T102" y="T103"/>
                    </a:cxn>
                    <a:cxn ang="T166">
                      <a:pos x="T104" y="T105"/>
                    </a:cxn>
                    <a:cxn ang="T167">
                      <a:pos x="T106" y="T107"/>
                    </a:cxn>
                    <a:cxn ang="T168">
                      <a:pos x="T108" y="T109"/>
                    </a:cxn>
                    <a:cxn ang="T169">
                      <a:pos x="T110" y="T111"/>
                    </a:cxn>
                    <a:cxn ang="T170">
                      <a:pos x="T112" y="T113"/>
                    </a:cxn>
                  </a:cxnLst>
                  <a:rect l="T171" t="T172" r="T173" b="T174"/>
                  <a:pathLst>
                    <a:path w="16384" h="16384">
                      <a:moveTo>
                        <a:pt x="12854" y="8849"/>
                      </a:moveTo>
                      <a:lnTo>
                        <a:pt x="12974" y="8849"/>
                      </a:lnTo>
                      <a:lnTo>
                        <a:pt x="13125" y="8849"/>
                      </a:lnTo>
                      <a:lnTo>
                        <a:pt x="13186" y="8761"/>
                      </a:lnTo>
                      <a:lnTo>
                        <a:pt x="13246" y="8499"/>
                      </a:lnTo>
                      <a:lnTo>
                        <a:pt x="13276" y="8411"/>
                      </a:lnTo>
                      <a:lnTo>
                        <a:pt x="13337" y="8323"/>
                      </a:lnTo>
                      <a:lnTo>
                        <a:pt x="13367" y="8148"/>
                      </a:lnTo>
                      <a:lnTo>
                        <a:pt x="13427" y="8061"/>
                      </a:lnTo>
                      <a:lnTo>
                        <a:pt x="13457" y="7973"/>
                      </a:lnTo>
                      <a:lnTo>
                        <a:pt x="13518" y="7973"/>
                      </a:lnTo>
                      <a:lnTo>
                        <a:pt x="13548" y="7885"/>
                      </a:lnTo>
                      <a:lnTo>
                        <a:pt x="13578" y="7710"/>
                      </a:lnTo>
                      <a:lnTo>
                        <a:pt x="13638" y="7535"/>
                      </a:lnTo>
                      <a:lnTo>
                        <a:pt x="13759" y="7272"/>
                      </a:lnTo>
                      <a:lnTo>
                        <a:pt x="13849" y="7097"/>
                      </a:lnTo>
                      <a:lnTo>
                        <a:pt x="13940" y="6922"/>
                      </a:lnTo>
                      <a:lnTo>
                        <a:pt x="14030" y="6922"/>
                      </a:lnTo>
                      <a:lnTo>
                        <a:pt x="14061" y="6922"/>
                      </a:lnTo>
                      <a:lnTo>
                        <a:pt x="14121" y="6746"/>
                      </a:lnTo>
                      <a:lnTo>
                        <a:pt x="14151" y="6659"/>
                      </a:lnTo>
                      <a:lnTo>
                        <a:pt x="14212" y="6396"/>
                      </a:lnTo>
                      <a:lnTo>
                        <a:pt x="14242" y="6221"/>
                      </a:lnTo>
                      <a:lnTo>
                        <a:pt x="14212" y="6133"/>
                      </a:lnTo>
                      <a:lnTo>
                        <a:pt x="14181" y="5870"/>
                      </a:lnTo>
                      <a:lnTo>
                        <a:pt x="14212" y="5783"/>
                      </a:lnTo>
                      <a:lnTo>
                        <a:pt x="14242" y="5695"/>
                      </a:lnTo>
                      <a:lnTo>
                        <a:pt x="14332" y="5783"/>
                      </a:lnTo>
                      <a:lnTo>
                        <a:pt x="14393" y="5695"/>
                      </a:lnTo>
                      <a:lnTo>
                        <a:pt x="14423" y="5520"/>
                      </a:lnTo>
                      <a:lnTo>
                        <a:pt x="14423" y="5345"/>
                      </a:lnTo>
                      <a:lnTo>
                        <a:pt x="14453" y="5169"/>
                      </a:lnTo>
                      <a:lnTo>
                        <a:pt x="14634" y="4644"/>
                      </a:lnTo>
                      <a:lnTo>
                        <a:pt x="14664" y="4644"/>
                      </a:lnTo>
                      <a:lnTo>
                        <a:pt x="14724" y="4819"/>
                      </a:lnTo>
                      <a:lnTo>
                        <a:pt x="14724" y="5082"/>
                      </a:lnTo>
                      <a:lnTo>
                        <a:pt x="14724" y="5257"/>
                      </a:lnTo>
                      <a:lnTo>
                        <a:pt x="14755" y="5345"/>
                      </a:lnTo>
                      <a:lnTo>
                        <a:pt x="14815" y="5345"/>
                      </a:lnTo>
                      <a:lnTo>
                        <a:pt x="14875" y="5257"/>
                      </a:lnTo>
                      <a:lnTo>
                        <a:pt x="14966" y="5257"/>
                      </a:lnTo>
                      <a:lnTo>
                        <a:pt x="14996" y="5082"/>
                      </a:lnTo>
                      <a:lnTo>
                        <a:pt x="15056" y="4906"/>
                      </a:lnTo>
                      <a:lnTo>
                        <a:pt x="15117" y="4644"/>
                      </a:lnTo>
                      <a:lnTo>
                        <a:pt x="15117" y="4468"/>
                      </a:lnTo>
                      <a:lnTo>
                        <a:pt x="15147" y="4381"/>
                      </a:lnTo>
                      <a:lnTo>
                        <a:pt x="15207" y="4118"/>
                      </a:lnTo>
                      <a:lnTo>
                        <a:pt x="15268" y="4030"/>
                      </a:lnTo>
                      <a:lnTo>
                        <a:pt x="15328" y="3943"/>
                      </a:lnTo>
                      <a:lnTo>
                        <a:pt x="15388" y="3943"/>
                      </a:lnTo>
                      <a:lnTo>
                        <a:pt x="15449" y="3855"/>
                      </a:lnTo>
                      <a:lnTo>
                        <a:pt x="15509" y="3767"/>
                      </a:lnTo>
                      <a:lnTo>
                        <a:pt x="15599" y="3855"/>
                      </a:lnTo>
                      <a:lnTo>
                        <a:pt x="15630" y="3943"/>
                      </a:lnTo>
                      <a:lnTo>
                        <a:pt x="15660" y="3943"/>
                      </a:lnTo>
                      <a:lnTo>
                        <a:pt x="15720" y="3943"/>
                      </a:lnTo>
                      <a:lnTo>
                        <a:pt x="15781" y="3855"/>
                      </a:lnTo>
                      <a:lnTo>
                        <a:pt x="15841" y="3680"/>
                      </a:lnTo>
                      <a:lnTo>
                        <a:pt x="15901" y="3154"/>
                      </a:lnTo>
                      <a:lnTo>
                        <a:pt x="15962" y="2804"/>
                      </a:lnTo>
                      <a:lnTo>
                        <a:pt x="15962" y="2716"/>
                      </a:lnTo>
                      <a:lnTo>
                        <a:pt x="16052" y="2278"/>
                      </a:lnTo>
                      <a:lnTo>
                        <a:pt x="16112" y="2015"/>
                      </a:lnTo>
                      <a:lnTo>
                        <a:pt x="16173" y="2015"/>
                      </a:lnTo>
                      <a:lnTo>
                        <a:pt x="16263" y="2015"/>
                      </a:lnTo>
                      <a:lnTo>
                        <a:pt x="16354" y="2015"/>
                      </a:lnTo>
                      <a:lnTo>
                        <a:pt x="16324" y="1840"/>
                      </a:lnTo>
                      <a:lnTo>
                        <a:pt x="16293" y="1752"/>
                      </a:lnTo>
                      <a:lnTo>
                        <a:pt x="16263" y="1577"/>
                      </a:lnTo>
                      <a:lnTo>
                        <a:pt x="16293" y="1314"/>
                      </a:lnTo>
                      <a:lnTo>
                        <a:pt x="16324" y="1051"/>
                      </a:lnTo>
                      <a:lnTo>
                        <a:pt x="16324" y="876"/>
                      </a:lnTo>
                      <a:lnTo>
                        <a:pt x="16293" y="701"/>
                      </a:lnTo>
                      <a:lnTo>
                        <a:pt x="16293" y="526"/>
                      </a:lnTo>
                      <a:lnTo>
                        <a:pt x="16324" y="263"/>
                      </a:lnTo>
                      <a:lnTo>
                        <a:pt x="16384" y="175"/>
                      </a:lnTo>
                      <a:lnTo>
                        <a:pt x="16354" y="0"/>
                      </a:lnTo>
                      <a:lnTo>
                        <a:pt x="16052" y="175"/>
                      </a:lnTo>
                      <a:lnTo>
                        <a:pt x="15871" y="263"/>
                      </a:lnTo>
                      <a:lnTo>
                        <a:pt x="15841" y="438"/>
                      </a:lnTo>
                      <a:lnTo>
                        <a:pt x="15147" y="701"/>
                      </a:lnTo>
                      <a:lnTo>
                        <a:pt x="14574" y="964"/>
                      </a:lnTo>
                      <a:lnTo>
                        <a:pt x="14121" y="1139"/>
                      </a:lnTo>
                      <a:lnTo>
                        <a:pt x="13819" y="1227"/>
                      </a:lnTo>
                      <a:lnTo>
                        <a:pt x="12884" y="1665"/>
                      </a:lnTo>
                      <a:lnTo>
                        <a:pt x="12582" y="1665"/>
                      </a:lnTo>
                      <a:lnTo>
                        <a:pt x="12552" y="1665"/>
                      </a:lnTo>
                      <a:lnTo>
                        <a:pt x="12522" y="1752"/>
                      </a:lnTo>
                      <a:lnTo>
                        <a:pt x="12492" y="1840"/>
                      </a:lnTo>
                      <a:lnTo>
                        <a:pt x="12341" y="1928"/>
                      </a:lnTo>
                      <a:lnTo>
                        <a:pt x="11828" y="2015"/>
                      </a:lnTo>
                      <a:lnTo>
                        <a:pt x="11466" y="2190"/>
                      </a:lnTo>
                      <a:lnTo>
                        <a:pt x="10470" y="2366"/>
                      </a:lnTo>
                      <a:lnTo>
                        <a:pt x="10380" y="2366"/>
                      </a:lnTo>
                      <a:lnTo>
                        <a:pt x="10017" y="2453"/>
                      </a:lnTo>
                      <a:lnTo>
                        <a:pt x="9414" y="2628"/>
                      </a:lnTo>
                      <a:lnTo>
                        <a:pt x="9384" y="2628"/>
                      </a:lnTo>
                      <a:lnTo>
                        <a:pt x="9082" y="2716"/>
                      </a:lnTo>
                      <a:lnTo>
                        <a:pt x="8509" y="2979"/>
                      </a:lnTo>
                      <a:lnTo>
                        <a:pt x="8086" y="2979"/>
                      </a:lnTo>
                      <a:lnTo>
                        <a:pt x="7664" y="3067"/>
                      </a:lnTo>
                      <a:lnTo>
                        <a:pt x="7272" y="3067"/>
                      </a:lnTo>
                      <a:lnTo>
                        <a:pt x="7151" y="3067"/>
                      </a:lnTo>
                      <a:lnTo>
                        <a:pt x="7061" y="3154"/>
                      </a:lnTo>
                      <a:lnTo>
                        <a:pt x="7000" y="3242"/>
                      </a:lnTo>
                      <a:lnTo>
                        <a:pt x="6940" y="3329"/>
                      </a:lnTo>
                      <a:lnTo>
                        <a:pt x="6879" y="3242"/>
                      </a:lnTo>
                      <a:lnTo>
                        <a:pt x="6729" y="3242"/>
                      </a:lnTo>
                      <a:lnTo>
                        <a:pt x="6548" y="3329"/>
                      </a:lnTo>
                      <a:lnTo>
                        <a:pt x="5974" y="3505"/>
                      </a:lnTo>
                      <a:lnTo>
                        <a:pt x="5884" y="3505"/>
                      </a:lnTo>
                      <a:lnTo>
                        <a:pt x="5461" y="3680"/>
                      </a:lnTo>
                      <a:lnTo>
                        <a:pt x="4858" y="3855"/>
                      </a:lnTo>
                      <a:lnTo>
                        <a:pt x="4798" y="3855"/>
                      </a:lnTo>
                      <a:lnTo>
                        <a:pt x="4496" y="3943"/>
                      </a:lnTo>
                      <a:lnTo>
                        <a:pt x="4496" y="3767"/>
                      </a:lnTo>
                      <a:lnTo>
                        <a:pt x="4466" y="3767"/>
                      </a:lnTo>
                      <a:lnTo>
                        <a:pt x="4285" y="3767"/>
                      </a:lnTo>
                      <a:lnTo>
                        <a:pt x="4043" y="3767"/>
                      </a:lnTo>
                      <a:lnTo>
                        <a:pt x="4073" y="4030"/>
                      </a:lnTo>
                      <a:lnTo>
                        <a:pt x="4104" y="4293"/>
                      </a:lnTo>
                      <a:lnTo>
                        <a:pt x="4104" y="4556"/>
                      </a:lnTo>
                      <a:lnTo>
                        <a:pt x="4104" y="4906"/>
                      </a:lnTo>
                      <a:lnTo>
                        <a:pt x="4073" y="4994"/>
                      </a:lnTo>
                      <a:lnTo>
                        <a:pt x="3259" y="5082"/>
                      </a:lnTo>
                      <a:lnTo>
                        <a:pt x="3198" y="5169"/>
                      </a:lnTo>
                      <a:lnTo>
                        <a:pt x="2625" y="5257"/>
                      </a:lnTo>
                      <a:lnTo>
                        <a:pt x="2565" y="5257"/>
                      </a:lnTo>
                      <a:lnTo>
                        <a:pt x="1629" y="5520"/>
                      </a:lnTo>
                      <a:lnTo>
                        <a:pt x="1509" y="5520"/>
                      </a:lnTo>
                      <a:lnTo>
                        <a:pt x="1509" y="5607"/>
                      </a:lnTo>
                      <a:lnTo>
                        <a:pt x="1478" y="5520"/>
                      </a:lnTo>
                      <a:lnTo>
                        <a:pt x="1448" y="5783"/>
                      </a:lnTo>
                      <a:lnTo>
                        <a:pt x="1418" y="5870"/>
                      </a:lnTo>
                      <a:lnTo>
                        <a:pt x="1358" y="5783"/>
                      </a:lnTo>
                      <a:lnTo>
                        <a:pt x="1358" y="5345"/>
                      </a:lnTo>
                      <a:lnTo>
                        <a:pt x="1328" y="5169"/>
                      </a:lnTo>
                      <a:lnTo>
                        <a:pt x="1267" y="4994"/>
                      </a:lnTo>
                      <a:lnTo>
                        <a:pt x="1207" y="5082"/>
                      </a:lnTo>
                      <a:lnTo>
                        <a:pt x="1177" y="5257"/>
                      </a:lnTo>
                      <a:lnTo>
                        <a:pt x="1237" y="5345"/>
                      </a:lnTo>
                      <a:lnTo>
                        <a:pt x="1267" y="5432"/>
                      </a:lnTo>
                      <a:lnTo>
                        <a:pt x="1267" y="5607"/>
                      </a:lnTo>
                      <a:lnTo>
                        <a:pt x="1237" y="5695"/>
                      </a:lnTo>
                      <a:lnTo>
                        <a:pt x="1237" y="6045"/>
                      </a:lnTo>
                      <a:lnTo>
                        <a:pt x="1297" y="6396"/>
                      </a:lnTo>
                      <a:lnTo>
                        <a:pt x="1297" y="6484"/>
                      </a:lnTo>
                      <a:lnTo>
                        <a:pt x="1267" y="6571"/>
                      </a:lnTo>
                      <a:lnTo>
                        <a:pt x="1207" y="6571"/>
                      </a:lnTo>
                      <a:lnTo>
                        <a:pt x="1147" y="6659"/>
                      </a:lnTo>
                      <a:lnTo>
                        <a:pt x="1116" y="6746"/>
                      </a:lnTo>
                      <a:lnTo>
                        <a:pt x="1116" y="6834"/>
                      </a:lnTo>
                      <a:lnTo>
                        <a:pt x="1237" y="7184"/>
                      </a:lnTo>
                      <a:lnTo>
                        <a:pt x="1237" y="7272"/>
                      </a:lnTo>
                      <a:lnTo>
                        <a:pt x="1207" y="7360"/>
                      </a:lnTo>
                      <a:lnTo>
                        <a:pt x="1147" y="7360"/>
                      </a:lnTo>
                      <a:lnTo>
                        <a:pt x="1026" y="7360"/>
                      </a:lnTo>
                      <a:lnTo>
                        <a:pt x="996" y="7535"/>
                      </a:lnTo>
                      <a:lnTo>
                        <a:pt x="1026" y="7623"/>
                      </a:lnTo>
                      <a:lnTo>
                        <a:pt x="1147" y="7798"/>
                      </a:lnTo>
                      <a:lnTo>
                        <a:pt x="1177" y="7885"/>
                      </a:lnTo>
                      <a:lnTo>
                        <a:pt x="1177" y="8148"/>
                      </a:lnTo>
                      <a:lnTo>
                        <a:pt x="1116" y="8499"/>
                      </a:lnTo>
                      <a:lnTo>
                        <a:pt x="1086" y="8674"/>
                      </a:lnTo>
                      <a:lnTo>
                        <a:pt x="1026" y="8761"/>
                      </a:lnTo>
                      <a:lnTo>
                        <a:pt x="966" y="8937"/>
                      </a:lnTo>
                      <a:lnTo>
                        <a:pt x="966" y="9112"/>
                      </a:lnTo>
                      <a:lnTo>
                        <a:pt x="966" y="9287"/>
                      </a:lnTo>
                      <a:lnTo>
                        <a:pt x="1026" y="9375"/>
                      </a:lnTo>
                      <a:lnTo>
                        <a:pt x="1086" y="9550"/>
                      </a:lnTo>
                      <a:lnTo>
                        <a:pt x="1116" y="9725"/>
                      </a:lnTo>
                      <a:lnTo>
                        <a:pt x="1086" y="9813"/>
                      </a:lnTo>
                      <a:lnTo>
                        <a:pt x="996" y="9813"/>
                      </a:lnTo>
                      <a:lnTo>
                        <a:pt x="935" y="9900"/>
                      </a:lnTo>
                      <a:lnTo>
                        <a:pt x="935" y="10076"/>
                      </a:lnTo>
                      <a:lnTo>
                        <a:pt x="966" y="10251"/>
                      </a:lnTo>
                      <a:lnTo>
                        <a:pt x="966" y="10339"/>
                      </a:lnTo>
                      <a:lnTo>
                        <a:pt x="935" y="10426"/>
                      </a:lnTo>
                      <a:lnTo>
                        <a:pt x="875" y="10601"/>
                      </a:lnTo>
                      <a:lnTo>
                        <a:pt x="845" y="10689"/>
                      </a:lnTo>
                      <a:lnTo>
                        <a:pt x="815" y="10777"/>
                      </a:lnTo>
                      <a:lnTo>
                        <a:pt x="785" y="10864"/>
                      </a:lnTo>
                      <a:lnTo>
                        <a:pt x="634" y="11039"/>
                      </a:lnTo>
                      <a:lnTo>
                        <a:pt x="573" y="11127"/>
                      </a:lnTo>
                      <a:lnTo>
                        <a:pt x="573" y="11302"/>
                      </a:lnTo>
                      <a:lnTo>
                        <a:pt x="573" y="11478"/>
                      </a:lnTo>
                      <a:lnTo>
                        <a:pt x="634" y="11565"/>
                      </a:lnTo>
                      <a:lnTo>
                        <a:pt x="694" y="11565"/>
                      </a:lnTo>
                      <a:lnTo>
                        <a:pt x="724" y="11653"/>
                      </a:lnTo>
                      <a:lnTo>
                        <a:pt x="724" y="11740"/>
                      </a:lnTo>
                      <a:lnTo>
                        <a:pt x="664" y="12003"/>
                      </a:lnTo>
                      <a:lnTo>
                        <a:pt x="664" y="12266"/>
                      </a:lnTo>
                      <a:lnTo>
                        <a:pt x="664" y="12354"/>
                      </a:lnTo>
                      <a:lnTo>
                        <a:pt x="664" y="12529"/>
                      </a:lnTo>
                      <a:lnTo>
                        <a:pt x="634" y="12617"/>
                      </a:lnTo>
                      <a:lnTo>
                        <a:pt x="573" y="12617"/>
                      </a:lnTo>
                      <a:lnTo>
                        <a:pt x="513" y="12704"/>
                      </a:lnTo>
                      <a:lnTo>
                        <a:pt x="513" y="12792"/>
                      </a:lnTo>
                      <a:lnTo>
                        <a:pt x="483" y="13230"/>
                      </a:lnTo>
                      <a:lnTo>
                        <a:pt x="453" y="13405"/>
                      </a:lnTo>
                      <a:lnTo>
                        <a:pt x="422" y="13405"/>
                      </a:lnTo>
                      <a:lnTo>
                        <a:pt x="362" y="13405"/>
                      </a:lnTo>
                      <a:lnTo>
                        <a:pt x="332" y="13317"/>
                      </a:lnTo>
                      <a:lnTo>
                        <a:pt x="332" y="13055"/>
                      </a:lnTo>
                      <a:lnTo>
                        <a:pt x="302" y="12967"/>
                      </a:lnTo>
                      <a:lnTo>
                        <a:pt x="272" y="13055"/>
                      </a:lnTo>
                      <a:lnTo>
                        <a:pt x="241" y="13142"/>
                      </a:lnTo>
                      <a:lnTo>
                        <a:pt x="211" y="13317"/>
                      </a:lnTo>
                      <a:lnTo>
                        <a:pt x="181" y="13317"/>
                      </a:lnTo>
                      <a:lnTo>
                        <a:pt x="151" y="13405"/>
                      </a:lnTo>
                      <a:lnTo>
                        <a:pt x="121" y="13580"/>
                      </a:lnTo>
                      <a:lnTo>
                        <a:pt x="151" y="13668"/>
                      </a:lnTo>
                      <a:lnTo>
                        <a:pt x="181" y="13756"/>
                      </a:lnTo>
                      <a:lnTo>
                        <a:pt x="211" y="13756"/>
                      </a:lnTo>
                      <a:lnTo>
                        <a:pt x="302" y="13580"/>
                      </a:lnTo>
                      <a:lnTo>
                        <a:pt x="302" y="13668"/>
                      </a:lnTo>
                      <a:lnTo>
                        <a:pt x="332" y="13756"/>
                      </a:lnTo>
                      <a:lnTo>
                        <a:pt x="332" y="13931"/>
                      </a:lnTo>
                      <a:lnTo>
                        <a:pt x="332" y="14194"/>
                      </a:lnTo>
                      <a:lnTo>
                        <a:pt x="362" y="14544"/>
                      </a:lnTo>
                      <a:lnTo>
                        <a:pt x="392" y="14807"/>
                      </a:lnTo>
                      <a:lnTo>
                        <a:pt x="422" y="14982"/>
                      </a:lnTo>
                      <a:lnTo>
                        <a:pt x="392" y="15070"/>
                      </a:lnTo>
                      <a:lnTo>
                        <a:pt x="392" y="15157"/>
                      </a:lnTo>
                      <a:lnTo>
                        <a:pt x="422" y="15333"/>
                      </a:lnTo>
                      <a:lnTo>
                        <a:pt x="392" y="15595"/>
                      </a:lnTo>
                      <a:lnTo>
                        <a:pt x="332" y="15771"/>
                      </a:lnTo>
                      <a:lnTo>
                        <a:pt x="302" y="15771"/>
                      </a:lnTo>
                      <a:lnTo>
                        <a:pt x="241" y="15771"/>
                      </a:lnTo>
                      <a:lnTo>
                        <a:pt x="211" y="15771"/>
                      </a:lnTo>
                      <a:lnTo>
                        <a:pt x="181" y="15771"/>
                      </a:lnTo>
                      <a:lnTo>
                        <a:pt x="151" y="15946"/>
                      </a:lnTo>
                      <a:lnTo>
                        <a:pt x="121" y="16034"/>
                      </a:lnTo>
                      <a:lnTo>
                        <a:pt x="60" y="16121"/>
                      </a:lnTo>
                      <a:lnTo>
                        <a:pt x="30" y="16121"/>
                      </a:lnTo>
                      <a:lnTo>
                        <a:pt x="0" y="16209"/>
                      </a:lnTo>
                      <a:lnTo>
                        <a:pt x="0" y="16384"/>
                      </a:lnTo>
                      <a:lnTo>
                        <a:pt x="1116" y="16296"/>
                      </a:lnTo>
                      <a:lnTo>
                        <a:pt x="1267" y="16209"/>
                      </a:lnTo>
                      <a:lnTo>
                        <a:pt x="1841" y="16121"/>
                      </a:lnTo>
                      <a:lnTo>
                        <a:pt x="2142" y="16034"/>
                      </a:lnTo>
                      <a:lnTo>
                        <a:pt x="2504" y="16034"/>
                      </a:lnTo>
                      <a:lnTo>
                        <a:pt x="2866" y="15858"/>
                      </a:lnTo>
                      <a:lnTo>
                        <a:pt x="2927" y="15858"/>
                      </a:lnTo>
                      <a:lnTo>
                        <a:pt x="3711" y="15683"/>
                      </a:lnTo>
                      <a:lnTo>
                        <a:pt x="3772" y="15683"/>
                      </a:lnTo>
                      <a:lnTo>
                        <a:pt x="4104" y="15595"/>
                      </a:lnTo>
                      <a:lnTo>
                        <a:pt x="4134" y="15508"/>
                      </a:lnTo>
                      <a:lnTo>
                        <a:pt x="4526" y="15420"/>
                      </a:lnTo>
                      <a:lnTo>
                        <a:pt x="5280" y="15245"/>
                      </a:lnTo>
                      <a:lnTo>
                        <a:pt x="6035" y="15070"/>
                      </a:lnTo>
                      <a:lnTo>
                        <a:pt x="6065" y="15070"/>
                      </a:lnTo>
                      <a:lnTo>
                        <a:pt x="6819" y="14895"/>
                      </a:lnTo>
                      <a:lnTo>
                        <a:pt x="6910" y="14895"/>
                      </a:lnTo>
                      <a:lnTo>
                        <a:pt x="7815" y="14632"/>
                      </a:lnTo>
                      <a:lnTo>
                        <a:pt x="8720" y="14456"/>
                      </a:lnTo>
                      <a:lnTo>
                        <a:pt x="9203" y="14281"/>
                      </a:lnTo>
                      <a:lnTo>
                        <a:pt x="9505" y="14281"/>
                      </a:lnTo>
                      <a:lnTo>
                        <a:pt x="9686" y="14194"/>
                      </a:lnTo>
                      <a:lnTo>
                        <a:pt x="9867" y="14106"/>
                      </a:lnTo>
                      <a:lnTo>
                        <a:pt x="10410" y="13931"/>
                      </a:lnTo>
                      <a:lnTo>
                        <a:pt x="10742" y="13843"/>
                      </a:lnTo>
                      <a:lnTo>
                        <a:pt x="10832" y="13756"/>
                      </a:lnTo>
                      <a:lnTo>
                        <a:pt x="11134" y="13668"/>
                      </a:lnTo>
                      <a:lnTo>
                        <a:pt x="11707" y="13493"/>
                      </a:lnTo>
                      <a:lnTo>
                        <a:pt x="11737" y="13405"/>
                      </a:lnTo>
                      <a:lnTo>
                        <a:pt x="11707" y="11828"/>
                      </a:lnTo>
                      <a:lnTo>
                        <a:pt x="11737" y="11653"/>
                      </a:lnTo>
                      <a:lnTo>
                        <a:pt x="11798" y="11390"/>
                      </a:lnTo>
                      <a:lnTo>
                        <a:pt x="11858" y="11478"/>
                      </a:lnTo>
                      <a:lnTo>
                        <a:pt x="11888" y="11565"/>
                      </a:lnTo>
                      <a:lnTo>
                        <a:pt x="11949" y="11565"/>
                      </a:lnTo>
                      <a:lnTo>
                        <a:pt x="12039" y="11478"/>
                      </a:lnTo>
                      <a:lnTo>
                        <a:pt x="12099" y="11390"/>
                      </a:lnTo>
                      <a:lnTo>
                        <a:pt x="12160" y="11215"/>
                      </a:lnTo>
                      <a:lnTo>
                        <a:pt x="12220" y="11127"/>
                      </a:lnTo>
                      <a:lnTo>
                        <a:pt x="12220" y="10952"/>
                      </a:lnTo>
                      <a:lnTo>
                        <a:pt x="12190" y="10864"/>
                      </a:lnTo>
                      <a:lnTo>
                        <a:pt x="12220" y="10689"/>
                      </a:lnTo>
                      <a:lnTo>
                        <a:pt x="12220" y="10514"/>
                      </a:lnTo>
                      <a:lnTo>
                        <a:pt x="12220" y="10339"/>
                      </a:lnTo>
                      <a:lnTo>
                        <a:pt x="12250" y="10076"/>
                      </a:lnTo>
                      <a:lnTo>
                        <a:pt x="12311" y="9900"/>
                      </a:lnTo>
                      <a:lnTo>
                        <a:pt x="12401" y="9638"/>
                      </a:lnTo>
                      <a:lnTo>
                        <a:pt x="12522" y="9287"/>
                      </a:lnTo>
                      <a:lnTo>
                        <a:pt x="12612" y="9112"/>
                      </a:lnTo>
                      <a:lnTo>
                        <a:pt x="12703" y="9024"/>
                      </a:lnTo>
                      <a:lnTo>
                        <a:pt x="12793" y="8937"/>
                      </a:lnTo>
                      <a:lnTo>
                        <a:pt x="12854" y="8849"/>
                      </a:lnTo>
                      <a:close/>
                    </a:path>
                  </a:pathLst>
                </a:custGeom>
                <a:solidFill>
                  <a:srgbClr val="0070C0"/>
                </a:solidFill>
                <a:ln w="9525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defTabSz="121917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61" name="Texas">
                  <a:extLst>
                    <a:ext uri="{FF2B5EF4-FFF2-40B4-BE49-F238E27FC236}">
                      <a16:creationId xmlns:a16="http://schemas.microsoft.com/office/drawing/2014/main" id="{C99C1E0F-4B05-120D-B586-D27D8AAF1E0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9124950" y="10610850"/>
                  <a:ext cx="8324850" cy="7686675"/>
                </a:xfrm>
                <a:custGeom>
                  <a:avLst/>
                  <a:gdLst>
                    <a:gd name="T0" fmla="*/ 2147483647 w 16384"/>
                    <a:gd name="T1" fmla="*/ 2147483647 h 16384"/>
                    <a:gd name="T2" fmla="*/ 2147483647 w 16384"/>
                    <a:gd name="T3" fmla="*/ 2147483647 h 16384"/>
                    <a:gd name="T4" fmla="*/ 2147483647 w 16384"/>
                    <a:gd name="T5" fmla="*/ 2147483647 h 16384"/>
                    <a:gd name="T6" fmla="*/ 2147483647 w 16384"/>
                    <a:gd name="T7" fmla="*/ 2147483647 h 16384"/>
                    <a:gd name="T8" fmla="*/ 2147483647 w 16384"/>
                    <a:gd name="T9" fmla="*/ 2147483647 h 16384"/>
                    <a:gd name="T10" fmla="*/ 2147483647 w 16384"/>
                    <a:gd name="T11" fmla="*/ 2147483647 h 16384"/>
                    <a:gd name="T12" fmla="*/ 2147483647 w 16384"/>
                    <a:gd name="T13" fmla="*/ 2147483647 h 16384"/>
                    <a:gd name="T14" fmla="*/ 2147483647 w 16384"/>
                    <a:gd name="T15" fmla="*/ 2147483647 h 16384"/>
                    <a:gd name="T16" fmla="*/ 2147483647 w 16384"/>
                    <a:gd name="T17" fmla="*/ 2147483647 h 16384"/>
                    <a:gd name="T18" fmla="*/ 2147483647 w 16384"/>
                    <a:gd name="T19" fmla="*/ 2147483647 h 16384"/>
                    <a:gd name="T20" fmla="*/ 2147483647 w 16384"/>
                    <a:gd name="T21" fmla="*/ 2147483647 h 16384"/>
                    <a:gd name="T22" fmla="*/ 2147483647 w 16384"/>
                    <a:gd name="T23" fmla="*/ 2147483647 h 16384"/>
                    <a:gd name="T24" fmla="*/ 2147483647 w 16384"/>
                    <a:gd name="T25" fmla="*/ 2147483647 h 16384"/>
                    <a:gd name="T26" fmla="*/ 2147483647 w 16384"/>
                    <a:gd name="T27" fmla="*/ 2147483647 h 16384"/>
                    <a:gd name="T28" fmla="*/ 2147483647 w 16384"/>
                    <a:gd name="T29" fmla="*/ 2147483647 h 16384"/>
                    <a:gd name="T30" fmla="*/ 2147483647 w 16384"/>
                    <a:gd name="T31" fmla="*/ 2147483647 h 16384"/>
                    <a:gd name="T32" fmla="*/ 2147483647 w 16384"/>
                    <a:gd name="T33" fmla="*/ 2147483647 h 16384"/>
                    <a:gd name="T34" fmla="*/ 2147483647 w 16384"/>
                    <a:gd name="T35" fmla="*/ 2147483647 h 16384"/>
                    <a:gd name="T36" fmla="*/ 2147483647 w 16384"/>
                    <a:gd name="T37" fmla="*/ 2147483647 h 16384"/>
                    <a:gd name="T38" fmla="*/ 2147483647 w 16384"/>
                    <a:gd name="T39" fmla="*/ 2147483647 h 16384"/>
                    <a:gd name="T40" fmla="*/ 2147483647 w 16384"/>
                    <a:gd name="T41" fmla="*/ 0 h 16384"/>
                    <a:gd name="T42" fmla="*/ 2147483647 w 16384"/>
                    <a:gd name="T43" fmla="*/ 2147483647 h 16384"/>
                    <a:gd name="T44" fmla="*/ 2147483647 w 16384"/>
                    <a:gd name="T45" fmla="*/ 2147483647 h 16384"/>
                    <a:gd name="T46" fmla="*/ 2147483647 w 16384"/>
                    <a:gd name="T47" fmla="*/ 2147483647 h 16384"/>
                    <a:gd name="T48" fmla="*/ 2147483647 w 16384"/>
                    <a:gd name="T49" fmla="*/ 2147483647 h 16384"/>
                    <a:gd name="T50" fmla="*/ 2147483647 w 16384"/>
                    <a:gd name="T51" fmla="*/ 2147483647 h 16384"/>
                    <a:gd name="T52" fmla="*/ 2147483647 w 16384"/>
                    <a:gd name="T53" fmla="*/ 2147483647 h 16384"/>
                    <a:gd name="T54" fmla="*/ 2147483647 w 16384"/>
                    <a:gd name="T55" fmla="*/ 2147483647 h 16384"/>
                    <a:gd name="T56" fmla="*/ 2147483647 w 16384"/>
                    <a:gd name="T57" fmla="*/ 2147483647 h 16384"/>
                    <a:gd name="T58" fmla="*/ 2147483647 w 16384"/>
                    <a:gd name="T59" fmla="*/ 2147483647 h 16384"/>
                    <a:gd name="T60" fmla="*/ 2147483647 w 16384"/>
                    <a:gd name="T61" fmla="*/ 2147483647 h 16384"/>
                    <a:gd name="T62" fmla="*/ 2147483647 w 16384"/>
                    <a:gd name="T63" fmla="*/ 2147483647 h 16384"/>
                    <a:gd name="T64" fmla="*/ 2147483647 w 16384"/>
                    <a:gd name="T65" fmla="*/ 2147483647 h 16384"/>
                    <a:gd name="T66" fmla="*/ 2147483647 w 16384"/>
                    <a:gd name="T67" fmla="*/ 2147483647 h 16384"/>
                    <a:gd name="T68" fmla="*/ 2147483647 w 16384"/>
                    <a:gd name="T69" fmla="*/ 2147483647 h 16384"/>
                    <a:gd name="T70" fmla="*/ 2147483647 w 16384"/>
                    <a:gd name="T71" fmla="*/ 2147483647 h 16384"/>
                    <a:gd name="T72" fmla="*/ 2147483647 w 16384"/>
                    <a:gd name="T73" fmla="*/ 2147483647 h 16384"/>
                    <a:gd name="T74" fmla="*/ 2147483647 w 16384"/>
                    <a:gd name="T75" fmla="*/ 2147483647 h 16384"/>
                    <a:gd name="T76" fmla="*/ 2147483647 w 16384"/>
                    <a:gd name="T77" fmla="*/ 2147483647 h 16384"/>
                    <a:gd name="T78" fmla="*/ 2147483647 w 16384"/>
                    <a:gd name="T79" fmla="*/ 2147483647 h 16384"/>
                    <a:gd name="T80" fmla="*/ 2147483647 w 16384"/>
                    <a:gd name="T81" fmla="*/ 2147483647 h 16384"/>
                    <a:gd name="T82" fmla="*/ 2147483647 w 16384"/>
                    <a:gd name="T83" fmla="*/ 2147483647 h 16384"/>
                    <a:gd name="T84" fmla="*/ 2147483647 w 16384"/>
                    <a:gd name="T85" fmla="*/ 2147483647 h 16384"/>
                    <a:gd name="T86" fmla="*/ 2147483647 w 16384"/>
                    <a:gd name="T87" fmla="*/ 2147483647 h 16384"/>
                    <a:gd name="T88" fmla="*/ 2147483647 w 16384"/>
                    <a:gd name="T89" fmla="*/ 2147483647 h 16384"/>
                    <a:gd name="T90" fmla="*/ 2147483647 w 16384"/>
                    <a:gd name="T91" fmla="*/ 2147483647 h 16384"/>
                    <a:gd name="T92" fmla="*/ 2147483647 w 16384"/>
                    <a:gd name="T93" fmla="*/ 2147483647 h 16384"/>
                    <a:gd name="T94" fmla="*/ 2147483647 w 16384"/>
                    <a:gd name="T95" fmla="*/ 2147483647 h 16384"/>
                    <a:gd name="T96" fmla="*/ 2147483647 w 16384"/>
                    <a:gd name="T97" fmla="*/ 2147483647 h 16384"/>
                    <a:gd name="T98" fmla="*/ 2147483647 w 16384"/>
                    <a:gd name="T99" fmla="*/ 2147483647 h 16384"/>
                    <a:gd name="T100" fmla="*/ 2147483647 w 16384"/>
                    <a:gd name="T101" fmla="*/ 2147483647 h 16384"/>
                    <a:gd name="T102" fmla="*/ 2147483647 w 16384"/>
                    <a:gd name="T103" fmla="*/ 2147483647 h 16384"/>
                    <a:gd name="T104" fmla="*/ 2147483647 w 16384"/>
                    <a:gd name="T105" fmla="*/ 2147483647 h 16384"/>
                    <a:gd name="T106" fmla="*/ 2147483647 w 16384"/>
                    <a:gd name="T107" fmla="*/ 2147483647 h 16384"/>
                    <a:gd name="T108" fmla="*/ 2147483647 w 16384"/>
                    <a:gd name="T109" fmla="*/ 2147483647 h 16384"/>
                    <a:gd name="T110" fmla="*/ 2147483647 w 16384"/>
                    <a:gd name="T111" fmla="*/ 2147483647 h 16384"/>
                    <a:gd name="T112" fmla="*/ 2147483647 w 16384"/>
                    <a:gd name="T113" fmla="*/ 2147483647 h 16384"/>
                    <a:gd name="T114" fmla="*/ 2147483647 w 16384"/>
                    <a:gd name="T115" fmla="*/ 2147483647 h 16384"/>
                    <a:gd name="T116" fmla="*/ 2147483647 w 16384"/>
                    <a:gd name="T117" fmla="*/ 2147483647 h 16384"/>
                    <a:gd name="T118" fmla="*/ 2147483647 w 16384"/>
                    <a:gd name="T119" fmla="*/ 2147483647 h 16384"/>
                    <a:gd name="T120" fmla="*/ 2147483647 w 16384"/>
                    <a:gd name="T121" fmla="*/ 2147483647 h 16384"/>
                    <a:gd name="T122" fmla="*/ 2147483647 w 16384"/>
                    <a:gd name="T123" fmla="*/ 2147483647 h 16384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60000 65536"/>
                    <a:gd name="T178" fmla="*/ 0 60000 65536"/>
                    <a:gd name="T179" fmla="*/ 0 60000 65536"/>
                    <a:gd name="T180" fmla="*/ 0 60000 65536"/>
                    <a:gd name="T181" fmla="*/ 0 60000 65536"/>
                    <a:gd name="T182" fmla="*/ 0 60000 65536"/>
                    <a:gd name="T183" fmla="*/ 0 60000 65536"/>
                    <a:gd name="T184" fmla="*/ 0 60000 65536"/>
                    <a:gd name="T185" fmla="*/ 0 60000 65536"/>
                    <a:gd name="T186" fmla="*/ 0 w 16384"/>
                    <a:gd name="T187" fmla="*/ 0 h 16384"/>
                    <a:gd name="T188" fmla="*/ 16384 w 16384"/>
                    <a:gd name="T189" fmla="*/ 16384 h 16384"/>
                  </a:gdLst>
                  <a:ahLst/>
                  <a:cxnLst>
                    <a:cxn ang="T124">
                      <a:pos x="T0" y="T1"/>
                    </a:cxn>
                    <a:cxn ang="T125">
                      <a:pos x="T2" y="T3"/>
                    </a:cxn>
                    <a:cxn ang="T126">
                      <a:pos x="T4" y="T5"/>
                    </a:cxn>
                    <a:cxn ang="T127">
                      <a:pos x="T6" y="T7"/>
                    </a:cxn>
                    <a:cxn ang="T128">
                      <a:pos x="T8" y="T9"/>
                    </a:cxn>
                    <a:cxn ang="T129">
                      <a:pos x="T10" y="T11"/>
                    </a:cxn>
                    <a:cxn ang="T130">
                      <a:pos x="T12" y="T13"/>
                    </a:cxn>
                    <a:cxn ang="T131">
                      <a:pos x="T14" y="T15"/>
                    </a:cxn>
                    <a:cxn ang="T132">
                      <a:pos x="T16" y="T17"/>
                    </a:cxn>
                    <a:cxn ang="T133">
                      <a:pos x="T18" y="T19"/>
                    </a:cxn>
                    <a:cxn ang="T134">
                      <a:pos x="T20" y="T21"/>
                    </a:cxn>
                    <a:cxn ang="T135">
                      <a:pos x="T22" y="T23"/>
                    </a:cxn>
                    <a:cxn ang="T136">
                      <a:pos x="T24" y="T25"/>
                    </a:cxn>
                    <a:cxn ang="T137">
                      <a:pos x="T26" y="T27"/>
                    </a:cxn>
                    <a:cxn ang="T138">
                      <a:pos x="T28" y="T29"/>
                    </a:cxn>
                    <a:cxn ang="T139">
                      <a:pos x="T30" y="T31"/>
                    </a:cxn>
                    <a:cxn ang="T140">
                      <a:pos x="T32" y="T33"/>
                    </a:cxn>
                    <a:cxn ang="T141">
                      <a:pos x="T34" y="T35"/>
                    </a:cxn>
                    <a:cxn ang="T142">
                      <a:pos x="T36" y="T37"/>
                    </a:cxn>
                    <a:cxn ang="T143">
                      <a:pos x="T38" y="T39"/>
                    </a:cxn>
                    <a:cxn ang="T144">
                      <a:pos x="T40" y="T41"/>
                    </a:cxn>
                    <a:cxn ang="T145">
                      <a:pos x="T42" y="T43"/>
                    </a:cxn>
                    <a:cxn ang="T146">
                      <a:pos x="T44" y="T45"/>
                    </a:cxn>
                    <a:cxn ang="T147">
                      <a:pos x="T46" y="T47"/>
                    </a:cxn>
                    <a:cxn ang="T148">
                      <a:pos x="T48" y="T49"/>
                    </a:cxn>
                    <a:cxn ang="T149">
                      <a:pos x="T50" y="T51"/>
                    </a:cxn>
                    <a:cxn ang="T150">
                      <a:pos x="T52" y="T53"/>
                    </a:cxn>
                    <a:cxn ang="T151">
                      <a:pos x="T54" y="T55"/>
                    </a:cxn>
                    <a:cxn ang="T152">
                      <a:pos x="T56" y="T57"/>
                    </a:cxn>
                    <a:cxn ang="T153">
                      <a:pos x="T58" y="T59"/>
                    </a:cxn>
                    <a:cxn ang="T154">
                      <a:pos x="T60" y="T61"/>
                    </a:cxn>
                    <a:cxn ang="T155">
                      <a:pos x="T62" y="T63"/>
                    </a:cxn>
                    <a:cxn ang="T156">
                      <a:pos x="T64" y="T65"/>
                    </a:cxn>
                    <a:cxn ang="T157">
                      <a:pos x="T66" y="T67"/>
                    </a:cxn>
                    <a:cxn ang="T158">
                      <a:pos x="T68" y="T69"/>
                    </a:cxn>
                    <a:cxn ang="T159">
                      <a:pos x="T70" y="T71"/>
                    </a:cxn>
                    <a:cxn ang="T160">
                      <a:pos x="T72" y="T73"/>
                    </a:cxn>
                    <a:cxn ang="T161">
                      <a:pos x="T74" y="T75"/>
                    </a:cxn>
                    <a:cxn ang="T162">
                      <a:pos x="T76" y="T77"/>
                    </a:cxn>
                    <a:cxn ang="T163">
                      <a:pos x="T78" y="T79"/>
                    </a:cxn>
                    <a:cxn ang="T164">
                      <a:pos x="T80" y="T81"/>
                    </a:cxn>
                    <a:cxn ang="T165">
                      <a:pos x="T82" y="T83"/>
                    </a:cxn>
                    <a:cxn ang="T166">
                      <a:pos x="T84" y="T85"/>
                    </a:cxn>
                    <a:cxn ang="T167">
                      <a:pos x="T86" y="T87"/>
                    </a:cxn>
                    <a:cxn ang="T168">
                      <a:pos x="T88" y="T89"/>
                    </a:cxn>
                    <a:cxn ang="T169">
                      <a:pos x="T90" y="T91"/>
                    </a:cxn>
                    <a:cxn ang="T170">
                      <a:pos x="T92" y="T93"/>
                    </a:cxn>
                    <a:cxn ang="T171">
                      <a:pos x="T94" y="T95"/>
                    </a:cxn>
                    <a:cxn ang="T172">
                      <a:pos x="T96" y="T97"/>
                    </a:cxn>
                    <a:cxn ang="T173">
                      <a:pos x="T98" y="T99"/>
                    </a:cxn>
                    <a:cxn ang="T174">
                      <a:pos x="T100" y="T101"/>
                    </a:cxn>
                    <a:cxn ang="T175">
                      <a:pos x="T102" y="T103"/>
                    </a:cxn>
                    <a:cxn ang="T176">
                      <a:pos x="T104" y="T105"/>
                    </a:cxn>
                    <a:cxn ang="T177">
                      <a:pos x="T106" y="T107"/>
                    </a:cxn>
                    <a:cxn ang="T178">
                      <a:pos x="T108" y="T109"/>
                    </a:cxn>
                    <a:cxn ang="T179">
                      <a:pos x="T110" y="T111"/>
                    </a:cxn>
                    <a:cxn ang="T180">
                      <a:pos x="T112" y="T113"/>
                    </a:cxn>
                    <a:cxn ang="T181">
                      <a:pos x="T114" y="T115"/>
                    </a:cxn>
                    <a:cxn ang="T182">
                      <a:pos x="T116" y="T117"/>
                    </a:cxn>
                    <a:cxn ang="T183">
                      <a:pos x="T118" y="T119"/>
                    </a:cxn>
                    <a:cxn ang="T184">
                      <a:pos x="T120" y="T121"/>
                    </a:cxn>
                    <a:cxn ang="T185">
                      <a:pos x="T122" y="T123"/>
                    </a:cxn>
                  </a:cxnLst>
                  <a:rect l="T186" t="T187" r="T188" b="T189"/>
                  <a:pathLst>
                    <a:path w="16384" h="16384">
                      <a:moveTo>
                        <a:pt x="15374" y="10846"/>
                      </a:moveTo>
                      <a:lnTo>
                        <a:pt x="15429" y="10827"/>
                      </a:lnTo>
                      <a:lnTo>
                        <a:pt x="15741" y="10674"/>
                      </a:lnTo>
                      <a:lnTo>
                        <a:pt x="15778" y="10655"/>
                      </a:lnTo>
                      <a:lnTo>
                        <a:pt x="15998" y="10617"/>
                      </a:lnTo>
                      <a:lnTo>
                        <a:pt x="16035" y="10617"/>
                      </a:lnTo>
                      <a:lnTo>
                        <a:pt x="15980" y="10560"/>
                      </a:lnTo>
                      <a:lnTo>
                        <a:pt x="15943" y="10560"/>
                      </a:lnTo>
                      <a:lnTo>
                        <a:pt x="15925" y="10522"/>
                      </a:lnTo>
                      <a:lnTo>
                        <a:pt x="15925" y="10483"/>
                      </a:lnTo>
                      <a:lnTo>
                        <a:pt x="15943" y="10445"/>
                      </a:lnTo>
                      <a:lnTo>
                        <a:pt x="15998" y="10407"/>
                      </a:lnTo>
                      <a:lnTo>
                        <a:pt x="16035" y="10331"/>
                      </a:lnTo>
                      <a:lnTo>
                        <a:pt x="16072" y="10273"/>
                      </a:lnTo>
                      <a:lnTo>
                        <a:pt x="16090" y="10254"/>
                      </a:lnTo>
                      <a:lnTo>
                        <a:pt x="16127" y="10197"/>
                      </a:lnTo>
                      <a:lnTo>
                        <a:pt x="16164" y="10159"/>
                      </a:lnTo>
                      <a:lnTo>
                        <a:pt x="16200" y="10121"/>
                      </a:lnTo>
                      <a:lnTo>
                        <a:pt x="16182" y="10082"/>
                      </a:lnTo>
                      <a:lnTo>
                        <a:pt x="16200" y="10006"/>
                      </a:lnTo>
                      <a:lnTo>
                        <a:pt x="16219" y="9911"/>
                      </a:lnTo>
                      <a:lnTo>
                        <a:pt x="16219" y="9872"/>
                      </a:lnTo>
                      <a:lnTo>
                        <a:pt x="16237" y="9834"/>
                      </a:lnTo>
                      <a:lnTo>
                        <a:pt x="16182" y="9796"/>
                      </a:lnTo>
                      <a:lnTo>
                        <a:pt x="16145" y="9739"/>
                      </a:lnTo>
                      <a:lnTo>
                        <a:pt x="16127" y="9720"/>
                      </a:lnTo>
                      <a:lnTo>
                        <a:pt x="16127" y="9605"/>
                      </a:lnTo>
                      <a:lnTo>
                        <a:pt x="16164" y="9586"/>
                      </a:lnTo>
                      <a:lnTo>
                        <a:pt x="16145" y="9548"/>
                      </a:lnTo>
                      <a:lnTo>
                        <a:pt x="16182" y="9529"/>
                      </a:lnTo>
                      <a:lnTo>
                        <a:pt x="16145" y="9452"/>
                      </a:lnTo>
                      <a:lnTo>
                        <a:pt x="16145" y="9395"/>
                      </a:lnTo>
                      <a:lnTo>
                        <a:pt x="16145" y="9338"/>
                      </a:lnTo>
                      <a:lnTo>
                        <a:pt x="16164" y="9300"/>
                      </a:lnTo>
                      <a:lnTo>
                        <a:pt x="16182" y="9280"/>
                      </a:lnTo>
                      <a:lnTo>
                        <a:pt x="16182" y="9242"/>
                      </a:lnTo>
                      <a:lnTo>
                        <a:pt x="16182" y="9223"/>
                      </a:lnTo>
                      <a:lnTo>
                        <a:pt x="16237" y="9166"/>
                      </a:lnTo>
                      <a:lnTo>
                        <a:pt x="16255" y="9109"/>
                      </a:lnTo>
                      <a:lnTo>
                        <a:pt x="16311" y="8975"/>
                      </a:lnTo>
                      <a:lnTo>
                        <a:pt x="16329" y="8937"/>
                      </a:lnTo>
                      <a:lnTo>
                        <a:pt x="16347" y="8918"/>
                      </a:lnTo>
                      <a:lnTo>
                        <a:pt x="16366" y="8879"/>
                      </a:lnTo>
                      <a:lnTo>
                        <a:pt x="16347" y="8841"/>
                      </a:lnTo>
                      <a:lnTo>
                        <a:pt x="16366" y="8822"/>
                      </a:lnTo>
                      <a:lnTo>
                        <a:pt x="16384" y="8784"/>
                      </a:lnTo>
                      <a:lnTo>
                        <a:pt x="16366" y="8765"/>
                      </a:lnTo>
                      <a:lnTo>
                        <a:pt x="16366" y="8746"/>
                      </a:lnTo>
                      <a:lnTo>
                        <a:pt x="16347" y="8727"/>
                      </a:lnTo>
                      <a:lnTo>
                        <a:pt x="16329" y="8688"/>
                      </a:lnTo>
                      <a:lnTo>
                        <a:pt x="16347" y="8669"/>
                      </a:lnTo>
                      <a:lnTo>
                        <a:pt x="16366" y="8650"/>
                      </a:lnTo>
                      <a:lnTo>
                        <a:pt x="16384" y="8612"/>
                      </a:lnTo>
                      <a:lnTo>
                        <a:pt x="16366" y="8593"/>
                      </a:lnTo>
                      <a:lnTo>
                        <a:pt x="16347" y="8536"/>
                      </a:lnTo>
                      <a:lnTo>
                        <a:pt x="16366" y="8459"/>
                      </a:lnTo>
                      <a:lnTo>
                        <a:pt x="16366" y="8383"/>
                      </a:lnTo>
                      <a:lnTo>
                        <a:pt x="16329" y="8383"/>
                      </a:lnTo>
                      <a:lnTo>
                        <a:pt x="16292" y="8364"/>
                      </a:lnTo>
                      <a:lnTo>
                        <a:pt x="16274" y="8326"/>
                      </a:lnTo>
                      <a:lnTo>
                        <a:pt x="16274" y="8287"/>
                      </a:lnTo>
                      <a:lnTo>
                        <a:pt x="16237" y="8249"/>
                      </a:lnTo>
                      <a:lnTo>
                        <a:pt x="16200" y="8230"/>
                      </a:lnTo>
                      <a:lnTo>
                        <a:pt x="16182" y="8230"/>
                      </a:lnTo>
                      <a:lnTo>
                        <a:pt x="16164" y="8192"/>
                      </a:lnTo>
                      <a:lnTo>
                        <a:pt x="16182" y="8173"/>
                      </a:lnTo>
                      <a:lnTo>
                        <a:pt x="16200" y="8135"/>
                      </a:lnTo>
                      <a:lnTo>
                        <a:pt x="16219" y="8116"/>
                      </a:lnTo>
                      <a:lnTo>
                        <a:pt x="16164" y="8058"/>
                      </a:lnTo>
                      <a:lnTo>
                        <a:pt x="16145" y="7982"/>
                      </a:lnTo>
                      <a:lnTo>
                        <a:pt x="16090" y="7963"/>
                      </a:lnTo>
                      <a:lnTo>
                        <a:pt x="16108" y="7925"/>
                      </a:lnTo>
                      <a:lnTo>
                        <a:pt x="16127" y="7906"/>
                      </a:lnTo>
                      <a:lnTo>
                        <a:pt x="16108" y="7886"/>
                      </a:lnTo>
                      <a:lnTo>
                        <a:pt x="16072" y="7886"/>
                      </a:lnTo>
                      <a:lnTo>
                        <a:pt x="16035" y="7867"/>
                      </a:lnTo>
                      <a:lnTo>
                        <a:pt x="16017" y="7810"/>
                      </a:lnTo>
                      <a:lnTo>
                        <a:pt x="15980" y="7791"/>
                      </a:lnTo>
                      <a:lnTo>
                        <a:pt x="15980" y="7753"/>
                      </a:lnTo>
                      <a:lnTo>
                        <a:pt x="15998" y="7753"/>
                      </a:lnTo>
                      <a:lnTo>
                        <a:pt x="15998" y="7734"/>
                      </a:lnTo>
                      <a:lnTo>
                        <a:pt x="15980" y="7715"/>
                      </a:lnTo>
                      <a:lnTo>
                        <a:pt x="15980" y="7676"/>
                      </a:lnTo>
                      <a:lnTo>
                        <a:pt x="15998" y="7657"/>
                      </a:lnTo>
                      <a:lnTo>
                        <a:pt x="16017" y="7638"/>
                      </a:lnTo>
                      <a:lnTo>
                        <a:pt x="16035" y="7600"/>
                      </a:lnTo>
                      <a:lnTo>
                        <a:pt x="16017" y="7581"/>
                      </a:lnTo>
                      <a:lnTo>
                        <a:pt x="15980" y="7543"/>
                      </a:lnTo>
                      <a:lnTo>
                        <a:pt x="15980" y="7485"/>
                      </a:lnTo>
                      <a:lnTo>
                        <a:pt x="15980" y="7466"/>
                      </a:lnTo>
                      <a:lnTo>
                        <a:pt x="15925" y="7428"/>
                      </a:lnTo>
                      <a:lnTo>
                        <a:pt x="15943" y="7390"/>
                      </a:lnTo>
                      <a:lnTo>
                        <a:pt x="15888" y="7333"/>
                      </a:lnTo>
                      <a:lnTo>
                        <a:pt x="15815" y="7275"/>
                      </a:lnTo>
                      <a:lnTo>
                        <a:pt x="15759" y="7199"/>
                      </a:lnTo>
                      <a:lnTo>
                        <a:pt x="15704" y="7161"/>
                      </a:lnTo>
                      <a:lnTo>
                        <a:pt x="15704" y="6855"/>
                      </a:lnTo>
                      <a:lnTo>
                        <a:pt x="15704" y="6550"/>
                      </a:lnTo>
                      <a:lnTo>
                        <a:pt x="15686" y="6091"/>
                      </a:lnTo>
                      <a:lnTo>
                        <a:pt x="15686" y="5805"/>
                      </a:lnTo>
                      <a:lnTo>
                        <a:pt x="15686" y="5595"/>
                      </a:lnTo>
                      <a:lnTo>
                        <a:pt x="15668" y="5194"/>
                      </a:lnTo>
                      <a:lnTo>
                        <a:pt x="15649" y="4774"/>
                      </a:lnTo>
                      <a:lnTo>
                        <a:pt x="15631" y="4755"/>
                      </a:lnTo>
                      <a:lnTo>
                        <a:pt x="15613" y="4736"/>
                      </a:lnTo>
                      <a:lnTo>
                        <a:pt x="15576" y="4755"/>
                      </a:lnTo>
                      <a:lnTo>
                        <a:pt x="15539" y="4755"/>
                      </a:lnTo>
                      <a:lnTo>
                        <a:pt x="15502" y="4717"/>
                      </a:lnTo>
                      <a:lnTo>
                        <a:pt x="15466" y="4717"/>
                      </a:lnTo>
                      <a:lnTo>
                        <a:pt x="15466" y="4736"/>
                      </a:lnTo>
                      <a:lnTo>
                        <a:pt x="15447" y="4736"/>
                      </a:lnTo>
                      <a:lnTo>
                        <a:pt x="15429" y="4774"/>
                      </a:lnTo>
                      <a:lnTo>
                        <a:pt x="15411" y="4755"/>
                      </a:lnTo>
                      <a:lnTo>
                        <a:pt x="15392" y="4755"/>
                      </a:lnTo>
                      <a:lnTo>
                        <a:pt x="15374" y="4774"/>
                      </a:lnTo>
                      <a:lnTo>
                        <a:pt x="15355" y="4793"/>
                      </a:lnTo>
                      <a:lnTo>
                        <a:pt x="15282" y="4774"/>
                      </a:lnTo>
                      <a:lnTo>
                        <a:pt x="15245" y="4793"/>
                      </a:lnTo>
                      <a:lnTo>
                        <a:pt x="15227" y="4774"/>
                      </a:lnTo>
                      <a:lnTo>
                        <a:pt x="15208" y="4755"/>
                      </a:lnTo>
                      <a:lnTo>
                        <a:pt x="15172" y="4736"/>
                      </a:lnTo>
                      <a:lnTo>
                        <a:pt x="15172" y="4717"/>
                      </a:lnTo>
                      <a:lnTo>
                        <a:pt x="15135" y="4698"/>
                      </a:lnTo>
                      <a:lnTo>
                        <a:pt x="15135" y="4659"/>
                      </a:lnTo>
                      <a:lnTo>
                        <a:pt x="15117" y="4640"/>
                      </a:lnTo>
                      <a:lnTo>
                        <a:pt x="15043" y="4640"/>
                      </a:lnTo>
                      <a:lnTo>
                        <a:pt x="15025" y="4602"/>
                      </a:lnTo>
                      <a:lnTo>
                        <a:pt x="14970" y="4583"/>
                      </a:lnTo>
                      <a:lnTo>
                        <a:pt x="14933" y="4583"/>
                      </a:lnTo>
                      <a:lnTo>
                        <a:pt x="14915" y="4583"/>
                      </a:lnTo>
                      <a:lnTo>
                        <a:pt x="14915" y="4564"/>
                      </a:lnTo>
                      <a:lnTo>
                        <a:pt x="14896" y="4545"/>
                      </a:lnTo>
                      <a:lnTo>
                        <a:pt x="14859" y="4564"/>
                      </a:lnTo>
                      <a:lnTo>
                        <a:pt x="14841" y="4545"/>
                      </a:lnTo>
                      <a:lnTo>
                        <a:pt x="14823" y="4545"/>
                      </a:lnTo>
                      <a:lnTo>
                        <a:pt x="14804" y="4526"/>
                      </a:lnTo>
                      <a:lnTo>
                        <a:pt x="14768" y="4507"/>
                      </a:lnTo>
                      <a:lnTo>
                        <a:pt x="14749" y="4468"/>
                      </a:lnTo>
                      <a:lnTo>
                        <a:pt x="14713" y="4468"/>
                      </a:lnTo>
                      <a:lnTo>
                        <a:pt x="14676" y="4487"/>
                      </a:lnTo>
                      <a:lnTo>
                        <a:pt x="14621" y="4449"/>
                      </a:lnTo>
                      <a:lnTo>
                        <a:pt x="14547" y="4373"/>
                      </a:lnTo>
                      <a:lnTo>
                        <a:pt x="14547" y="4316"/>
                      </a:lnTo>
                      <a:lnTo>
                        <a:pt x="14510" y="4297"/>
                      </a:lnTo>
                      <a:lnTo>
                        <a:pt x="14474" y="4316"/>
                      </a:lnTo>
                      <a:lnTo>
                        <a:pt x="14419" y="4297"/>
                      </a:lnTo>
                      <a:lnTo>
                        <a:pt x="14382" y="4258"/>
                      </a:lnTo>
                      <a:lnTo>
                        <a:pt x="14364" y="4220"/>
                      </a:lnTo>
                      <a:lnTo>
                        <a:pt x="14327" y="4201"/>
                      </a:lnTo>
                      <a:lnTo>
                        <a:pt x="14308" y="4182"/>
                      </a:lnTo>
                      <a:lnTo>
                        <a:pt x="14198" y="4163"/>
                      </a:lnTo>
                      <a:lnTo>
                        <a:pt x="14180" y="4201"/>
                      </a:lnTo>
                      <a:lnTo>
                        <a:pt x="14162" y="4258"/>
                      </a:lnTo>
                      <a:lnTo>
                        <a:pt x="14125" y="4277"/>
                      </a:lnTo>
                      <a:lnTo>
                        <a:pt x="14106" y="4277"/>
                      </a:lnTo>
                      <a:lnTo>
                        <a:pt x="14051" y="4297"/>
                      </a:lnTo>
                      <a:lnTo>
                        <a:pt x="14015" y="4316"/>
                      </a:lnTo>
                      <a:lnTo>
                        <a:pt x="13978" y="4297"/>
                      </a:lnTo>
                      <a:lnTo>
                        <a:pt x="13904" y="4297"/>
                      </a:lnTo>
                      <a:lnTo>
                        <a:pt x="13849" y="4297"/>
                      </a:lnTo>
                      <a:lnTo>
                        <a:pt x="13831" y="4277"/>
                      </a:lnTo>
                      <a:lnTo>
                        <a:pt x="13813" y="4201"/>
                      </a:lnTo>
                      <a:lnTo>
                        <a:pt x="13794" y="4201"/>
                      </a:lnTo>
                      <a:lnTo>
                        <a:pt x="13739" y="4201"/>
                      </a:lnTo>
                      <a:lnTo>
                        <a:pt x="13684" y="4239"/>
                      </a:lnTo>
                      <a:lnTo>
                        <a:pt x="13647" y="4277"/>
                      </a:lnTo>
                      <a:lnTo>
                        <a:pt x="13610" y="4258"/>
                      </a:lnTo>
                      <a:lnTo>
                        <a:pt x="13592" y="4277"/>
                      </a:lnTo>
                      <a:lnTo>
                        <a:pt x="13555" y="4277"/>
                      </a:lnTo>
                      <a:lnTo>
                        <a:pt x="13537" y="4297"/>
                      </a:lnTo>
                      <a:lnTo>
                        <a:pt x="13537" y="4335"/>
                      </a:lnTo>
                      <a:lnTo>
                        <a:pt x="13500" y="4335"/>
                      </a:lnTo>
                      <a:lnTo>
                        <a:pt x="13445" y="4335"/>
                      </a:lnTo>
                      <a:lnTo>
                        <a:pt x="13372" y="4335"/>
                      </a:lnTo>
                      <a:lnTo>
                        <a:pt x="13335" y="4335"/>
                      </a:lnTo>
                      <a:lnTo>
                        <a:pt x="13298" y="4392"/>
                      </a:lnTo>
                      <a:lnTo>
                        <a:pt x="13280" y="4373"/>
                      </a:lnTo>
                      <a:lnTo>
                        <a:pt x="13206" y="4354"/>
                      </a:lnTo>
                      <a:lnTo>
                        <a:pt x="13151" y="4392"/>
                      </a:lnTo>
                      <a:lnTo>
                        <a:pt x="13096" y="4411"/>
                      </a:lnTo>
                      <a:lnTo>
                        <a:pt x="13059" y="4487"/>
                      </a:lnTo>
                      <a:lnTo>
                        <a:pt x="13023" y="4526"/>
                      </a:lnTo>
                      <a:lnTo>
                        <a:pt x="12986" y="4526"/>
                      </a:lnTo>
                      <a:lnTo>
                        <a:pt x="12968" y="4507"/>
                      </a:lnTo>
                      <a:lnTo>
                        <a:pt x="12931" y="4526"/>
                      </a:lnTo>
                      <a:lnTo>
                        <a:pt x="12894" y="4526"/>
                      </a:lnTo>
                      <a:lnTo>
                        <a:pt x="12876" y="4602"/>
                      </a:lnTo>
                      <a:lnTo>
                        <a:pt x="12839" y="4602"/>
                      </a:lnTo>
                      <a:lnTo>
                        <a:pt x="12802" y="4564"/>
                      </a:lnTo>
                      <a:lnTo>
                        <a:pt x="12766" y="4526"/>
                      </a:lnTo>
                      <a:lnTo>
                        <a:pt x="12729" y="4487"/>
                      </a:lnTo>
                      <a:lnTo>
                        <a:pt x="12692" y="4507"/>
                      </a:lnTo>
                      <a:lnTo>
                        <a:pt x="12655" y="4487"/>
                      </a:lnTo>
                      <a:lnTo>
                        <a:pt x="12637" y="4468"/>
                      </a:lnTo>
                      <a:lnTo>
                        <a:pt x="12619" y="4430"/>
                      </a:lnTo>
                      <a:lnTo>
                        <a:pt x="12527" y="4411"/>
                      </a:lnTo>
                      <a:lnTo>
                        <a:pt x="12508" y="4373"/>
                      </a:lnTo>
                      <a:lnTo>
                        <a:pt x="12527" y="4354"/>
                      </a:lnTo>
                      <a:lnTo>
                        <a:pt x="12564" y="4335"/>
                      </a:lnTo>
                      <a:lnTo>
                        <a:pt x="12564" y="4297"/>
                      </a:lnTo>
                      <a:lnTo>
                        <a:pt x="12527" y="4316"/>
                      </a:lnTo>
                      <a:lnTo>
                        <a:pt x="12508" y="4316"/>
                      </a:lnTo>
                      <a:lnTo>
                        <a:pt x="12508" y="4277"/>
                      </a:lnTo>
                      <a:lnTo>
                        <a:pt x="12472" y="4258"/>
                      </a:lnTo>
                      <a:lnTo>
                        <a:pt x="12435" y="4316"/>
                      </a:lnTo>
                      <a:lnTo>
                        <a:pt x="12398" y="4392"/>
                      </a:lnTo>
                      <a:lnTo>
                        <a:pt x="12380" y="4411"/>
                      </a:lnTo>
                      <a:lnTo>
                        <a:pt x="12343" y="4392"/>
                      </a:lnTo>
                      <a:lnTo>
                        <a:pt x="12306" y="4354"/>
                      </a:lnTo>
                      <a:lnTo>
                        <a:pt x="12251" y="4354"/>
                      </a:lnTo>
                      <a:lnTo>
                        <a:pt x="12233" y="4373"/>
                      </a:lnTo>
                      <a:lnTo>
                        <a:pt x="12215" y="4354"/>
                      </a:lnTo>
                      <a:lnTo>
                        <a:pt x="12196" y="4220"/>
                      </a:lnTo>
                      <a:lnTo>
                        <a:pt x="12159" y="4182"/>
                      </a:lnTo>
                      <a:lnTo>
                        <a:pt x="12123" y="4201"/>
                      </a:lnTo>
                      <a:lnTo>
                        <a:pt x="12068" y="4201"/>
                      </a:lnTo>
                      <a:lnTo>
                        <a:pt x="12086" y="4316"/>
                      </a:lnTo>
                      <a:lnTo>
                        <a:pt x="12012" y="4392"/>
                      </a:lnTo>
                      <a:lnTo>
                        <a:pt x="11994" y="4373"/>
                      </a:lnTo>
                      <a:lnTo>
                        <a:pt x="11957" y="4354"/>
                      </a:lnTo>
                      <a:lnTo>
                        <a:pt x="11939" y="4354"/>
                      </a:lnTo>
                      <a:lnTo>
                        <a:pt x="11921" y="4392"/>
                      </a:lnTo>
                      <a:lnTo>
                        <a:pt x="11957" y="4411"/>
                      </a:lnTo>
                      <a:lnTo>
                        <a:pt x="11939" y="4430"/>
                      </a:lnTo>
                      <a:lnTo>
                        <a:pt x="11939" y="4507"/>
                      </a:lnTo>
                      <a:lnTo>
                        <a:pt x="11921" y="4545"/>
                      </a:lnTo>
                      <a:lnTo>
                        <a:pt x="11884" y="4564"/>
                      </a:lnTo>
                      <a:lnTo>
                        <a:pt x="11847" y="4564"/>
                      </a:lnTo>
                      <a:lnTo>
                        <a:pt x="11810" y="4507"/>
                      </a:lnTo>
                      <a:lnTo>
                        <a:pt x="11792" y="4449"/>
                      </a:lnTo>
                      <a:lnTo>
                        <a:pt x="11829" y="4411"/>
                      </a:lnTo>
                      <a:lnTo>
                        <a:pt x="11847" y="4354"/>
                      </a:lnTo>
                      <a:lnTo>
                        <a:pt x="11847" y="4316"/>
                      </a:lnTo>
                      <a:lnTo>
                        <a:pt x="11810" y="4277"/>
                      </a:lnTo>
                      <a:lnTo>
                        <a:pt x="11774" y="4258"/>
                      </a:lnTo>
                      <a:lnTo>
                        <a:pt x="11755" y="4277"/>
                      </a:lnTo>
                      <a:lnTo>
                        <a:pt x="11719" y="4335"/>
                      </a:lnTo>
                      <a:lnTo>
                        <a:pt x="11700" y="4335"/>
                      </a:lnTo>
                      <a:lnTo>
                        <a:pt x="11663" y="4335"/>
                      </a:lnTo>
                      <a:lnTo>
                        <a:pt x="11590" y="4430"/>
                      </a:lnTo>
                      <a:lnTo>
                        <a:pt x="11535" y="4411"/>
                      </a:lnTo>
                      <a:lnTo>
                        <a:pt x="11498" y="4373"/>
                      </a:lnTo>
                      <a:lnTo>
                        <a:pt x="11498" y="4297"/>
                      </a:lnTo>
                      <a:lnTo>
                        <a:pt x="11461" y="4258"/>
                      </a:lnTo>
                      <a:lnTo>
                        <a:pt x="11425" y="4258"/>
                      </a:lnTo>
                      <a:lnTo>
                        <a:pt x="11406" y="4239"/>
                      </a:lnTo>
                      <a:lnTo>
                        <a:pt x="11370" y="4277"/>
                      </a:lnTo>
                      <a:lnTo>
                        <a:pt x="11351" y="4258"/>
                      </a:lnTo>
                      <a:lnTo>
                        <a:pt x="11333" y="4201"/>
                      </a:lnTo>
                      <a:lnTo>
                        <a:pt x="11315" y="4163"/>
                      </a:lnTo>
                      <a:lnTo>
                        <a:pt x="11259" y="4144"/>
                      </a:lnTo>
                      <a:lnTo>
                        <a:pt x="11223" y="4125"/>
                      </a:lnTo>
                      <a:lnTo>
                        <a:pt x="11186" y="4144"/>
                      </a:lnTo>
                      <a:lnTo>
                        <a:pt x="11168" y="4182"/>
                      </a:lnTo>
                      <a:lnTo>
                        <a:pt x="11131" y="4201"/>
                      </a:lnTo>
                      <a:lnTo>
                        <a:pt x="11112" y="4220"/>
                      </a:lnTo>
                      <a:lnTo>
                        <a:pt x="11076" y="4277"/>
                      </a:lnTo>
                      <a:lnTo>
                        <a:pt x="11039" y="4335"/>
                      </a:lnTo>
                      <a:lnTo>
                        <a:pt x="11021" y="4354"/>
                      </a:lnTo>
                      <a:lnTo>
                        <a:pt x="10984" y="4354"/>
                      </a:lnTo>
                      <a:lnTo>
                        <a:pt x="10966" y="4335"/>
                      </a:lnTo>
                      <a:lnTo>
                        <a:pt x="10892" y="4297"/>
                      </a:lnTo>
                      <a:lnTo>
                        <a:pt x="10874" y="4239"/>
                      </a:lnTo>
                      <a:lnTo>
                        <a:pt x="10892" y="4182"/>
                      </a:lnTo>
                      <a:lnTo>
                        <a:pt x="10910" y="4144"/>
                      </a:lnTo>
                      <a:lnTo>
                        <a:pt x="10892" y="4125"/>
                      </a:lnTo>
                      <a:lnTo>
                        <a:pt x="10855" y="4086"/>
                      </a:lnTo>
                      <a:lnTo>
                        <a:pt x="10800" y="4106"/>
                      </a:lnTo>
                      <a:lnTo>
                        <a:pt x="10763" y="4086"/>
                      </a:lnTo>
                      <a:lnTo>
                        <a:pt x="10727" y="4048"/>
                      </a:lnTo>
                      <a:lnTo>
                        <a:pt x="10727" y="3972"/>
                      </a:lnTo>
                      <a:lnTo>
                        <a:pt x="10745" y="3934"/>
                      </a:lnTo>
                      <a:lnTo>
                        <a:pt x="10745" y="3895"/>
                      </a:lnTo>
                      <a:lnTo>
                        <a:pt x="10708" y="3876"/>
                      </a:lnTo>
                      <a:lnTo>
                        <a:pt x="10690" y="3876"/>
                      </a:lnTo>
                      <a:lnTo>
                        <a:pt x="10653" y="3895"/>
                      </a:lnTo>
                      <a:lnTo>
                        <a:pt x="10635" y="3915"/>
                      </a:lnTo>
                      <a:lnTo>
                        <a:pt x="10598" y="3915"/>
                      </a:lnTo>
                      <a:lnTo>
                        <a:pt x="10506" y="3895"/>
                      </a:lnTo>
                      <a:lnTo>
                        <a:pt x="10451" y="3857"/>
                      </a:lnTo>
                      <a:lnTo>
                        <a:pt x="10433" y="3857"/>
                      </a:lnTo>
                      <a:lnTo>
                        <a:pt x="10396" y="3857"/>
                      </a:lnTo>
                      <a:lnTo>
                        <a:pt x="10378" y="3876"/>
                      </a:lnTo>
                      <a:lnTo>
                        <a:pt x="10359" y="3972"/>
                      </a:lnTo>
                      <a:lnTo>
                        <a:pt x="10341" y="3972"/>
                      </a:lnTo>
                      <a:lnTo>
                        <a:pt x="10304" y="3991"/>
                      </a:lnTo>
                      <a:lnTo>
                        <a:pt x="10249" y="3991"/>
                      </a:lnTo>
                      <a:lnTo>
                        <a:pt x="10231" y="3972"/>
                      </a:lnTo>
                      <a:lnTo>
                        <a:pt x="10194" y="3934"/>
                      </a:lnTo>
                      <a:lnTo>
                        <a:pt x="10176" y="3876"/>
                      </a:lnTo>
                      <a:lnTo>
                        <a:pt x="10157" y="3857"/>
                      </a:lnTo>
                      <a:lnTo>
                        <a:pt x="10121" y="3819"/>
                      </a:lnTo>
                      <a:lnTo>
                        <a:pt x="10084" y="3838"/>
                      </a:lnTo>
                      <a:lnTo>
                        <a:pt x="10047" y="3838"/>
                      </a:lnTo>
                      <a:lnTo>
                        <a:pt x="10010" y="3857"/>
                      </a:lnTo>
                      <a:lnTo>
                        <a:pt x="9974" y="3876"/>
                      </a:lnTo>
                      <a:lnTo>
                        <a:pt x="9937" y="3876"/>
                      </a:lnTo>
                      <a:lnTo>
                        <a:pt x="9919" y="3857"/>
                      </a:lnTo>
                      <a:lnTo>
                        <a:pt x="9882" y="3838"/>
                      </a:lnTo>
                      <a:lnTo>
                        <a:pt x="9827" y="3838"/>
                      </a:lnTo>
                      <a:lnTo>
                        <a:pt x="9790" y="3819"/>
                      </a:lnTo>
                      <a:lnTo>
                        <a:pt x="9735" y="3800"/>
                      </a:lnTo>
                      <a:lnTo>
                        <a:pt x="9698" y="3762"/>
                      </a:lnTo>
                      <a:lnTo>
                        <a:pt x="9661" y="3743"/>
                      </a:lnTo>
                      <a:lnTo>
                        <a:pt x="9625" y="3743"/>
                      </a:lnTo>
                      <a:lnTo>
                        <a:pt x="9588" y="3762"/>
                      </a:lnTo>
                      <a:lnTo>
                        <a:pt x="9533" y="3762"/>
                      </a:lnTo>
                      <a:lnTo>
                        <a:pt x="9441" y="3743"/>
                      </a:lnTo>
                      <a:lnTo>
                        <a:pt x="9404" y="3724"/>
                      </a:lnTo>
                      <a:lnTo>
                        <a:pt x="9404" y="3685"/>
                      </a:lnTo>
                      <a:lnTo>
                        <a:pt x="9423" y="3590"/>
                      </a:lnTo>
                      <a:lnTo>
                        <a:pt x="9423" y="3533"/>
                      </a:lnTo>
                      <a:lnTo>
                        <a:pt x="9386" y="3533"/>
                      </a:lnTo>
                      <a:lnTo>
                        <a:pt x="9368" y="3494"/>
                      </a:lnTo>
                      <a:lnTo>
                        <a:pt x="9331" y="3456"/>
                      </a:lnTo>
                      <a:lnTo>
                        <a:pt x="9294" y="3437"/>
                      </a:lnTo>
                      <a:lnTo>
                        <a:pt x="9276" y="3418"/>
                      </a:lnTo>
                      <a:lnTo>
                        <a:pt x="9257" y="3380"/>
                      </a:lnTo>
                      <a:lnTo>
                        <a:pt x="9221" y="3361"/>
                      </a:lnTo>
                      <a:lnTo>
                        <a:pt x="9202" y="3361"/>
                      </a:lnTo>
                      <a:lnTo>
                        <a:pt x="9184" y="3380"/>
                      </a:lnTo>
                      <a:lnTo>
                        <a:pt x="9184" y="3437"/>
                      </a:lnTo>
                      <a:lnTo>
                        <a:pt x="9147" y="3475"/>
                      </a:lnTo>
                      <a:lnTo>
                        <a:pt x="9129" y="3475"/>
                      </a:lnTo>
                      <a:lnTo>
                        <a:pt x="9074" y="3418"/>
                      </a:lnTo>
                      <a:lnTo>
                        <a:pt x="9037" y="3418"/>
                      </a:lnTo>
                      <a:lnTo>
                        <a:pt x="8982" y="3418"/>
                      </a:lnTo>
                      <a:lnTo>
                        <a:pt x="8963" y="3418"/>
                      </a:lnTo>
                      <a:lnTo>
                        <a:pt x="8927" y="3475"/>
                      </a:lnTo>
                      <a:lnTo>
                        <a:pt x="8908" y="3475"/>
                      </a:lnTo>
                      <a:lnTo>
                        <a:pt x="8853" y="3456"/>
                      </a:lnTo>
                      <a:lnTo>
                        <a:pt x="8817" y="3456"/>
                      </a:lnTo>
                      <a:lnTo>
                        <a:pt x="8780" y="3437"/>
                      </a:lnTo>
                      <a:lnTo>
                        <a:pt x="8725" y="3380"/>
                      </a:lnTo>
                      <a:lnTo>
                        <a:pt x="8670" y="3304"/>
                      </a:lnTo>
                      <a:lnTo>
                        <a:pt x="8670" y="3246"/>
                      </a:lnTo>
                      <a:lnTo>
                        <a:pt x="8633" y="3246"/>
                      </a:lnTo>
                      <a:lnTo>
                        <a:pt x="8578" y="3189"/>
                      </a:lnTo>
                      <a:lnTo>
                        <a:pt x="8541" y="3170"/>
                      </a:lnTo>
                      <a:lnTo>
                        <a:pt x="8523" y="3151"/>
                      </a:lnTo>
                      <a:lnTo>
                        <a:pt x="8468" y="3151"/>
                      </a:lnTo>
                      <a:lnTo>
                        <a:pt x="8449" y="3170"/>
                      </a:lnTo>
                      <a:lnTo>
                        <a:pt x="8468" y="2883"/>
                      </a:lnTo>
                      <a:lnTo>
                        <a:pt x="8468" y="2444"/>
                      </a:lnTo>
                      <a:lnTo>
                        <a:pt x="8486" y="2215"/>
                      </a:lnTo>
                      <a:lnTo>
                        <a:pt x="8504" y="1852"/>
                      </a:lnTo>
                      <a:lnTo>
                        <a:pt x="8504" y="1547"/>
                      </a:lnTo>
                      <a:lnTo>
                        <a:pt x="8523" y="1146"/>
                      </a:lnTo>
                      <a:lnTo>
                        <a:pt x="8541" y="897"/>
                      </a:lnTo>
                      <a:lnTo>
                        <a:pt x="8578" y="210"/>
                      </a:lnTo>
                      <a:lnTo>
                        <a:pt x="7935" y="172"/>
                      </a:lnTo>
                      <a:lnTo>
                        <a:pt x="7476" y="153"/>
                      </a:lnTo>
                      <a:lnTo>
                        <a:pt x="7310" y="153"/>
                      </a:lnTo>
                      <a:lnTo>
                        <a:pt x="6667" y="115"/>
                      </a:lnTo>
                      <a:lnTo>
                        <a:pt x="6208" y="76"/>
                      </a:lnTo>
                      <a:lnTo>
                        <a:pt x="6043" y="57"/>
                      </a:lnTo>
                      <a:lnTo>
                        <a:pt x="5033" y="0"/>
                      </a:lnTo>
                      <a:lnTo>
                        <a:pt x="4996" y="0"/>
                      </a:lnTo>
                      <a:lnTo>
                        <a:pt x="4941" y="668"/>
                      </a:lnTo>
                      <a:lnTo>
                        <a:pt x="4904" y="1146"/>
                      </a:lnTo>
                      <a:lnTo>
                        <a:pt x="4904" y="1337"/>
                      </a:lnTo>
                      <a:lnTo>
                        <a:pt x="4849" y="2005"/>
                      </a:lnTo>
                      <a:lnTo>
                        <a:pt x="4812" y="2349"/>
                      </a:lnTo>
                      <a:lnTo>
                        <a:pt x="4794" y="2673"/>
                      </a:lnTo>
                      <a:lnTo>
                        <a:pt x="4739" y="3304"/>
                      </a:lnTo>
                      <a:lnTo>
                        <a:pt x="4739" y="3342"/>
                      </a:lnTo>
                      <a:lnTo>
                        <a:pt x="4684" y="4067"/>
                      </a:lnTo>
                      <a:lnTo>
                        <a:pt x="4647" y="4468"/>
                      </a:lnTo>
                      <a:lnTo>
                        <a:pt x="4629" y="4736"/>
                      </a:lnTo>
                      <a:lnTo>
                        <a:pt x="4574" y="5404"/>
                      </a:lnTo>
                      <a:lnTo>
                        <a:pt x="4518" y="6053"/>
                      </a:lnTo>
                      <a:lnTo>
                        <a:pt x="4463" y="6722"/>
                      </a:lnTo>
                      <a:lnTo>
                        <a:pt x="4445" y="6836"/>
                      </a:lnTo>
                      <a:lnTo>
                        <a:pt x="4096" y="6817"/>
                      </a:lnTo>
                      <a:lnTo>
                        <a:pt x="3655" y="6779"/>
                      </a:lnTo>
                      <a:lnTo>
                        <a:pt x="3343" y="6760"/>
                      </a:lnTo>
                      <a:lnTo>
                        <a:pt x="3288" y="6741"/>
                      </a:lnTo>
                      <a:lnTo>
                        <a:pt x="2241" y="6645"/>
                      </a:lnTo>
                      <a:lnTo>
                        <a:pt x="2167" y="6645"/>
                      </a:lnTo>
                      <a:lnTo>
                        <a:pt x="808" y="6492"/>
                      </a:lnTo>
                      <a:lnTo>
                        <a:pt x="331" y="6454"/>
                      </a:lnTo>
                      <a:lnTo>
                        <a:pt x="239" y="6435"/>
                      </a:lnTo>
                      <a:lnTo>
                        <a:pt x="37" y="6397"/>
                      </a:lnTo>
                      <a:lnTo>
                        <a:pt x="0" y="6416"/>
                      </a:lnTo>
                      <a:lnTo>
                        <a:pt x="18" y="6473"/>
                      </a:lnTo>
                      <a:lnTo>
                        <a:pt x="0" y="6531"/>
                      </a:lnTo>
                      <a:lnTo>
                        <a:pt x="0" y="6588"/>
                      </a:lnTo>
                      <a:lnTo>
                        <a:pt x="37" y="6664"/>
                      </a:lnTo>
                      <a:lnTo>
                        <a:pt x="92" y="6741"/>
                      </a:lnTo>
                      <a:lnTo>
                        <a:pt x="147" y="6779"/>
                      </a:lnTo>
                      <a:lnTo>
                        <a:pt x="184" y="6817"/>
                      </a:lnTo>
                      <a:lnTo>
                        <a:pt x="294" y="6817"/>
                      </a:lnTo>
                      <a:lnTo>
                        <a:pt x="349" y="6932"/>
                      </a:lnTo>
                      <a:lnTo>
                        <a:pt x="367" y="7027"/>
                      </a:lnTo>
                      <a:lnTo>
                        <a:pt x="386" y="7123"/>
                      </a:lnTo>
                      <a:lnTo>
                        <a:pt x="441" y="7199"/>
                      </a:lnTo>
                      <a:lnTo>
                        <a:pt x="459" y="7275"/>
                      </a:lnTo>
                      <a:lnTo>
                        <a:pt x="514" y="7314"/>
                      </a:lnTo>
                      <a:lnTo>
                        <a:pt x="569" y="7371"/>
                      </a:lnTo>
                      <a:lnTo>
                        <a:pt x="625" y="7409"/>
                      </a:lnTo>
                      <a:lnTo>
                        <a:pt x="698" y="7409"/>
                      </a:lnTo>
                      <a:lnTo>
                        <a:pt x="716" y="7428"/>
                      </a:lnTo>
                      <a:lnTo>
                        <a:pt x="771" y="7485"/>
                      </a:lnTo>
                      <a:lnTo>
                        <a:pt x="808" y="7562"/>
                      </a:lnTo>
                      <a:lnTo>
                        <a:pt x="863" y="7619"/>
                      </a:lnTo>
                      <a:lnTo>
                        <a:pt x="937" y="7734"/>
                      </a:lnTo>
                      <a:lnTo>
                        <a:pt x="973" y="7810"/>
                      </a:lnTo>
                      <a:lnTo>
                        <a:pt x="1065" y="7848"/>
                      </a:lnTo>
                      <a:lnTo>
                        <a:pt x="1176" y="7963"/>
                      </a:lnTo>
                      <a:lnTo>
                        <a:pt x="1194" y="8039"/>
                      </a:lnTo>
                      <a:lnTo>
                        <a:pt x="1231" y="8116"/>
                      </a:lnTo>
                      <a:lnTo>
                        <a:pt x="1304" y="8211"/>
                      </a:lnTo>
                      <a:lnTo>
                        <a:pt x="1396" y="8326"/>
                      </a:lnTo>
                      <a:lnTo>
                        <a:pt x="1525" y="8421"/>
                      </a:lnTo>
                      <a:lnTo>
                        <a:pt x="1598" y="8440"/>
                      </a:lnTo>
                      <a:lnTo>
                        <a:pt x="1671" y="8498"/>
                      </a:lnTo>
                      <a:lnTo>
                        <a:pt x="1727" y="8555"/>
                      </a:lnTo>
                      <a:lnTo>
                        <a:pt x="1782" y="8612"/>
                      </a:lnTo>
                      <a:lnTo>
                        <a:pt x="1837" y="8650"/>
                      </a:lnTo>
                      <a:lnTo>
                        <a:pt x="1874" y="8669"/>
                      </a:lnTo>
                      <a:lnTo>
                        <a:pt x="1892" y="8727"/>
                      </a:lnTo>
                      <a:lnTo>
                        <a:pt x="1929" y="8765"/>
                      </a:lnTo>
                      <a:lnTo>
                        <a:pt x="2002" y="8841"/>
                      </a:lnTo>
                      <a:lnTo>
                        <a:pt x="2002" y="8937"/>
                      </a:lnTo>
                      <a:lnTo>
                        <a:pt x="2020" y="9070"/>
                      </a:lnTo>
                      <a:lnTo>
                        <a:pt x="2020" y="9109"/>
                      </a:lnTo>
                      <a:lnTo>
                        <a:pt x="2057" y="9128"/>
                      </a:lnTo>
                      <a:lnTo>
                        <a:pt x="2149" y="9300"/>
                      </a:lnTo>
                      <a:lnTo>
                        <a:pt x="2186" y="9376"/>
                      </a:lnTo>
                      <a:lnTo>
                        <a:pt x="2186" y="9471"/>
                      </a:lnTo>
                      <a:lnTo>
                        <a:pt x="2167" y="9567"/>
                      </a:lnTo>
                      <a:lnTo>
                        <a:pt x="2149" y="9681"/>
                      </a:lnTo>
                      <a:lnTo>
                        <a:pt x="2167" y="9834"/>
                      </a:lnTo>
                      <a:lnTo>
                        <a:pt x="2222" y="9911"/>
                      </a:lnTo>
                      <a:lnTo>
                        <a:pt x="2241" y="10006"/>
                      </a:lnTo>
                      <a:lnTo>
                        <a:pt x="2278" y="10044"/>
                      </a:lnTo>
                      <a:lnTo>
                        <a:pt x="2314" y="10235"/>
                      </a:lnTo>
                      <a:lnTo>
                        <a:pt x="2351" y="10273"/>
                      </a:lnTo>
                      <a:lnTo>
                        <a:pt x="2388" y="10331"/>
                      </a:lnTo>
                      <a:lnTo>
                        <a:pt x="2443" y="10350"/>
                      </a:lnTo>
                      <a:lnTo>
                        <a:pt x="2498" y="10445"/>
                      </a:lnTo>
                      <a:lnTo>
                        <a:pt x="2535" y="10464"/>
                      </a:lnTo>
                      <a:lnTo>
                        <a:pt x="2627" y="10483"/>
                      </a:lnTo>
                      <a:lnTo>
                        <a:pt x="2682" y="10522"/>
                      </a:lnTo>
                      <a:lnTo>
                        <a:pt x="2700" y="10579"/>
                      </a:lnTo>
                      <a:lnTo>
                        <a:pt x="2737" y="10674"/>
                      </a:lnTo>
                      <a:lnTo>
                        <a:pt x="2774" y="10694"/>
                      </a:lnTo>
                      <a:lnTo>
                        <a:pt x="2865" y="10770"/>
                      </a:lnTo>
                      <a:lnTo>
                        <a:pt x="2939" y="10846"/>
                      </a:lnTo>
                      <a:lnTo>
                        <a:pt x="3067" y="10884"/>
                      </a:lnTo>
                      <a:lnTo>
                        <a:pt x="3159" y="10904"/>
                      </a:lnTo>
                      <a:lnTo>
                        <a:pt x="3214" y="10923"/>
                      </a:lnTo>
                      <a:lnTo>
                        <a:pt x="3233" y="10942"/>
                      </a:lnTo>
                      <a:lnTo>
                        <a:pt x="3214" y="10999"/>
                      </a:lnTo>
                      <a:lnTo>
                        <a:pt x="3251" y="10999"/>
                      </a:lnTo>
                      <a:lnTo>
                        <a:pt x="3288" y="11018"/>
                      </a:lnTo>
                      <a:lnTo>
                        <a:pt x="3325" y="11075"/>
                      </a:lnTo>
                      <a:lnTo>
                        <a:pt x="3398" y="11095"/>
                      </a:lnTo>
                      <a:lnTo>
                        <a:pt x="3490" y="11114"/>
                      </a:lnTo>
                      <a:lnTo>
                        <a:pt x="3527" y="11133"/>
                      </a:lnTo>
                      <a:lnTo>
                        <a:pt x="3582" y="11171"/>
                      </a:lnTo>
                      <a:lnTo>
                        <a:pt x="3618" y="11266"/>
                      </a:lnTo>
                      <a:lnTo>
                        <a:pt x="3637" y="11266"/>
                      </a:lnTo>
                      <a:lnTo>
                        <a:pt x="3710" y="11343"/>
                      </a:lnTo>
                      <a:lnTo>
                        <a:pt x="3729" y="11343"/>
                      </a:lnTo>
                      <a:lnTo>
                        <a:pt x="3765" y="11305"/>
                      </a:lnTo>
                      <a:lnTo>
                        <a:pt x="3784" y="11305"/>
                      </a:lnTo>
                      <a:lnTo>
                        <a:pt x="3839" y="11400"/>
                      </a:lnTo>
                      <a:lnTo>
                        <a:pt x="3876" y="11419"/>
                      </a:lnTo>
                      <a:lnTo>
                        <a:pt x="3949" y="11400"/>
                      </a:lnTo>
                      <a:lnTo>
                        <a:pt x="4004" y="11400"/>
                      </a:lnTo>
                      <a:lnTo>
                        <a:pt x="4041" y="11419"/>
                      </a:lnTo>
                      <a:lnTo>
                        <a:pt x="4059" y="11400"/>
                      </a:lnTo>
                      <a:lnTo>
                        <a:pt x="4078" y="11324"/>
                      </a:lnTo>
                      <a:lnTo>
                        <a:pt x="4133" y="11266"/>
                      </a:lnTo>
                      <a:lnTo>
                        <a:pt x="4169" y="11228"/>
                      </a:lnTo>
                      <a:lnTo>
                        <a:pt x="4206" y="11152"/>
                      </a:lnTo>
                      <a:lnTo>
                        <a:pt x="4243" y="11133"/>
                      </a:lnTo>
                      <a:lnTo>
                        <a:pt x="4316" y="11114"/>
                      </a:lnTo>
                      <a:lnTo>
                        <a:pt x="4353" y="11095"/>
                      </a:lnTo>
                      <a:lnTo>
                        <a:pt x="4390" y="11075"/>
                      </a:lnTo>
                      <a:lnTo>
                        <a:pt x="4372" y="10999"/>
                      </a:lnTo>
                      <a:lnTo>
                        <a:pt x="4372" y="10961"/>
                      </a:lnTo>
                      <a:lnTo>
                        <a:pt x="4408" y="10884"/>
                      </a:lnTo>
                      <a:lnTo>
                        <a:pt x="4463" y="10865"/>
                      </a:lnTo>
                      <a:lnTo>
                        <a:pt x="4482" y="10789"/>
                      </a:lnTo>
                      <a:lnTo>
                        <a:pt x="4482" y="10732"/>
                      </a:lnTo>
                      <a:lnTo>
                        <a:pt x="4518" y="10674"/>
                      </a:lnTo>
                      <a:lnTo>
                        <a:pt x="4518" y="10617"/>
                      </a:lnTo>
                      <a:lnTo>
                        <a:pt x="4555" y="10598"/>
                      </a:lnTo>
                      <a:lnTo>
                        <a:pt x="4574" y="10560"/>
                      </a:lnTo>
                      <a:lnTo>
                        <a:pt x="4574" y="10503"/>
                      </a:lnTo>
                      <a:lnTo>
                        <a:pt x="4610" y="10522"/>
                      </a:lnTo>
                      <a:lnTo>
                        <a:pt x="4610" y="10464"/>
                      </a:lnTo>
                      <a:lnTo>
                        <a:pt x="4665" y="10426"/>
                      </a:lnTo>
                      <a:lnTo>
                        <a:pt x="4702" y="10312"/>
                      </a:lnTo>
                      <a:lnTo>
                        <a:pt x="4739" y="10312"/>
                      </a:lnTo>
                      <a:lnTo>
                        <a:pt x="4776" y="10331"/>
                      </a:lnTo>
                      <a:lnTo>
                        <a:pt x="4849" y="10293"/>
                      </a:lnTo>
                      <a:lnTo>
                        <a:pt x="4867" y="10312"/>
                      </a:lnTo>
                      <a:lnTo>
                        <a:pt x="4904" y="10312"/>
                      </a:lnTo>
                      <a:lnTo>
                        <a:pt x="4941" y="10273"/>
                      </a:lnTo>
                      <a:lnTo>
                        <a:pt x="4978" y="10312"/>
                      </a:lnTo>
                      <a:lnTo>
                        <a:pt x="5069" y="10312"/>
                      </a:lnTo>
                      <a:lnTo>
                        <a:pt x="5088" y="10293"/>
                      </a:lnTo>
                      <a:lnTo>
                        <a:pt x="5125" y="10178"/>
                      </a:lnTo>
                      <a:lnTo>
                        <a:pt x="5180" y="10140"/>
                      </a:lnTo>
                      <a:lnTo>
                        <a:pt x="5235" y="10159"/>
                      </a:lnTo>
                      <a:lnTo>
                        <a:pt x="5308" y="10197"/>
                      </a:lnTo>
                      <a:lnTo>
                        <a:pt x="5510" y="10312"/>
                      </a:lnTo>
                      <a:lnTo>
                        <a:pt x="5621" y="10273"/>
                      </a:lnTo>
                      <a:lnTo>
                        <a:pt x="5657" y="10331"/>
                      </a:lnTo>
                      <a:lnTo>
                        <a:pt x="5804" y="10331"/>
                      </a:lnTo>
                      <a:lnTo>
                        <a:pt x="5841" y="10331"/>
                      </a:lnTo>
                      <a:lnTo>
                        <a:pt x="5896" y="10350"/>
                      </a:lnTo>
                      <a:lnTo>
                        <a:pt x="5933" y="10369"/>
                      </a:lnTo>
                      <a:lnTo>
                        <a:pt x="6006" y="10388"/>
                      </a:lnTo>
                      <a:lnTo>
                        <a:pt x="6061" y="10388"/>
                      </a:lnTo>
                      <a:lnTo>
                        <a:pt x="6116" y="10350"/>
                      </a:lnTo>
                      <a:lnTo>
                        <a:pt x="6153" y="10331"/>
                      </a:lnTo>
                      <a:lnTo>
                        <a:pt x="6172" y="10350"/>
                      </a:lnTo>
                      <a:lnTo>
                        <a:pt x="6172" y="10388"/>
                      </a:lnTo>
                      <a:lnTo>
                        <a:pt x="6190" y="10388"/>
                      </a:lnTo>
                      <a:lnTo>
                        <a:pt x="6263" y="10388"/>
                      </a:lnTo>
                      <a:lnTo>
                        <a:pt x="6263" y="10426"/>
                      </a:lnTo>
                      <a:lnTo>
                        <a:pt x="6300" y="10445"/>
                      </a:lnTo>
                      <a:lnTo>
                        <a:pt x="6337" y="10426"/>
                      </a:lnTo>
                      <a:lnTo>
                        <a:pt x="6355" y="10426"/>
                      </a:lnTo>
                      <a:lnTo>
                        <a:pt x="6392" y="10560"/>
                      </a:lnTo>
                      <a:lnTo>
                        <a:pt x="6392" y="10579"/>
                      </a:lnTo>
                      <a:lnTo>
                        <a:pt x="6429" y="10598"/>
                      </a:lnTo>
                      <a:lnTo>
                        <a:pt x="6447" y="10579"/>
                      </a:lnTo>
                      <a:lnTo>
                        <a:pt x="6447" y="10617"/>
                      </a:lnTo>
                      <a:lnTo>
                        <a:pt x="6429" y="10674"/>
                      </a:lnTo>
                      <a:lnTo>
                        <a:pt x="6447" y="10694"/>
                      </a:lnTo>
                      <a:lnTo>
                        <a:pt x="6484" y="10694"/>
                      </a:lnTo>
                      <a:lnTo>
                        <a:pt x="6502" y="10655"/>
                      </a:lnTo>
                      <a:lnTo>
                        <a:pt x="6502" y="10636"/>
                      </a:lnTo>
                      <a:lnTo>
                        <a:pt x="6502" y="10617"/>
                      </a:lnTo>
                      <a:lnTo>
                        <a:pt x="6521" y="10636"/>
                      </a:lnTo>
                      <a:lnTo>
                        <a:pt x="6557" y="10655"/>
                      </a:lnTo>
                      <a:lnTo>
                        <a:pt x="6539" y="10713"/>
                      </a:lnTo>
                      <a:lnTo>
                        <a:pt x="6521" y="10751"/>
                      </a:lnTo>
                      <a:lnTo>
                        <a:pt x="6521" y="10789"/>
                      </a:lnTo>
                      <a:lnTo>
                        <a:pt x="6576" y="10789"/>
                      </a:lnTo>
                      <a:lnTo>
                        <a:pt x="6631" y="10846"/>
                      </a:lnTo>
                      <a:lnTo>
                        <a:pt x="6704" y="10846"/>
                      </a:lnTo>
                      <a:lnTo>
                        <a:pt x="6741" y="10884"/>
                      </a:lnTo>
                      <a:lnTo>
                        <a:pt x="6759" y="10904"/>
                      </a:lnTo>
                      <a:lnTo>
                        <a:pt x="6796" y="11018"/>
                      </a:lnTo>
                      <a:lnTo>
                        <a:pt x="6870" y="11075"/>
                      </a:lnTo>
                      <a:lnTo>
                        <a:pt x="6943" y="11114"/>
                      </a:lnTo>
                      <a:lnTo>
                        <a:pt x="6980" y="11171"/>
                      </a:lnTo>
                      <a:lnTo>
                        <a:pt x="7035" y="11209"/>
                      </a:lnTo>
                      <a:lnTo>
                        <a:pt x="7072" y="11209"/>
                      </a:lnTo>
                      <a:lnTo>
                        <a:pt x="7072" y="11247"/>
                      </a:lnTo>
                      <a:lnTo>
                        <a:pt x="7090" y="11324"/>
                      </a:lnTo>
                      <a:lnTo>
                        <a:pt x="7108" y="11362"/>
                      </a:lnTo>
                      <a:lnTo>
                        <a:pt x="7182" y="11419"/>
                      </a:lnTo>
                      <a:lnTo>
                        <a:pt x="7200" y="11476"/>
                      </a:lnTo>
                      <a:lnTo>
                        <a:pt x="7200" y="11515"/>
                      </a:lnTo>
                      <a:lnTo>
                        <a:pt x="7237" y="11667"/>
                      </a:lnTo>
                      <a:lnTo>
                        <a:pt x="7237" y="11725"/>
                      </a:lnTo>
                      <a:lnTo>
                        <a:pt x="7274" y="11782"/>
                      </a:lnTo>
                      <a:lnTo>
                        <a:pt x="7310" y="11782"/>
                      </a:lnTo>
                      <a:lnTo>
                        <a:pt x="7310" y="11820"/>
                      </a:lnTo>
                      <a:lnTo>
                        <a:pt x="7329" y="11877"/>
                      </a:lnTo>
                      <a:lnTo>
                        <a:pt x="7347" y="11897"/>
                      </a:lnTo>
                      <a:lnTo>
                        <a:pt x="7384" y="12030"/>
                      </a:lnTo>
                      <a:lnTo>
                        <a:pt x="7384" y="12087"/>
                      </a:lnTo>
                      <a:lnTo>
                        <a:pt x="7402" y="12145"/>
                      </a:lnTo>
                      <a:lnTo>
                        <a:pt x="7457" y="12164"/>
                      </a:lnTo>
                      <a:lnTo>
                        <a:pt x="7476" y="12202"/>
                      </a:lnTo>
                      <a:lnTo>
                        <a:pt x="7494" y="12240"/>
                      </a:lnTo>
                      <a:lnTo>
                        <a:pt x="7512" y="12240"/>
                      </a:lnTo>
                      <a:lnTo>
                        <a:pt x="7512" y="12278"/>
                      </a:lnTo>
                      <a:lnTo>
                        <a:pt x="7512" y="12317"/>
                      </a:lnTo>
                      <a:lnTo>
                        <a:pt x="7531" y="12355"/>
                      </a:lnTo>
                      <a:lnTo>
                        <a:pt x="7567" y="12374"/>
                      </a:lnTo>
                      <a:lnTo>
                        <a:pt x="7586" y="12393"/>
                      </a:lnTo>
                      <a:lnTo>
                        <a:pt x="7567" y="12431"/>
                      </a:lnTo>
                      <a:lnTo>
                        <a:pt x="7567" y="12450"/>
                      </a:lnTo>
                      <a:lnTo>
                        <a:pt x="7604" y="12489"/>
                      </a:lnTo>
                      <a:lnTo>
                        <a:pt x="7623" y="12527"/>
                      </a:lnTo>
                      <a:lnTo>
                        <a:pt x="7623" y="12584"/>
                      </a:lnTo>
                      <a:lnTo>
                        <a:pt x="7641" y="12641"/>
                      </a:lnTo>
                      <a:lnTo>
                        <a:pt x="7659" y="12660"/>
                      </a:lnTo>
                      <a:lnTo>
                        <a:pt x="7659" y="12699"/>
                      </a:lnTo>
                      <a:lnTo>
                        <a:pt x="7678" y="12756"/>
                      </a:lnTo>
                      <a:lnTo>
                        <a:pt x="7751" y="12794"/>
                      </a:lnTo>
                      <a:lnTo>
                        <a:pt x="7770" y="12851"/>
                      </a:lnTo>
                      <a:lnTo>
                        <a:pt x="7806" y="12890"/>
                      </a:lnTo>
                      <a:lnTo>
                        <a:pt x="7861" y="12928"/>
                      </a:lnTo>
                      <a:lnTo>
                        <a:pt x="7916" y="12966"/>
                      </a:lnTo>
                      <a:lnTo>
                        <a:pt x="7953" y="13023"/>
                      </a:lnTo>
                      <a:lnTo>
                        <a:pt x="8008" y="13119"/>
                      </a:lnTo>
                      <a:lnTo>
                        <a:pt x="8027" y="13195"/>
                      </a:lnTo>
                      <a:lnTo>
                        <a:pt x="8063" y="13214"/>
                      </a:lnTo>
                      <a:lnTo>
                        <a:pt x="8082" y="13214"/>
                      </a:lnTo>
                      <a:lnTo>
                        <a:pt x="8100" y="13252"/>
                      </a:lnTo>
                      <a:lnTo>
                        <a:pt x="8119" y="13291"/>
                      </a:lnTo>
                      <a:lnTo>
                        <a:pt x="8155" y="13367"/>
                      </a:lnTo>
                      <a:lnTo>
                        <a:pt x="8192" y="13443"/>
                      </a:lnTo>
                      <a:lnTo>
                        <a:pt x="8210" y="13501"/>
                      </a:lnTo>
                      <a:lnTo>
                        <a:pt x="8229" y="13520"/>
                      </a:lnTo>
                      <a:lnTo>
                        <a:pt x="8265" y="13539"/>
                      </a:lnTo>
                      <a:lnTo>
                        <a:pt x="8284" y="13577"/>
                      </a:lnTo>
                      <a:lnTo>
                        <a:pt x="8321" y="13634"/>
                      </a:lnTo>
                      <a:lnTo>
                        <a:pt x="8376" y="13692"/>
                      </a:lnTo>
                      <a:lnTo>
                        <a:pt x="8431" y="13692"/>
                      </a:lnTo>
                      <a:lnTo>
                        <a:pt x="8449" y="13749"/>
                      </a:lnTo>
                      <a:lnTo>
                        <a:pt x="8486" y="13730"/>
                      </a:lnTo>
                      <a:lnTo>
                        <a:pt x="8596" y="13806"/>
                      </a:lnTo>
                      <a:lnTo>
                        <a:pt x="8614" y="13863"/>
                      </a:lnTo>
                      <a:lnTo>
                        <a:pt x="8614" y="13921"/>
                      </a:lnTo>
                      <a:lnTo>
                        <a:pt x="8651" y="13940"/>
                      </a:lnTo>
                      <a:lnTo>
                        <a:pt x="8633" y="14016"/>
                      </a:lnTo>
                      <a:lnTo>
                        <a:pt x="8633" y="14073"/>
                      </a:lnTo>
                      <a:lnTo>
                        <a:pt x="8633" y="14131"/>
                      </a:lnTo>
                      <a:lnTo>
                        <a:pt x="8614" y="14188"/>
                      </a:lnTo>
                      <a:lnTo>
                        <a:pt x="8596" y="14226"/>
                      </a:lnTo>
                      <a:lnTo>
                        <a:pt x="8633" y="14245"/>
                      </a:lnTo>
                      <a:lnTo>
                        <a:pt x="8651" y="14283"/>
                      </a:lnTo>
                      <a:lnTo>
                        <a:pt x="8706" y="14341"/>
                      </a:lnTo>
                      <a:lnTo>
                        <a:pt x="8706" y="14379"/>
                      </a:lnTo>
                      <a:lnTo>
                        <a:pt x="8706" y="14513"/>
                      </a:lnTo>
                      <a:lnTo>
                        <a:pt x="8706" y="14570"/>
                      </a:lnTo>
                      <a:lnTo>
                        <a:pt x="8670" y="14608"/>
                      </a:lnTo>
                      <a:lnTo>
                        <a:pt x="8688" y="14665"/>
                      </a:lnTo>
                      <a:lnTo>
                        <a:pt x="8725" y="14704"/>
                      </a:lnTo>
                      <a:lnTo>
                        <a:pt x="8761" y="14742"/>
                      </a:lnTo>
                      <a:lnTo>
                        <a:pt x="8761" y="14799"/>
                      </a:lnTo>
                      <a:lnTo>
                        <a:pt x="8780" y="14818"/>
                      </a:lnTo>
                      <a:lnTo>
                        <a:pt x="8817" y="14837"/>
                      </a:lnTo>
                      <a:lnTo>
                        <a:pt x="8853" y="14914"/>
                      </a:lnTo>
                      <a:lnTo>
                        <a:pt x="8908" y="14933"/>
                      </a:lnTo>
                      <a:lnTo>
                        <a:pt x="9000" y="15162"/>
                      </a:lnTo>
                      <a:lnTo>
                        <a:pt x="9000" y="15219"/>
                      </a:lnTo>
                      <a:lnTo>
                        <a:pt x="9037" y="15276"/>
                      </a:lnTo>
                      <a:lnTo>
                        <a:pt x="9055" y="15353"/>
                      </a:lnTo>
                      <a:lnTo>
                        <a:pt x="9055" y="15391"/>
                      </a:lnTo>
                      <a:lnTo>
                        <a:pt x="9129" y="15506"/>
                      </a:lnTo>
                      <a:lnTo>
                        <a:pt x="9110" y="15582"/>
                      </a:lnTo>
                      <a:lnTo>
                        <a:pt x="9129" y="15620"/>
                      </a:lnTo>
                      <a:lnTo>
                        <a:pt x="9165" y="15639"/>
                      </a:lnTo>
                      <a:lnTo>
                        <a:pt x="9202" y="15601"/>
                      </a:lnTo>
                      <a:lnTo>
                        <a:pt x="9276" y="15620"/>
                      </a:lnTo>
                      <a:lnTo>
                        <a:pt x="9294" y="15658"/>
                      </a:lnTo>
                      <a:lnTo>
                        <a:pt x="9349" y="15658"/>
                      </a:lnTo>
                      <a:lnTo>
                        <a:pt x="9368" y="15697"/>
                      </a:lnTo>
                      <a:lnTo>
                        <a:pt x="9441" y="15677"/>
                      </a:lnTo>
                      <a:lnTo>
                        <a:pt x="9478" y="15697"/>
                      </a:lnTo>
                      <a:lnTo>
                        <a:pt x="9514" y="15716"/>
                      </a:lnTo>
                      <a:lnTo>
                        <a:pt x="9551" y="15735"/>
                      </a:lnTo>
                      <a:lnTo>
                        <a:pt x="9588" y="15754"/>
                      </a:lnTo>
                      <a:lnTo>
                        <a:pt x="9588" y="15773"/>
                      </a:lnTo>
                      <a:lnTo>
                        <a:pt x="9680" y="15888"/>
                      </a:lnTo>
                      <a:lnTo>
                        <a:pt x="9735" y="15888"/>
                      </a:lnTo>
                      <a:lnTo>
                        <a:pt x="9735" y="15868"/>
                      </a:lnTo>
                      <a:lnTo>
                        <a:pt x="9790" y="15868"/>
                      </a:lnTo>
                      <a:lnTo>
                        <a:pt x="9808" y="15888"/>
                      </a:lnTo>
                      <a:lnTo>
                        <a:pt x="9827" y="15888"/>
                      </a:lnTo>
                      <a:lnTo>
                        <a:pt x="9827" y="15868"/>
                      </a:lnTo>
                      <a:lnTo>
                        <a:pt x="9863" y="15888"/>
                      </a:lnTo>
                      <a:lnTo>
                        <a:pt x="9900" y="15926"/>
                      </a:lnTo>
                      <a:lnTo>
                        <a:pt x="9919" y="15907"/>
                      </a:lnTo>
                      <a:lnTo>
                        <a:pt x="9955" y="15907"/>
                      </a:lnTo>
                      <a:lnTo>
                        <a:pt x="9974" y="15926"/>
                      </a:lnTo>
                      <a:lnTo>
                        <a:pt x="9974" y="15945"/>
                      </a:lnTo>
                      <a:lnTo>
                        <a:pt x="9992" y="15964"/>
                      </a:lnTo>
                      <a:lnTo>
                        <a:pt x="10029" y="15964"/>
                      </a:lnTo>
                      <a:lnTo>
                        <a:pt x="10047" y="16002"/>
                      </a:lnTo>
                      <a:lnTo>
                        <a:pt x="10066" y="16002"/>
                      </a:lnTo>
                      <a:lnTo>
                        <a:pt x="10084" y="16002"/>
                      </a:lnTo>
                      <a:lnTo>
                        <a:pt x="10121" y="16021"/>
                      </a:lnTo>
                      <a:lnTo>
                        <a:pt x="10139" y="16078"/>
                      </a:lnTo>
                      <a:lnTo>
                        <a:pt x="10157" y="16078"/>
                      </a:lnTo>
                      <a:lnTo>
                        <a:pt x="10176" y="16059"/>
                      </a:lnTo>
                      <a:lnTo>
                        <a:pt x="10194" y="16078"/>
                      </a:lnTo>
                      <a:lnTo>
                        <a:pt x="10194" y="16117"/>
                      </a:lnTo>
                      <a:lnTo>
                        <a:pt x="10286" y="16155"/>
                      </a:lnTo>
                      <a:lnTo>
                        <a:pt x="10323" y="16155"/>
                      </a:lnTo>
                      <a:lnTo>
                        <a:pt x="10341" y="16155"/>
                      </a:lnTo>
                      <a:lnTo>
                        <a:pt x="10359" y="16174"/>
                      </a:lnTo>
                      <a:lnTo>
                        <a:pt x="10414" y="16174"/>
                      </a:lnTo>
                      <a:lnTo>
                        <a:pt x="10433" y="16155"/>
                      </a:lnTo>
                      <a:lnTo>
                        <a:pt x="10470" y="16193"/>
                      </a:lnTo>
                      <a:lnTo>
                        <a:pt x="10506" y="16193"/>
                      </a:lnTo>
                      <a:lnTo>
                        <a:pt x="10561" y="16174"/>
                      </a:lnTo>
                      <a:lnTo>
                        <a:pt x="10580" y="16174"/>
                      </a:lnTo>
                      <a:lnTo>
                        <a:pt x="10598" y="16174"/>
                      </a:lnTo>
                      <a:lnTo>
                        <a:pt x="10635" y="16174"/>
                      </a:lnTo>
                      <a:lnTo>
                        <a:pt x="10763" y="16174"/>
                      </a:lnTo>
                      <a:lnTo>
                        <a:pt x="10782" y="16174"/>
                      </a:lnTo>
                      <a:lnTo>
                        <a:pt x="10819" y="16193"/>
                      </a:lnTo>
                      <a:lnTo>
                        <a:pt x="10837" y="16174"/>
                      </a:lnTo>
                      <a:lnTo>
                        <a:pt x="10855" y="16212"/>
                      </a:lnTo>
                      <a:lnTo>
                        <a:pt x="10892" y="16212"/>
                      </a:lnTo>
                      <a:lnTo>
                        <a:pt x="10929" y="16231"/>
                      </a:lnTo>
                      <a:lnTo>
                        <a:pt x="10966" y="16231"/>
                      </a:lnTo>
                      <a:lnTo>
                        <a:pt x="11002" y="16212"/>
                      </a:lnTo>
                      <a:lnTo>
                        <a:pt x="11039" y="16231"/>
                      </a:lnTo>
                      <a:lnTo>
                        <a:pt x="11094" y="16327"/>
                      </a:lnTo>
                      <a:lnTo>
                        <a:pt x="11204" y="16384"/>
                      </a:lnTo>
                      <a:lnTo>
                        <a:pt x="11241" y="16384"/>
                      </a:lnTo>
                      <a:lnTo>
                        <a:pt x="11278" y="16384"/>
                      </a:lnTo>
                      <a:lnTo>
                        <a:pt x="11315" y="16384"/>
                      </a:lnTo>
                      <a:lnTo>
                        <a:pt x="11351" y="16384"/>
                      </a:lnTo>
                      <a:lnTo>
                        <a:pt x="11370" y="16384"/>
                      </a:lnTo>
                      <a:lnTo>
                        <a:pt x="11388" y="16384"/>
                      </a:lnTo>
                      <a:lnTo>
                        <a:pt x="11406" y="16384"/>
                      </a:lnTo>
                      <a:lnTo>
                        <a:pt x="11425" y="16384"/>
                      </a:lnTo>
                      <a:lnTo>
                        <a:pt x="11406" y="16384"/>
                      </a:lnTo>
                      <a:lnTo>
                        <a:pt x="11425" y="16384"/>
                      </a:lnTo>
                      <a:lnTo>
                        <a:pt x="11461" y="16384"/>
                      </a:lnTo>
                      <a:lnTo>
                        <a:pt x="11517" y="16384"/>
                      </a:lnTo>
                      <a:lnTo>
                        <a:pt x="11517" y="16346"/>
                      </a:lnTo>
                      <a:lnTo>
                        <a:pt x="11553" y="16346"/>
                      </a:lnTo>
                      <a:lnTo>
                        <a:pt x="11682" y="16346"/>
                      </a:lnTo>
                      <a:lnTo>
                        <a:pt x="11719" y="16212"/>
                      </a:lnTo>
                      <a:lnTo>
                        <a:pt x="11700" y="16174"/>
                      </a:lnTo>
                      <a:lnTo>
                        <a:pt x="11682" y="16174"/>
                      </a:lnTo>
                      <a:lnTo>
                        <a:pt x="11663" y="16193"/>
                      </a:lnTo>
                      <a:lnTo>
                        <a:pt x="11682" y="16269"/>
                      </a:lnTo>
                      <a:lnTo>
                        <a:pt x="11645" y="16231"/>
                      </a:lnTo>
                      <a:lnTo>
                        <a:pt x="11608" y="16250"/>
                      </a:lnTo>
                      <a:lnTo>
                        <a:pt x="11627" y="16269"/>
                      </a:lnTo>
                      <a:lnTo>
                        <a:pt x="11572" y="16289"/>
                      </a:lnTo>
                      <a:lnTo>
                        <a:pt x="11553" y="16231"/>
                      </a:lnTo>
                      <a:lnTo>
                        <a:pt x="11572" y="16193"/>
                      </a:lnTo>
                      <a:lnTo>
                        <a:pt x="11627" y="16155"/>
                      </a:lnTo>
                      <a:lnTo>
                        <a:pt x="11627" y="16136"/>
                      </a:lnTo>
                      <a:lnTo>
                        <a:pt x="11608" y="16117"/>
                      </a:lnTo>
                      <a:lnTo>
                        <a:pt x="11572" y="16117"/>
                      </a:lnTo>
                      <a:lnTo>
                        <a:pt x="11535" y="16136"/>
                      </a:lnTo>
                      <a:lnTo>
                        <a:pt x="11498" y="16117"/>
                      </a:lnTo>
                      <a:lnTo>
                        <a:pt x="11498" y="16078"/>
                      </a:lnTo>
                      <a:lnTo>
                        <a:pt x="11498" y="16040"/>
                      </a:lnTo>
                      <a:lnTo>
                        <a:pt x="11517" y="15983"/>
                      </a:lnTo>
                      <a:lnTo>
                        <a:pt x="11461" y="15945"/>
                      </a:lnTo>
                      <a:lnTo>
                        <a:pt x="11480" y="15888"/>
                      </a:lnTo>
                      <a:lnTo>
                        <a:pt x="11480" y="15868"/>
                      </a:lnTo>
                      <a:lnTo>
                        <a:pt x="11461" y="15849"/>
                      </a:lnTo>
                      <a:lnTo>
                        <a:pt x="11443" y="15868"/>
                      </a:lnTo>
                      <a:lnTo>
                        <a:pt x="11425" y="15830"/>
                      </a:lnTo>
                      <a:lnTo>
                        <a:pt x="11425" y="15735"/>
                      </a:lnTo>
                      <a:lnTo>
                        <a:pt x="11406" y="15697"/>
                      </a:lnTo>
                      <a:lnTo>
                        <a:pt x="11351" y="15677"/>
                      </a:lnTo>
                      <a:lnTo>
                        <a:pt x="11315" y="15658"/>
                      </a:lnTo>
                      <a:lnTo>
                        <a:pt x="11296" y="15563"/>
                      </a:lnTo>
                      <a:lnTo>
                        <a:pt x="11315" y="15487"/>
                      </a:lnTo>
                      <a:lnTo>
                        <a:pt x="11333" y="15467"/>
                      </a:lnTo>
                      <a:lnTo>
                        <a:pt x="11315" y="15372"/>
                      </a:lnTo>
                      <a:lnTo>
                        <a:pt x="11315" y="15296"/>
                      </a:lnTo>
                      <a:lnTo>
                        <a:pt x="11278" y="15143"/>
                      </a:lnTo>
                      <a:lnTo>
                        <a:pt x="11259" y="15066"/>
                      </a:lnTo>
                      <a:lnTo>
                        <a:pt x="11223" y="15028"/>
                      </a:lnTo>
                      <a:lnTo>
                        <a:pt x="11186" y="14990"/>
                      </a:lnTo>
                      <a:lnTo>
                        <a:pt x="11168" y="14933"/>
                      </a:lnTo>
                      <a:lnTo>
                        <a:pt x="11186" y="14875"/>
                      </a:lnTo>
                      <a:lnTo>
                        <a:pt x="11186" y="14818"/>
                      </a:lnTo>
                      <a:lnTo>
                        <a:pt x="11186" y="14780"/>
                      </a:lnTo>
                      <a:lnTo>
                        <a:pt x="11223" y="14761"/>
                      </a:lnTo>
                      <a:lnTo>
                        <a:pt x="11278" y="14742"/>
                      </a:lnTo>
                      <a:lnTo>
                        <a:pt x="11278" y="14704"/>
                      </a:lnTo>
                      <a:lnTo>
                        <a:pt x="11278" y="14665"/>
                      </a:lnTo>
                      <a:lnTo>
                        <a:pt x="11259" y="14627"/>
                      </a:lnTo>
                      <a:lnTo>
                        <a:pt x="11278" y="14589"/>
                      </a:lnTo>
                      <a:lnTo>
                        <a:pt x="11315" y="14589"/>
                      </a:lnTo>
                      <a:lnTo>
                        <a:pt x="11333" y="14551"/>
                      </a:lnTo>
                      <a:lnTo>
                        <a:pt x="11333" y="14474"/>
                      </a:lnTo>
                      <a:lnTo>
                        <a:pt x="11333" y="14398"/>
                      </a:lnTo>
                      <a:lnTo>
                        <a:pt x="11315" y="14379"/>
                      </a:lnTo>
                      <a:lnTo>
                        <a:pt x="11278" y="14398"/>
                      </a:lnTo>
                      <a:lnTo>
                        <a:pt x="11223" y="14417"/>
                      </a:lnTo>
                      <a:lnTo>
                        <a:pt x="11204" y="14417"/>
                      </a:lnTo>
                      <a:lnTo>
                        <a:pt x="11168" y="14398"/>
                      </a:lnTo>
                      <a:lnTo>
                        <a:pt x="11131" y="14379"/>
                      </a:lnTo>
                      <a:lnTo>
                        <a:pt x="11076" y="14398"/>
                      </a:lnTo>
                      <a:lnTo>
                        <a:pt x="11021" y="14398"/>
                      </a:lnTo>
                      <a:lnTo>
                        <a:pt x="10984" y="14398"/>
                      </a:lnTo>
                      <a:lnTo>
                        <a:pt x="10929" y="14360"/>
                      </a:lnTo>
                      <a:lnTo>
                        <a:pt x="10947" y="14341"/>
                      </a:lnTo>
                      <a:lnTo>
                        <a:pt x="11002" y="14341"/>
                      </a:lnTo>
                      <a:lnTo>
                        <a:pt x="11021" y="14322"/>
                      </a:lnTo>
                      <a:lnTo>
                        <a:pt x="11002" y="14283"/>
                      </a:lnTo>
                      <a:lnTo>
                        <a:pt x="10966" y="14245"/>
                      </a:lnTo>
                      <a:lnTo>
                        <a:pt x="10966" y="14207"/>
                      </a:lnTo>
                      <a:lnTo>
                        <a:pt x="10929" y="14169"/>
                      </a:lnTo>
                      <a:lnTo>
                        <a:pt x="10929" y="14150"/>
                      </a:lnTo>
                      <a:lnTo>
                        <a:pt x="10874" y="14073"/>
                      </a:lnTo>
                      <a:lnTo>
                        <a:pt x="10892" y="14073"/>
                      </a:lnTo>
                      <a:lnTo>
                        <a:pt x="10910" y="14073"/>
                      </a:lnTo>
                      <a:lnTo>
                        <a:pt x="10984" y="14169"/>
                      </a:lnTo>
                      <a:lnTo>
                        <a:pt x="11021" y="14226"/>
                      </a:lnTo>
                      <a:lnTo>
                        <a:pt x="11057" y="14245"/>
                      </a:lnTo>
                      <a:lnTo>
                        <a:pt x="11076" y="14303"/>
                      </a:lnTo>
                      <a:lnTo>
                        <a:pt x="11112" y="14322"/>
                      </a:lnTo>
                      <a:lnTo>
                        <a:pt x="11131" y="14322"/>
                      </a:lnTo>
                      <a:lnTo>
                        <a:pt x="11112" y="14264"/>
                      </a:lnTo>
                      <a:lnTo>
                        <a:pt x="11131" y="14264"/>
                      </a:lnTo>
                      <a:lnTo>
                        <a:pt x="11186" y="14264"/>
                      </a:lnTo>
                      <a:lnTo>
                        <a:pt x="11204" y="14226"/>
                      </a:lnTo>
                      <a:lnTo>
                        <a:pt x="11241" y="14188"/>
                      </a:lnTo>
                      <a:lnTo>
                        <a:pt x="11223" y="14150"/>
                      </a:lnTo>
                      <a:lnTo>
                        <a:pt x="11241" y="14131"/>
                      </a:lnTo>
                      <a:lnTo>
                        <a:pt x="11278" y="14131"/>
                      </a:lnTo>
                      <a:lnTo>
                        <a:pt x="11259" y="14207"/>
                      </a:lnTo>
                      <a:lnTo>
                        <a:pt x="11259" y="14264"/>
                      </a:lnTo>
                      <a:lnTo>
                        <a:pt x="11223" y="14283"/>
                      </a:lnTo>
                      <a:lnTo>
                        <a:pt x="11186" y="14303"/>
                      </a:lnTo>
                      <a:lnTo>
                        <a:pt x="11204" y="14322"/>
                      </a:lnTo>
                      <a:lnTo>
                        <a:pt x="11259" y="14341"/>
                      </a:lnTo>
                      <a:lnTo>
                        <a:pt x="11296" y="14303"/>
                      </a:lnTo>
                      <a:lnTo>
                        <a:pt x="11333" y="14283"/>
                      </a:lnTo>
                      <a:lnTo>
                        <a:pt x="11388" y="14207"/>
                      </a:lnTo>
                      <a:lnTo>
                        <a:pt x="11406" y="14112"/>
                      </a:lnTo>
                      <a:lnTo>
                        <a:pt x="11443" y="14073"/>
                      </a:lnTo>
                      <a:lnTo>
                        <a:pt x="11498" y="13940"/>
                      </a:lnTo>
                      <a:lnTo>
                        <a:pt x="11517" y="13825"/>
                      </a:lnTo>
                      <a:lnTo>
                        <a:pt x="11553" y="13768"/>
                      </a:lnTo>
                      <a:lnTo>
                        <a:pt x="11553" y="13730"/>
                      </a:lnTo>
                      <a:lnTo>
                        <a:pt x="11535" y="13711"/>
                      </a:lnTo>
                      <a:lnTo>
                        <a:pt x="11517" y="13730"/>
                      </a:lnTo>
                      <a:lnTo>
                        <a:pt x="11461" y="13787"/>
                      </a:lnTo>
                      <a:lnTo>
                        <a:pt x="11443" y="13806"/>
                      </a:lnTo>
                      <a:lnTo>
                        <a:pt x="11425" y="13787"/>
                      </a:lnTo>
                      <a:lnTo>
                        <a:pt x="11443" y="13749"/>
                      </a:lnTo>
                      <a:lnTo>
                        <a:pt x="11461" y="13730"/>
                      </a:lnTo>
                      <a:lnTo>
                        <a:pt x="11461" y="13692"/>
                      </a:lnTo>
                      <a:lnTo>
                        <a:pt x="11443" y="13672"/>
                      </a:lnTo>
                      <a:lnTo>
                        <a:pt x="11406" y="13634"/>
                      </a:lnTo>
                      <a:lnTo>
                        <a:pt x="11406" y="13596"/>
                      </a:lnTo>
                      <a:lnTo>
                        <a:pt x="11406" y="13539"/>
                      </a:lnTo>
                      <a:lnTo>
                        <a:pt x="11425" y="13520"/>
                      </a:lnTo>
                      <a:lnTo>
                        <a:pt x="11406" y="13501"/>
                      </a:lnTo>
                      <a:lnTo>
                        <a:pt x="11370" y="13520"/>
                      </a:lnTo>
                      <a:lnTo>
                        <a:pt x="11333" y="13520"/>
                      </a:lnTo>
                      <a:lnTo>
                        <a:pt x="11278" y="13501"/>
                      </a:lnTo>
                      <a:lnTo>
                        <a:pt x="11241" y="13481"/>
                      </a:lnTo>
                      <a:lnTo>
                        <a:pt x="11204" y="13424"/>
                      </a:lnTo>
                      <a:lnTo>
                        <a:pt x="11241" y="13424"/>
                      </a:lnTo>
                      <a:lnTo>
                        <a:pt x="11278" y="13424"/>
                      </a:lnTo>
                      <a:lnTo>
                        <a:pt x="11315" y="13443"/>
                      </a:lnTo>
                      <a:lnTo>
                        <a:pt x="11406" y="13424"/>
                      </a:lnTo>
                      <a:lnTo>
                        <a:pt x="11443" y="13424"/>
                      </a:lnTo>
                      <a:lnTo>
                        <a:pt x="11480" y="13462"/>
                      </a:lnTo>
                      <a:lnTo>
                        <a:pt x="11535" y="13443"/>
                      </a:lnTo>
                      <a:lnTo>
                        <a:pt x="11553" y="13443"/>
                      </a:lnTo>
                      <a:lnTo>
                        <a:pt x="11590" y="13462"/>
                      </a:lnTo>
                      <a:lnTo>
                        <a:pt x="11627" y="13520"/>
                      </a:lnTo>
                      <a:lnTo>
                        <a:pt x="11645" y="13520"/>
                      </a:lnTo>
                      <a:lnTo>
                        <a:pt x="11700" y="13501"/>
                      </a:lnTo>
                      <a:lnTo>
                        <a:pt x="11774" y="13443"/>
                      </a:lnTo>
                      <a:lnTo>
                        <a:pt x="11627" y="13157"/>
                      </a:lnTo>
                      <a:lnTo>
                        <a:pt x="11608" y="13119"/>
                      </a:lnTo>
                      <a:lnTo>
                        <a:pt x="11627" y="13119"/>
                      </a:lnTo>
                      <a:lnTo>
                        <a:pt x="11682" y="13080"/>
                      </a:lnTo>
                      <a:lnTo>
                        <a:pt x="11700" y="13042"/>
                      </a:lnTo>
                      <a:lnTo>
                        <a:pt x="11700" y="13023"/>
                      </a:lnTo>
                      <a:lnTo>
                        <a:pt x="11682" y="12985"/>
                      </a:lnTo>
                      <a:lnTo>
                        <a:pt x="11700" y="12985"/>
                      </a:lnTo>
                      <a:lnTo>
                        <a:pt x="11737" y="13004"/>
                      </a:lnTo>
                      <a:lnTo>
                        <a:pt x="11755" y="13023"/>
                      </a:lnTo>
                      <a:lnTo>
                        <a:pt x="11792" y="13023"/>
                      </a:lnTo>
                      <a:lnTo>
                        <a:pt x="11810" y="12985"/>
                      </a:lnTo>
                      <a:lnTo>
                        <a:pt x="11866" y="12966"/>
                      </a:lnTo>
                      <a:lnTo>
                        <a:pt x="11810" y="12947"/>
                      </a:lnTo>
                      <a:lnTo>
                        <a:pt x="11792" y="12909"/>
                      </a:lnTo>
                      <a:lnTo>
                        <a:pt x="11792" y="12890"/>
                      </a:lnTo>
                      <a:lnTo>
                        <a:pt x="11810" y="12870"/>
                      </a:lnTo>
                      <a:lnTo>
                        <a:pt x="11939" y="12851"/>
                      </a:lnTo>
                      <a:lnTo>
                        <a:pt x="12215" y="12794"/>
                      </a:lnTo>
                      <a:lnTo>
                        <a:pt x="12215" y="12756"/>
                      </a:lnTo>
                      <a:lnTo>
                        <a:pt x="12178" y="12718"/>
                      </a:lnTo>
                      <a:lnTo>
                        <a:pt x="12141" y="12660"/>
                      </a:lnTo>
                      <a:lnTo>
                        <a:pt x="12141" y="12641"/>
                      </a:lnTo>
                      <a:lnTo>
                        <a:pt x="12141" y="12622"/>
                      </a:lnTo>
                      <a:lnTo>
                        <a:pt x="12178" y="12622"/>
                      </a:lnTo>
                      <a:lnTo>
                        <a:pt x="12196" y="12660"/>
                      </a:lnTo>
                      <a:lnTo>
                        <a:pt x="12233" y="12660"/>
                      </a:lnTo>
                      <a:lnTo>
                        <a:pt x="12233" y="12641"/>
                      </a:lnTo>
                      <a:lnTo>
                        <a:pt x="12215" y="12603"/>
                      </a:lnTo>
                      <a:lnTo>
                        <a:pt x="12178" y="12565"/>
                      </a:lnTo>
                      <a:lnTo>
                        <a:pt x="12178" y="12527"/>
                      </a:lnTo>
                      <a:lnTo>
                        <a:pt x="12196" y="12508"/>
                      </a:lnTo>
                      <a:lnTo>
                        <a:pt x="12215" y="12527"/>
                      </a:lnTo>
                      <a:lnTo>
                        <a:pt x="12233" y="12565"/>
                      </a:lnTo>
                      <a:lnTo>
                        <a:pt x="12251" y="12603"/>
                      </a:lnTo>
                      <a:lnTo>
                        <a:pt x="12306" y="12622"/>
                      </a:lnTo>
                      <a:lnTo>
                        <a:pt x="12325" y="12641"/>
                      </a:lnTo>
                      <a:lnTo>
                        <a:pt x="12325" y="12737"/>
                      </a:lnTo>
                      <a:lnTo>
                        <a:pt x="12361" y="12756"/>
                      </a:lnTo>
                      <a:lnTo>
                        <a:pt x="12417" y="12756"/>
                      </a:lnTo>
                      <a:lnTo>
                        <a:pt x="12453" y="12737"/>
                      </a:lnTo>
                      <a:lnTo>
                        <a:pt x="12564" y="12660"/>
                      </a:lnTo>
                      <a:lnTo>
                        <a:pt x="12600" y="12622"/>
                      </a:lnTo>
                      <a:lnTo>
                        <a:pt x="12619" y="12641"/>
                      </a:lnTo>
                      <a:lnTo>
                        <a:pt x="12655" y="12603"/>
                      </a:lnTo>
                      <a:lnTo>
                        <a:pt x="12692" y="12584"/>
                      </a:lnTo>
                      <a:lnTo>
                        <a:pt x="12655" y="12508"/>
                      </a:lnTo>
                      <a:lnTo>
                        <a:pt x="12600" y="12508"/>
                      </a:lnTo>
                      <a:lnTo>
                        <a:pt x="12545" y="12527"/>
                      </a:lnTo>
                      <a:lnTo>
                        <a:pt x="12508" y="12527"/>
                      </a:lnTo>
                      <a:lnTo>
                        <a:pt x="12508" y="12508"/>
                      </a:lnTo>
                      <a:lnTo>
                        <a:pt x="12545" y="12469"/>
                      </a:lnTo>
                      <a:lnTo>
                        <a:pt x="12600" y="12450"/>
                      </a:lnTo>
                      <a:lnTo>
                        <a:pt x="12582" y="12412"/>
                      </a:lnTo>
                      <a:lnTo>
                        <a:pt x="12508" y="12374"/>
                      </a:lnTo>
                      <a:lnTo>
                        <a:pt x="12490" y="12374"/>
                      </a:lnTo>
                      <a:lnTo>
                        <a:pt x="12435" y="12393"/>
                      </a:lnTo>
                      <a:lnTo>
                        <a:pt x="12417" y="12393"/>
                      </a:lnTo>
                      <a:lnTo>
                        <a:pt x="12398" y="12355"/>
                      </a:lnTo>
                      <a:lnTo>
                        <a:pt x="12435" y="12317"/>
                      </a:lnTo>
                      <a:lnTo>
                        <a:pt x="12417" y="12240"/>
                      </a:lnTo>
                      <a:lnTo>
                        <a:pt x="12398" y="12183"/>
                      </a:lnTo>
                      <a:lnTo>
                        <a:pt x="12417" y="12183"/>
                      </a:lnTo>
                      <a:lnTo>
                        <a:pt x="12472" y="12183"/>
                      </a:lnTo>
                      <a:lnTo>
                        <a:pt x="12490" y="12202"/>
                      </a:lnTo>
                      <a:lnTo>
                        <a:pt x="12508" y="12259"/>
                      </a:lnTo>
                      <a:lnTo>
                        <a:pt x="12564" y="12240"/>
                      </a:lnTo>
                      <a:lnTo>
                        <a:pt x="12582" y="12298"/>
                      </a:lnTo>
                      <a:lnTo>
                        <a:pt x="12600" y="12336"/>
                      </a:lnTo>
                      <a:lnTo>
                        <a:pt x="12637" y="12336"/>
                      </a:lnTo>
                      <a:lnTo>
                        <a:pt x="12655" y="12259"/>
                      </a:lnTo>
                      <a:lnTo>
                        <a:pt x="12674" y="12336"/>
                      </a:lnTo>
                      <a:lnTo>
                        <a:pt x="12637" y="12374"/>
                      </a:lnTo>
                      <a:lnTo>
                        <a:pt x="12600" y="12374"/>
                      </a:lnTo>
                      <a:lnTo>
                        <a:pt x="12637" y="12393"/>
                      </a:lnTo>
                      <a:lnTo>
                        <a:pt x="12674" y="12355"/>
                      </a:lnTo>
                      <a:lnTo>
                        <a:pt x="12747" y="12336"/>
                      </a:lnTo>
                      <a:lnTo>
                        <a:pt x="12692" y="12221"/>
                      </a:lnTo>
                      <a:lnTo>
                        <a:pt x="12692" y="12183"/>
                      </a:lnTo>
                      <a:lnTo>
                        <a:pt x="12729" y="12164"/>
                      </a:lnTo>
                      <a:lnTo>
                        <a:pt x="12747" y="12202"/>
                      </a:lnTo>
                      <a:lnTo>
                        <a:pt x="12766" y="12259"/>
                      </a:lnTo>
                      <a:lnTo>
                        <a:pt x="12802" y="12298"/>
                      </a:lnTo>
                      <a:lnTo>
                        <a:pt x="12857" y="12259"/>
                      </a:lnTo>
                      <a:lnTo>
                        <a:pt x="12876" y="12202"/>
                      </a:lnTo>
                      <a:lnTo>
                        <a:pt x="12894" y="12164"/>
                      </a:lnTo>
                      <a:lnTo>
                        <a:pt x="12913" y="12183"/>
                      </a:lnTo>
                      <a:lnTo>
                        <a:pt x="12913" y="12221"/>
                      </a:lnTo>
                      <a:lnTo>
                        <a:pt x="12949" y="12183"/>
                      </a:lnTo>
                      <a:lnTo>
                        <a:pt x="12968" y="12126"/>
                      </a:lnTo>
                      <a:lnTo>
                        <a:pt x="12986" y="12126"/>
                      </a:lnTo>
                      <a:lnTo>
                        <a:pt x="12986" y="12164"/>
                      </a:lnTo>
                      <a:lnTo>
                        <a:pt x="12949" y="12278"/>
                      </a:lnTo>
                      <a:lnTo>
                        <a:pt x="12949" y="12298"/>
                      </a:lnTo>
                      <a:lnTo>
                        <a:pt x="13004" y="12298"/>
                      </a:lnTo>
                      <a:lnTo>
                        <a:pt x="13023" y="12317"/>
                      </a:lnTo>
                      <a:lnTo>
                        <a:pt x="13004" y="12336"/>
                      </a:lnTo>
                      <a:lnTo>
                        <a:pt x="12931" y="12317"/>
                      </a:lnTo>
                      <a:lnTo>
                        <a:pt x="12931" y="12355"/>
                      </a:lnTo>
                      <a:lnTo>
                        <a:pt x="12968" y="12393"/>
                      </a:lnTo>
                      <a:lnTo>
                        <a:pt x="13023" y="12355"/>
                      </a:lnTo>
                      <a:lnTo>
                        <a:pt x="13096" y="12317"/>
                      </a:lnTo>
                      <a:lnTo>
                        <a:pt x="13280" y="12202"/>
                      </a:lnTo>
                      <a:lnTo>
                        <a:pt x="13372" y="12164"/>
                      </a:lnTo>
                      <a:lnTo>
                        <a:pt x="13445" y="12145"/>
                      </a:lnTo>
                      <a:lnTo>
                        <a:pt x="13500" y="12087"/>
                      </a:lnTo>
                      <a:lnTo>
                        <a:pt x="13555" y="12087"/>
                      </a:lnTo>
                      <a:lnTo>
                        <a:pt x="13574" y="12087"/>
                      </a:lnTo>
                      <a:lnTo>
                        <a:pt x="13574" y="12126"/>
                      </a:lnTo>
                      <a:lnTo>
                        <a:pt x="13555" y="12145"/>
                      </a:lnTo>
                      <a:lnTo>
                        <a:pt x="13390" y="12240"/>
                      </a:lnTo>
                      <a:lnTo>
                        <a:pt x="13280" y="12278"/>
                      </a:lnTo>
                      <a:lnTo>
                        <a:pt x="13243" y="12317"/>
                      </a:lnTo>
                      <a:lnTo>
                        <a:pt x="13188" y="12355"/>
                      </a:lnTo>
                      <a:lnTo>
                        <a:pt x="13115" y="12393"/>
                      </a:lnTo>
                      <a:lnTo>
                        <a:pt x="12949" y="12489"/>
                      </a:lnTo>
                      <a:lnTo>
                        <a:pt x="12857" y="12546"/>
                      </a:lnTo>
                      <a:lnTo>
                        <a:pt x="12802" y="12565"/>
                      </a:lnTo>
                      <a:lnTo>
                        <a:pt x="12766" y="12622"/>
                      </a:lnTo>
                      <a:lnTo>
                        <a:pt x="12766" y="12641"/>
                      </a:lnTo>
                      <a:lnTo>
                        <a:pt x="12784" y="12660"/>
                      </a:lnTo>
                      <a:lnTo>
                        <a:pt x="12821" y="12622"/>
                      </a:lnTo>
                      <a:lnTo>
                        <a:pt x="12894" y="12565"/>
                      </a:lnTo>
                      <a:lnTo>
                        <a:pt x="13096" y="12431"/>
                      </a:lnTo>
                      <a:lnTo>
                        <a:pt x="13261" y="12355"/>
                      </a:lnTo>
                      <a:lnTo>
                        <a:pt x="13427" y="12278"/>
                      </a:lnTo>
                      <a:lnTo>
                        <a:pt x="13592" y="12183"/>
                      </a:lnTo>
                      <a:lnTo>
                        <a:pt x="13721" y="12087"/>
                      </a:lnTo>
                      <a:lnTo>
                        <a:pt x="13849" y="12011"/>
                      </a:lnTo>
                      <a:lnTo>
                        <a:pt x="14033" y="11877"/>
                      </a:lnTo>
                      <a:lnTo>
                        <a:pt x="14106" y="11839"/>
                      </a:lnTo>
                      <a:lnTo>
                        <a:pt x="14180" y="11782"/>
                      </a:lnTo>
                      <a:lnTo>
                        <a:pt x="14308" y="11706"/>
                      </a:lnTo>
                      <a:lnTo>
                        <a:pt x="14345" y="11610"/>
                      </a:lnTo>
                      <a:lnTo>
                        <a:pt x="14345" y="11591"/>
                      </a:lnTo>
                      <a:lnTo>
                        <a:pt x="14290" y="11610"/>
                      </a:lnTo>
                      <a:lnTo>
                        <a:pt x="14253" y="11610"/>
                      </a:lnTo>
                      <a:lnTo>
                        <a:pt x="14253" y="11572"/>
                      </a:lnTo>
                      <a:lnTo>
                        <a:pt x="14290" y="11534"/>
                      </a:lnTo>
                      <a:lnTo>
                        <a:pt x="14327" y="11515"/>
                      </a:lnTo>
                      <a:lnTo>
                        <a:pt x="14327" y="11457"/>
                      </a:lnTo>
                      <a:lnTo>
                        <a:pt x="14327" y="11419"/>
                      </a:lnTo>
                      <a:lnTo>
                        <a:pt x="14345" y="11400"/>
                      </a:lnTo>
                      <a:lnTo>
                        <a:pt x="14382" y="11438"/>
                      </a:lnTo>
                      <a:lnTo>
                        <a:pt x="14400" y="11438"/>
                      </a:lnTo>
                      <a:lnTo>
                        <a:pt x="14455" y="11419"/>
                      </a:lnTo>
                      <a:lnTo>
                        <a:pt x="14492" y="11362"/>
                      </a:lnTo>
                      <a:lnTo>
                        <a:pt x="14584" y="11247"/>
                      </a:lnTo>
                      <a:lnTo>
                        <a:pt x="14621" y="11247"/>
                      </a:lnTo>
                      <a:lnTo>
                        <a:pt x="14657" y="11266"/>
                      </a:lnTo>
                      <a:lnTo>
                        <a:pt x="14676" y="11228"/>
                      </a:lnTo>
                      <a:lnTo>
                        <a:pt x="14676" y="11171"/>
                      </a:lnTo>
                      <a:lnTo>
                        <a:pt x="14676" y="11114"/>
                      </a:lnTo>
                      <a:lnTo>
                        <a:pt x="14657" y="11056"/>
                      </a:lnTo>
                      <a:lnTo>
                        <a:pt x="14602" y="11037"/>
                      </a:lnTo>
                      <a:lnTo>
                        <a:pt x="14602" y="11018"/>
                      </a:lnTo>
                      <a:lnTo>
                        <a:pt x="14639" y="10999"/>
                      </a:lnTo>
                      <a:lnTo>
                        <a:pt x="14639" y="10961"/>
                      </a:lnTo>
                      <a:lnTo>
                        <a:pt x="14584" y="10942"/>
                      </a:lnTo>
                      <a:lnTo>
                        <a:pt x="14547" y="10923"/>
                      </a:lnTo>
                      <a:lnTo>
                        <a:pt x="14529" y="10904"/>
                      </a:lnTo>
                      <a:lnTo>
                        <a:pt x="14529" y="10884"/>
                      </a:lnTo>
                      <a:lnTo>
                        <a:pt x="14547" y="10846"/>
                      </a:lnTo>
                      <a:lnTo>
                        <a:pt x="14566" y="10808"/>
                      </a:lnTo>
                      <a:lnTo>
                        <a:pt x="14547" y="10770"/>
                      </a:lnTo>
                      <a:lnTo>
                        <a:pt x="14529" y="10751"/>
                      </a:lnTo>
                      <a:lnTo>
                        <a:pt x="14529" y="10713"/>
                      </a:lnTo>
                      <a:lnTo>
                        <a:pt x="14529" y="10674"/>
                      </a:lnTo>
                      <a:lnTo>
                        <a:pt x="14510" y="10655"/>
                      </a:lnTo>
                      <a:lnTo>
                        <a:pt x="14510" y="10636"/>
                      </a:lnTo>
                      <a:lnTo>
                        <a:pt x="14547" y="10617"/>
                      </a:lnTo>
                      <a:lnTo>
                        <a:pt x="14529" y="10636"/>
                      </a:lnTo>
                      <a:lnTo>
                        <a:pt x="14566" y="10636"/>
                      </a:lnTo>
                      <a:lnTo>
                        <a:pt x="14584" y="10674"/>
                      </a:lnTo>
                      <a:lnTo>
                        <a:pt x="14657" y="10713"/>
                      </a:lnTo>
                      <a:lnTo>
                        <a:pt x="14694" y="10655"/>
                      </a:lnTo>
                      <a:lnTo>
                        <a:pt x="14749" y="10579"/>
                      </a:lnTo>
                      <a:lnTo>
                        <a:pt x="14823" y="10541"/>
                      </a:lnTo>
                      <a:lnTo>
                        <a:pt x="14878" y="10522"/>
                      </a:lnTo>
                      <a:lnTo>
                        <a:pt x="14915" y="10464"/>
                      </a:lnTo>
                      <a:lnTo>
                        <a:pt x="14933" y="10483"/>
                      </a:lnTo>
                      <a:lnTo>
                        <a:pt x="14951" y="10503"/>
                      </a:lnTo>
                      <a:lnTo>
                        <a:pt x="14933" y="10579"/>
                      </a:lnTo>
                      <a:lnTo>
                        <a:pt x="14896" y="10732"/>
                      </a:lnTo>
                      <a:lnTo>
                        <a:pt x="14859" y="10808"/>
                      </a:lnTo>
                      <a:lnTo>
                        <a:pt x="14823" y="10865"/>
                      </a:lnTo>
                      <a:lnTo>
                        <a:pt x="14823" y="10904"/>
                      </a:lnTo>
                      <a:lnTo>
                        <a:pt x="14841" y="10923"/>
                      </a:lnTo>
                      <a:lnTo>
                        <a:pt x="14878" y="10923"/>
                      </a:lnTo>
                      <a:lnTo>
                        <a:pt x="14951" y="10884"/>
                      </a:lnTo>
                      <a:lnTo>
                        <a:pt x="15062" y="10865"/>
                      </a:lnTo>
                      <a:lnTo>
                        <a:pt x="15117" y="10846"/>
                      </a:lnTo>
                      <a:lnTo>
                        <a:pt x="15153" y="10846"/>
                      </a:lnTo>
                      <a:lnTo>
                        <a:pt x="15153" y="10904"/>
                      </a:lnTo>
                      <a:lnTo>
                        <a:pt x="15135" y="10904"/>
                      </a:lnTo>
                      <a:lnTo>
                        <a:pt x="15080" y="10904"/>
                      </a:lnTo>
                      <a:lnTo>
                        <a:pt x="15062" y="10923"/>
                      </a:lnTo>
                      <a:lnTo>
                        <a:pt x="15025" y="10961"/>
                      </a:lnTo>
                      <a:lnTo>
                        <a:pt x="15006" y="10980"/>
                      </a:lnTo>
                      <a:lnTo>
                        <a:pt x="14970" y="10980"/>
                      </a:lnTo>
                      <a:lnTo>
                        <a:pt x="14915" y="11037"/>
                      </a:lnTo>
                      <a:lnTo>
                        <a:pt x="14859" y="11075"/>
                      </a:lnTo>
                      <a:lnTo>
                        <a:pt x="14841" y="11114"/>
                      </a:lnTo>
                      <a:lnTo>
                        <a:pt x="14841" y="11133"/>
                      </a:lnTo>
                      <a:lnTo>
                        <a:pt x="14859" y="11152"/>
                      </a:lnTo>
                      <a:lnTo>
                        <a:pt x="14878" y="11133"/>
                      </a:lnTo>
                      <a:lnTo>
                        <a:pt x="14915" y="11114"/>
                      </a:lnTo>
                      <a:lnTo>
                        <a:pt x="14970" y="11056"/>
                      </a:lnTo>
                      <a:lnTo>
                        <a:pt x="15043" y="10999"/>
                      </a:lnTo>
                      <a:lnTo>
                        <a:pt x="15153" y="10942"/>
                      </a:lnTo>
                      <a:lnTo>
                        <a:pt x="15227" y="10904"/>
                      </a:lnTo>
                      <a:lnTo>
                        <a:pt x="15282" y="10884"/>
                      </a:lnTo>
                      <a:lnTo>
                        <a:pt x="15355" y="10865"/>
                      </a:lnTo>
                      <a:lnTo>
                        <a:pt x="15374" y="10846"/>
                      </a:lnTo>
                      <a:close/>
                    </a:path>
                  </a:pathLst>
                </a:custGeom>
                <a:solidFill>
                  <a:srgbClr val="FFFF00"/>
                </a:solidFill>
                <a:ln w="9525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defTabSz="121917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62" name="Utah">
                  <a:extLst>
                    <a:ext uri="{FF2B5EF4-FFF2-40B4-BE49-F238E27FC236}">
                      <a16:creationId xmlns:a16="http://schemas.microsoft.com/office/drawing/2014/main" id="{B01AA4BD-7A8A-6CB2-4A8F-F83C16F4E77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219700" y="5857875"/>
                  <a:ext cx="3343275" cy="4010025"/>
                </a:xfrm>
                <a:custGeom>
                  <a:avLst/>
                  <a:gdLst>
                    <a:gd name="T0" fmla="*/ 2147483647 w 16384"/>
                    <a:gd name="T1" fmla="*/ 2147483647 h 16384"/>
                    <a:gd name="T2" fmla="*/ 2147483647 w 16384"/>
                    <a:gd name="T3" fmla="*/ 2147483647 h 16384"/>
                    <a:gd name="T4" fmla="*/ 2147483647 w 16384"/>
                    <a:gd name="T5" fmla="*/ 2147483647 h 16384"/>
                    <a:gd name="T6" fmla="*/ 2147483647 w 16384"/>
                    <a:gd name="T7" fmla="*/ 2147483647 h 16384"/>
                    <a:gd name="T8" fmla="*/ 2147483647 w 16384"/>
                    <a:gd name="T9" fmla="*/ 2147483647 h 16384"/>
                    <a:gd name="T10" fmla="*/ 0 w 16384"/>
                    <a:gd name="T11" fmla="*/ 2147483647 h 16384"/>
                    <a:gd name="T12" fmla="*/ 2147483647 w 16384"/>
                    <a:gd name="T13" fmla="*/ 2147483647 h 16384"/>
                    <a:gd name="T14" fmla="*/ 2147483647 w 16384"/>
                    <a:gd name="T15" fmla="*/ 2147483647 h 16384"/>
                    <a:gd name="T16" fmla="*/ 2147483647 w 16384"/>
                    <a:gd name="T17" fmla="*/ 2147483647 h 16384"/>
                    <a:gd name="T18" fmla="*/ 2147483647 w 16384"/>
                    <a:gd name="T19" fmla="*/ 2147483647 h 16384"/>
                    <a:gd name="T20" fmla="*/ 2147483647 w 16384"/>
                    <a:gd name="T21" fmla="*/ 2147483647 h 16384"/>
                    <a:gd name="T22" fmla="*/ 2147483647 w 16384"/>
                    <a:gd name="T23" fmla="*/ 2147483647 h 16384"/>
                    <a:gd name="T24" fmla="*/ 2147483647 w 16384"/>
                    <a:gd name="T25" fmla="*/ 2147483647 h 16384"/>
                    <a:gd name="T26" fmla="*/ 2147483647 w 16384"/>
                    <a:gd name="T27" fmla="*/ 2147483647 h 16384"/>
                    <a:gd name="T28" fmla="*/ 2147483647 w 16384"/>
                    <a:gd name="T29" fmla="*/ 2147483647 h 16384"/>
                    <a:gd name="T30" fmla="*/ 2147483647 w 16384"/>
                    <a:gd name="T31" fmla="*/ 2147483647 h 16384"/>
                    <a:gd name="T32" fmla="*/ 2147483647 w 16384"/>
                    <a:gd name="T33" fmla="*/ 2147483647 h 16384"/>
                    <a:gd name="T34" fmla="*/ 2147483647 w 16384"/>
                    <a:gd name="T35" fmla="*/ 2147483647 h 16384"/>
                    <a:gd name="T36" fmla="*/ 2147483647 w 16384"/>
                    <a:gd name="T37" fmla="*/ 2147483647 h 16384"/>
                    <a:gd name="T38" fmla="*/ 2147483647 w 16384"/>
                    <a:gd name="T39" fmla="*/ 2147483647 h 16384"/>
                    <a:gd name="T40" fmla="*/ 2147483647 w 16384"/>
                    <a:gd name="T41" fmla="*/ 2147483647 h 16384"/>
                    <a:gd name="T42" fmla="*/ 2147483647 w 16384"/>
                    <a:gd name="T43" fmla="*/ 2147483647 h 16384"/>
                    <a:gd name="T44" fmla="*/ 2147483647 w 16384"/>
                    <a:gd name="T45" fmla="*/ 2147483647 h 16384"/>
                    <a:gd name="T46" fmla="*/ 2147483647 w 16384"/>
                    <a:gd name="T47" fmla="*/ 2147483647 h 16384"/>
                    <a:gd name="T48" fmla="*/ 2147483647 w 16384"/>
                    <a:gd name="T49" fmla="*/ 2147483647 h 16384"/>
                    <a:gd name="T50" fmla="*/ 2147483647 w 16384"/>
                    <a:gd name="T51" fmla="*/ 2147483647 h 16384"/>
                    <a:gd name="T52" fmla="*/ 2147483647 w 16384"/>
                    <a:gd name="T53" fmla="*/ 2147483647 h 16384"/>
                    <a:gd name="T54" fmla="*/ 2147483647 w 16384"/>
                    <a:gd name="T55" fmla="*/ 2147483647 h 16384"/>
                    <a:gd name="T56" fmla="*/ 2147483647 w 16384"/>
                    <a:gd name="T57" fmla="*/ 2147483647 h 16384"/>
                    <a:gd name="T58" fmla="*/ 2147483647 w 16384"/>
                    <a:gd name="T59" fmla="*/ 2147483647 h 16384"/>
                    <a:gd name="T60" fmla="*/ 2147483647 w 16384"/>
                    <a:gd name="T61" fmla="*/ 2147483647 h 16384"/>
                    <a:gd name="T62" fmla="*/ 2147483647 w 16384"/>
                    <a:gd name="T63" fmla="*/ 2147483647 h 16384"/>
                    <a:gd name="T64" fmla="*/ 2147483647 w 16384"/>
                    <a:gd name="T65" fmla="*/ 2147483647 h 16384"/>
                    <a:gd name="T66" fmla="*/ 2147483647 w 16384"/>
                    <a:gd name="T67" fmla="*/ 2147483647 h 16384"/>
                    <a:gd name="T68" fmla="*/ 2147483647 w 16384"/>
                    <a:gd name="T69" fmla="*/ 2147483647 h 16384"/>
                    <a:gd name="T70" fmla="*/ 2147483647 w 16384"/>
                    <a:gd name="T71" fmla="*/ 2147483647 h 16384"/>
                    <a:gd name="T72" fmla="*/ 2147483647 w 16384"/>
                    <a:gd name="T73" fmla="*/ 2147483647 h 16384"/>
                    <a:gd name="T74" fmla="*/ 2147483647 w 16384"/>
                    <a:gd name="T75" fmla="*/ 2147483647 h 16384"/>
                    <a:gd name="T76" fmla="*/ 2147483647 w 16384"/>
                    <a:gd name="T77" fmla="*/ 2147483647 h 16384"/>
                    <a:gd name="T78" fmla="*/ 2147483647 w 16384"/>
                    <a:gd name="T79" fmla="*/ 2147483647 h 16384"/>
                    <a:gd name="T80" fmla="*/ 2147483647 w 16384"/>
                    <a:gd name="T81" fmla="*/ 2147483647 h 16384"/>
                    <a:gd name="T82" fmla="*/ 2147483647 w 16384"/>
                    <a:gd name="T83" fmla="*/ 2147483647 h 16384"/>
                    <a:gd name="T84" fmla="*/ 2147483647 w 16384"/>
                    <a:gd name="T85" fmla="*/ 2147483647 h 16384"/>
                    <a:gd name="T86" fmla="*/ 2147483647 w 16384"/>
                    <a:gd name="T87" fmla="*/ 2147483647 h 16384"/>
                    <a:gd name="T88" fmla="*/ 2147483647 w 16384"/>
                    <a:gd name="T89" fmla="*/ 2147483647 h 16384"/>
                    <a:gd name="T90" fmla="*/ 2147483647 w 16384"/>
                    <a:gd name="T91" fmla="*/ 2147483647 h 16384"/>
                    <a:gd name="T92" fmla="*/ 2147483647 w 16384"/>
                    <a:gd name="T93" fmla="*/ 2147483647 h 16384"/>
                    <a:gd name="T94" fmla="*/ 2147483647 w 16384"/>
                    <a:gd name="T95" fmla="*/ 2147483647 h 16384"/>
                    <a:gd name="T96" fmla="*/ 2147483647 w 16384"/>
                    <a:gd name="T97" fmla="*/ 2147483647 h 16384"/>
                    <a:gd name="T98" fmla="*/ 2147483647 w 16384"/>
                    <a:gd name="T99" fmla="*/ 2147483647 h 16384"/>
                    <a:gd name="T100" fmla="*/ 2147483647 w 16384"/>
                    <a:gd name="T101" fmla="*/ 2147483647 h 16384"/>
                    <a:gd name="T102" fmla="*/ 2147483647 w 16384"/>
                    <a:gd name="T103" fmla="*/ 2147483647 h 16384"/>
                    <a:gd name="T104" fmla="*/ 2147483647 w 16384"/>
                    <a:gd name="T105" fmla="*/ 2147483647 h 16384"/>
                    <a:gd name="T106" fmla="*/ 2147483647 w 16384"/>
                    <a:gd name="T107" fmla="*/ 2147483647 h 16384"/>
                    <a:gd name="T108" fmla="*/ 2147483647 w 16384"/>
                    <a:gd name="T109" fmla="*/ 0 h 16384"/>
                    <a:gd name="T110" fmla="*/ 2147483647 w 16384"/>
                    <a:gd name="T111" fmla="*/ 2147483647 h 16384"/>
                    <a:gd name="T112" fmla="*/ 2147483647 w 16384"/>
                    <a:gd name="T113" fmla="*/ 2147483647 h 16384"/>
                    <a:gd name="T114" fmla="*/ 2147483647 w 16384"/>
                    <a:gd name="T115" fmla="*/ 2147483647 h 16384"/>
                    <a:gd name="T116" fmla="*/ 2147483647 w 16384"/>
                    <a:gd name="T117" fmla="*/ 2147483647 h 16384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w 16384"/>
                    <a:gd name="T178" fmla="*/ 0 h 16384"/>
                    <a:gd name="T179" fmla="*/ 16384 w 16384"/>
                    <a:gd name="T180" fmla="*/ 16384 h 16384"/>
                  </a:gdLst>
                  <a:ahLst/>
                  <a:cxnLst>
                    <a:cxn ang="T118">
                      <a:pos x="T0" y="T1"/>
                    </a:cxn>
                    <a:cxn ang="T119">
                      <a:pos x="T2" y="T3"/>
                    </a:cxn>
                    <a:cxn ang="T120">
                      <a:pos x="T4" y="T5"/>
                    </a:cxn>
                    <a:cxn ang="T121">
                      <a:pos x="T6" y="T7"/>
                    </a:cxn>
                    <a:cxn ang="T122">
                      <a:pos x="T8" y="T9"/>
                    </a:cxn>
                    <a:cxn ang="T123">
                      <a:pos x="T10" y="T11"/>
                    </a:cxn>
                    <a:cxn ang="T124">
                      <a:pos x="T12" y="T13"/>
                    </a:cxn>
                    <a:cxn ang="T125">
                      <a:pos x="T14" y="T15"/>
                    </a:cxn>
                    <a:cxn ang="T126">
                      <a:pos x="T16" y="T17"/>
                    </a:cxn>
                    <a:cxn ang="T127">
                      <a:pos x="T18" y="T19"/>
                    </a:cxn>
                    <a:cxn ang="T128">
                      <a:pos x="T20" y="T21"/>
                    </a:cxn>
                    <a:cxn ang="T129">
                      <a:pos x="T22" y="T23"/>
                    </a:cxn>
                    <a:cxn ang="T130">
                      <a:pos x="T24" y="T25"/>
                    </a:cxn>
                    <a:cxn ang="T131">
                      <a:pos x="T26" y="T27"/>
                    </a:cxn>
                    <a:cxn ang="T132">
                      <a:pos x="T28" y="T29"/>
                    </a:cxn>
                    <a:cxn ang="T133">
                      <a:pos x="T30" y="T31"/>
                    </a:cxn>
                    <a:cxn ang="T134">
                      <a:pos x="T32" y="T33"/>
                    </a:cxn>
                    <a:cxn ang="T135">
                      <a:pos x="T34" y="T35"/>
                    </a:cxn>
                    <a:cxn ang="T136">
                      <a:pos x="T36" y="T37"/>
                    </a:cxn>
                    <a:cxn ang="T137">
                      <a:pos x="T38" y="T39"/>
                    </a:cxn>
                    <a:cxn ang="T138">
                      <a:pos x="T40" y="T41"/>
                    </a:cxn>
                    <a:cxn ang="T139">
                      <a:pos x="T42" y="T43"/>
                    </a:cxn>
                    <a:cxn ang="T140">
                      <a:pos x="T44" y="T45"/>
                    </a:cxn>
                    <a:cxn ang="T141">
                      <a:pos x="T46" y="T47"/>
                    </a:cxn>
                    <a:cxn ang="T142">
                      <a:pos x="T48" y="T49"/>
                    </a:cxn>
                    <a:cxn ang="T143">
                      <a:pos x="T50" y="T51"/>
                    </a:cxn>
                    <a:cxn ang="T144">
                      <a:pos x="T52" y="T53"/>
                    </a:cxn>
                    <a:cxn ang="T145">
                      <a:pos x="T54" y="T55"/>
                    </a:cxn>
                    <a:cxn ang="T146">
                      <a:pos x="T56" y="T57"/>
                    </a:cxn>
                    <a:cxn ang="T147">
                      <a:pos x="T58" y="T59"/>
                    </a:cxn>
                    <a:cxn ang="T148">
                      <a:pos x="T60" y="T61"/>
                    </a:cxn>
                    <a:cxn ang="T149">
                      <a:pos x="T62" y="T63"/>
                    </a:cxn>
                    <a:cxn ang="T150">
                      <a:pos x="T64" y="T65"/>
                    </a:cxn>
                    <a:cxn ang="T151">
                      <a:pos x="T66" y="T67"/>
                    </a:cxn>
                    <a:cxn ang="T152">
                      <a:pos x="T68" y="T69"/>
                    </a:cxn>
                    <a:cxn ang="T153">
                      <a:pos x="T70" y="T71"/>
                    </a:cxn>
                    <a:cxn ang="T154">
                      <a:pos x="T72" y="T73"/>
                    </a:cxn>
                    <a:cxn ang="T155">
                      <a:pos x="T74" y="T75"/>
                    </a:cxn>
                    <a:cxn ang="T156">
                      <a:pos x="T76" y="T77"/>
                    </a:cxn>
                    <a:cxn ang="T157">
                      <a:pos x="T78" y="T79"/>
                    </a:cxn>
                    <a:cxn ang="T158">
                      <a:pos x="T80" y="T81"/>
                    </a:cxn>
                    <a:cxn ang="T159">
                      <a:pos x="T82" y="T83"/>
                    </a:cxn>
                    <a:cxn ang="T160">
                      <a:pos x="T84" y="T85"/>
                    </a:cxn>
                    <a:cxn ang="T161">
                      <a:pos x="T86" y="T87"/>
                    </a:cxn>
                    <a:cxn ang="T162">
                      <a:pos x="T88" y="T89"/>
                    </a:cxn>
                    <a:cxn ang="T163">
                      <a:pos x="T90" y="T91"/>
                    </a:cxn>
                    <a:cxn ang="T164">
                      <a:pos x="T92" y="T93"/>
                    </a:cxn>
                    <a:cxn ang="T165">
                      <a:pos x="T94" y="T95"/>
                    </a:cxn>
                    <a:cxn ang="T166">
                      <a:pos x="T96" y="T97"/>
                    </a:cxn>
                    <a:cxn ang="T167">
                      <a:pos x="T98" y="T99"/>
                    </a:cxn>
                    <a:cxn ang="T168">
                      <a:pos x="T100" y="T101"/>
                    </a:cxn>
                    <a:cxn ang="T169">
                      <a:pos x="T102" y="T103"/>
                    </a:cxn>
                    <a:cxn ang="T170">
                      <a:pos x="T104" y="T105"/>
                    </a:cxn>
                    <a:cxn ang="T171">
                      <a:pos x="T106" y="T107"/>
                    </a:cxn>
                    <a:cxn ang="T172">
                      <a:pos x="T108" y="T109"/>
                    </a:cxn>
                    <a:cxn ang="T173">
                      <a:pos x="T110" y="T111"/>
                    </a:cxn>
                    <a:cxn ang="T174">
                      <a:pos x="T112" y="T113"/>
                    </a:cxn>
                    <a:cxn ang="T175">
                      <a:pos x="T114" y="T115"/>
                    </a:cxn>
                    <a:cxn ang="T176">
                      <a:pos x="T116" y="T117"/>
                    </a:cxn>
                  </a:cxnLst>
                  <a:rect l="T177" t="T178" r="T179" b="T180"/>
                  <a:pathLst>
                    <a:path w="16384" h="16384">
                      <a:moveTo>
                        <a:pt x="1785" y="7147"/>
                      </a:moveTo>
                      <a:lnTo>
                        <a:pt x="1144" y="9640"/>
                      </a:lnTo>
                      <a:lnTo>
                        <a:pt x="1098" y="9896"/>
                      </a:lnTo>
                      <a:lnTo>
                        <a:pt x="778" y="11143"/>
                      </a:lnTo>
                      <a:lnTo>
                        <a:pt x="412" y="12719"/>
                      </a:lnTo>
                      <a:lnTo>
                        <a:pt x="0" y="14478"/>
                      </a:lnTo>
                      <a:lnTo>
                        <a:pt x="595" y="14551"/>
                      </a:lnTo>
                      <a:lnTo>
                        <a:pt x="1419" y="14698"/>
                      </a:lnTo>
                      <a:lnTo>
                        <a:pt x="2151" y="14808"/>
                      </a:lnTo>
                      <a:lnTo>
                        <a:pt x="2975" y="14918"/>
                      </a:lnTo>
                      <a:lnTo>
                        <a:pt x="3249" y="14955"/>
                      </a:lnTo>
                      <a:lnTo>
                        <a:pt x="3753" y="15028"/>
                      </a:lnTo>
                      <a:lnTo>
                        <a:pt x="4302" y="15101"/>
                      </a:lnTo>
                      <a:lnTo>
                        <a:pt x="4668" y="15174"/>
                      </a:lnTo>
                      <a:lnTo>
                        <a:pt x="5263" y="15248"/>
                      </a:lnTo>
                      <a:lnTo>
                        <a:pt x="5995" y="15358"/>
                      </a:lnTo>
                      <a:lnTo>
                        <a:pt x="6773" y="15468"/>
                      </a:lnTo>
                      <a:lnTo>
                        <a:pt x="7551" y="15541"/>
                      </a:lnTo>
                      <a:lnTo>
                        <a:pt x="7780" y="15578"/>
                      </a:lnTo>
                      <a:lnTo>
                        <a:pt x="8009" y="15614"/>
                      </a:lnTo>
                      <a:lnTo>
                        <a:pt x="8375" y="15688"/>
                      </a:lnTo>
                      <a:lnTo>
                        <a:pt x="9199" y="15761"/>
                      </a:lnTo>
                      <a:lnTo>
                        <a:pt x="9428" y="15798"/>
                      </a:lnTo>
                      <a:lnTo>
                        <a:pt x="9611" y="15834"/>
                      </a:lnTo>
                      <a:lnTo>
                        <a:pt x="10023" y="15871"/>
                      </a:lnTo>
                      <a:lnTo>
                        <a:pt x="10709" y="15981"/>
                      </a:lnTo>
                      <a:lnTo>
                        <a:pt x="11350" y="16054"/>
                      </a:lnTo>
                      <a:lnTo>
                        <a:pt x="11579" y="16054"/>
                      </a:lnTo>
                      <a:lnTo>
                        <a:pt x="11807" y="16091"/>
                      </a:lnTo>
                      <a:lnTo>
                        <a:pt x="12402" y="16164"/>
                      </a:lnTo>
                      <a:lnTo>
                        <a:pt x="13318" y="16274"/>
                      </a:lnTo>
                      <a:lnTo>
                        <a:pt x="14050" y="16384"/>
                      </a:lnTo>
                      <a:lnTo>
                        <a:pt x="14370" y="16384"/>
                      </a:lnTo>
                      <a:lnTo>
                        <a:pt x="14691" y="14551"/>
                      </a:lnTo>
                      <a:lnTo>
                        <a:pt x="14782" y="13855"/>
                      </a:lnTo>
                      <a:lnTo>
                        <a:pt x="14920" y="13049"/>
                      </a:lnTo>
                      <a:lnTo>
                        <a:pt x="15103" y="11986"/>
                      </a:lnTo>
                      <a:lnTo>
                        <a:pt x="15514" y="9493"/>
                      </a:lnTo>
                      <a:lnTo>
                        <a:pt x="15606" y="9090"/>
                      </a:lnTo>
                      <a:lnTo>
                        <a:pt x="15698" y="8650"/>
                      </a:lnTo>
                      <a:lnTo>
                        <a:pt x="15972" y="7001"/>
                      </a:lnTo>
                      <a:lnTo>
                        <a:pt x="16201" y="5718"/>
                      </a:lnTo>
                      <a:lnTo>
                        <a:pt x="16384" y="4765"/>
                      </a:lnTo>
                      <a:lnTo>
                        <a:pt x="13775" y="4435"/>
                      </a:lnTo>
                      <a:lnTo>
                        <a:pt x="13638" y="4435"/>
                      </a:lnTo>
                      <a:lnTo>
                        <a:pt x="10938" y="4105"/>
                      </a:lnTo>
                      <a:lnTo>
                        <a:pt x="11029" y="3409"/>
                      </a:lnTo>
                      <a:lnTo>
                        <a:pt x="11258" y="2382"/>
                      </a:lnTo>
                      <a:lnTo>
                        <a:pt x="11487" y="1173"/>
                      </a:lnTo>
                      <a:lnTo>
                        <a:pt x="10343" y="1026"/>
                      </a:lnTo>
                      <a:lnTo>
                        <a:pt x="10251" y="990"/>
                      </a:lnTo>
                      <a:lnTo>
                        <a:pt x="8650" y="806"/>
                      </a:lnTo>
                      <a:lnTo>
                        <a:pt x="8512" y="770"/>
                      </a:lnTo>
                      <a:lnTo>
                        <a:pt x="6224" y="440"/>
                      </a:lnTo>
                      <a:lnTo>
                        <a:pt x="3478" y="0"/>
                      </a:lnTo>
                      <a:lnTo>
                        <a:pt x="2792" y="2896"/>
                      </a:lnTo>
                      <a:lnTo>
                        <a:pt x="2197" y="5425"/>
                      </a:lnTo>
                      <a:lnTo>
                        <a:pt x="2059" y="6084"/>
                      </a:lnTo>
                      <a:lnTo>
                        <a:pt x="1785" y="7147"/>
                      </a:lnTo>
                      <a:close/>
                    </a:path>
                  </a:pathLst>
                </a:custGeom>
                <a:solidFill>
                  <a:srgbClr val="FF0000"/>
                </a:solidFill>
                <a:ln w="9525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defTabSz="121917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63" name="Vermont">
                  <a:extLst>
                    <a:ext uri="{FF2B5EF4-FFF2-40B4-BE49-F238E27FC236}">
                      <a16:creationId xmlns:a16="http://schemas.microsoft.com/office/drawing/2014/main" id="{B8031895-5A5C-B21A-FCAC-E5BA881AA96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7813000" y="3057525"/>
                  <a:ext cx="1019175" cy="1800225"/>
                </a:xfrm>
                <a:custGeom>
                  <a:avLst/>
                  <a:gdLst>
                    <a:gd name="T0" fmla="*/ 2147483647 w 16384"/>
                    <a:gd name="T1" fmla="*/ 2147483647 h 16384"/>
                    <a:gd name="T2" fmla="*/ 2147483647 w 16384"/>
                    <a:gd name="T3" fmla="*/ 2147483647 h 16384"/>
                    <a:gd name="T4" fmla="*/ 2147483647 w 16384"/>
                    <a:gd name="T5" fmla="*/ 2147483647 h 16384"/>
                    <a:gd name="T6" fmla="*/ 2147483647 w 16384"/>
                    <a:gd name="T7" fmla="*/ 2147483647 h 16384"/>
                    <a:gd name="T8" fmla="*/ 2147483647 w 16384"/>
                    <a:gd name="T9" fmla="*/ 2147483647 h 16384"/>
                    <a:gd name="T10" fmla="*/ 2147483647 w 16384"/>
                    <a:gd name="T11" fmla="*/ 2147483647 h 16384"/>
                    <a:gd name="T12" fmla="*/ 2147483647 w 16384"/>
                    <a:gd name="T13" fmla="*/ 2147483647 h 16384"/>
                    <a:gd name="T14" fmla="*/ 2147483647 w 16384"/>
                    <a:gd name="T15" fmla="*/ 2147483647 h 16384"/>
                    <a:gd name="T16" fmla="*/ 2147483647 w 16384"/>
                    <a:gd name="T17" fmla="*/ 2147483647 h 16384"/>
                    <a:gd name="T18" fmla="*/ 0 w 16384"/>
                    <a:gd name="T19" fmla="*/ 2147483647 h 16384"/>
                    <a:gd name="T20" fmla="*/ 2147483647 w 16384"/>
                    <a:gd name="T21" fmla="*/ 2147483647 h 16384"/>
                    <a:gd name="T22" fmla="*/ 2147483647 w 16384"/>
                    <a:gd name="T23" fmla="*/ 2147483647 h 16384"/>
                    <a:gd name="T24" fmla="*/ 2147483647 w 16384"/>
                    <a:gd name="T25" fmla="*/ 2147483647 h 16384"/>
                    <a:gd name="T26" fmla="*/ 2147483647 w 16384"/>
                    <a:gd name="T27" fmla="*/ 2147483647 h 16384"/>
                    <a:gd name="T28" fmla="*/ 2147483647 w 16384"/>
                    <a:gd name="T29" fmla="*/ 2147483647 h 16384"/>
                    <a:gd name="T30" fmla="*/ 2147483647 w 16384"/>
                    <a:gd name="T31" fmla="*/ 2147483647 h 16384"/>
                    <a:gd name="T32" fmla="*/ 2147483647 w 16384"/>
                    <a:gd name="T33" fmla="*/ 2147483647 h 16384"/>
                    <a:gd name="T34" fmla="*/ 2147483647 w 16384"/>
                    <a:gd name="T35" fmla="*/ 2147483647 h 16384"/>
                    <a:gd name="T36" fmla="*/ 2147483647 w 16384"/>
                    <a:gd name="T37" fmla="*/ 2147483647 h 16384"/>
                    <a:gd name="T38" fmla="*/ 2147483647 w 16384"/>
                    <a:gd name="T39" fmla="*/ 2147483647 h 16384"/>
                    <a:gd name="T40" fmla="*/ 2147483647 w 16384"/>
                    <a:gd name="T41" fmla="*/ 2147483647 h 16384"/>
                    <a:gd name="T42" fmla="*/ 2147483647 w 16384"/>
                    <a:gd name="T43" fmla="*/ 2147483647 h 16384"/>
                    <a:gd name="T44" fmla="*/ 2147483647 w 16384"/>
                    <a:gd name="T45" fmla="*/ 2147483647 h 16384"/>
                    <a:gd name="T46" fmla="*/ 2147483647 w 16384"/>
                    <a:gd name="T47" fmla="*/ 2147483647 h 16384"/>
                    <a:gd name="T48" fmla="*/ 2147483647 w 16384"/>
                    <a:gd name="T49" fmla="*/ 2147483647 h 16384"/>
                    <a:gd name="T50" fmla="*/ 2147483647 w 16384"/>
                    <a:gd name="T51" fmla="*/ 2147483647 h 16384"/>
                    <a:gd name="T52" fmla="*/ 2147483647 w 16384"/>
                    <a:gd name="T53" fmla="*/ 2147483647 h 16384"/>
                    <a:gd name="T54" fmla="*/ 2147483647 w 16384"/>
                    <a:gd name="T55" fmla="*/ 2147483647 h 16384"/>
                    <a:gd name="T56" fmla="*/ 2147483647 w 16384"/>
                    <a:gd name="T57" fmla="*/ 2147483647 h 16384"/>
                    <a:gd name="T58" fmla="*/ 2147483647 w 16384"/>
                    <a:gd name="T59" fmla="*/ 2147483647 h 16384"/>
                    <a:gd name="T60" fmla="*/ 2147483647 w 16384"/>
                    <a:gd name="T61" fmla="*/ 2147483647 h 16384"/>
                    <a:gd name="T62" fmla="*/ 2147483647 w 16384"/>
                    <a:gd name="T63" fmla="*/ 2147483647 h 16384"/>
                    <a:gd name="T64" fmla="*/ 2147483647 w 16384"/>
                    <a:gd name="T65" fmla="*/ 2147483647 h 16384"/>
                    <a:gd name="T66" fmla="*/ 2147483647 w 16384"/>
                    <a:gd name="T67" fmla="*/ 2147483647 h 16384"/>
                    <a:gd name="T68" fmla="*/ 2147483647 w 16384"/>
                    <a:gd name="T69" fmla="*/ 2147483647 h 16384"/>
                    <a:gd name="T70" fmla="*/ 2147483647 w 16384"/>
                    <a:gd name="T71" fmla="*/ 2147483647 h 16384"/>
                    <a:gd name="T72" fmla="*/ 2147483647 w 16384"/>
                    <a:gd name="T73" fmla="*/ 2147483647 h 16384"/>
                    <a:gd name="T74" fmla="*/ 2147483647 w 16384"/>
                    <a:gd name="T75" fmla="*/ 2147483647 h 16384"/>
                    <a:gd name="T76" fmla="*/ 2147483647 w 16384"/>
                    <a:gd name="T77" fmla="*/ 2147483647 h 16384"/>
                    <a:gd name="T78" fmla="*/ 2147483647 w 16384"/>
                    <a:gd name="T79" fmla="*/ 2147483647 h 16384"/>
                    <a:gd name="T80" fmla="*/ 2147483647 w 16384"/>
                    <a:gd name="T81" fmla="*/ 2147483647 h 16384"/>
                    <a:gd name="T82" fmla="*/ 2147483647 w 16384"/>
                    <a:gd name="T83" fmla="*/ 2147483647 h 16384"/>
                    <a:gd name="T84" fmla="*/ 2147483647 w 16384"/>
                    <a:gd name="T85" fmla="*/ 2147483647 h 16384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w 16384"/>
                    <a:gd name="T130" fmla="*/ 0 h 16384"/>
                    <a:gd name="T131" fmla="*/ 16384 w 16384"/>
                    <a:gd name="T132" fmla="*/ 16384 h 16384"/>
                  </a:gdLst>
                  <a:ahLst/>
                  <a:cxnLst>
                    <a:cxn ang="T86">
                      <a:pos x="T0" y="T1"/>
                    </a:cxn>
                    <a:cxn ang="T87">
                      <a:pos x="T2" y="T3"/>
                    </a:cxn>
                    <a:cxn ang="T88">
                      <a:pos x="T4" y="T5"/>
                    </a:cxn>
                    <a:cxn ang="T89">
                      <a:pos x="T6" y="T7"/>
                    </a:cxn>
                    <a:cxn ang="T90">
                      <a:pos x="T8" y="T9"/>
                    </a:cxn>
                    <a:cxn ang="T91">
                      <a:pos x="T10" y="T11"/>
                    </a:cxn>
                    <a:cxn ang="T92">
                      <a:pos x="T12" y="T13"/>
                    </a:cxn>
                    <a:cxn ang="T93">
                      <a:pos x="T14" y="T15"/>
                    </a:cxn>
                    <a:cxn ang="T94">
                      <a:pos x="T16" y="T17"/>
                    </a:cxn>
                    <a:cxn ang="T95">
                      <a:pos x="T18" y="T19"/>
                    </a:cxn>
                    <a:cxn ang="T96">
                      <a:pos x="T20" y="T21"/>
                    </a:cxn>
                    <a:cxn ang="T97">
                      <a:pos x="T22" y="T23"/>
                    </a:cxn>
                    <a:cxn ang="T98">
                      <a:pos x="T24" y="T25"/>
                    </a:cxn>
                    <a:cxn ang="T99">
                      <a:pos x="T26" y="T27"/>
                    </a:cxn>
                    <a:cxn ang="T100">
                      <a:pos x="T28" y="T29"/>
                    </a:cxn>
                    <a:cxn ang="T101">
                      <a:pos x="T30" y="T31"/>
                    </a:cxn>
                    <a:cxn ang="T102">
                      <a:pos x="T32" y="T33"/>
                    </a:cxn>
                    <a:cxn ang="T103">
                      <a:pos x="T34" y="T35"/>
                    </a:cxn>
                    <a:cxn ang="T104">
                      <a:pos x="T36" y="T37"/>
                    </a:cxn>
                    <a:cxn ang="T105">
                      <a:pos x="T38" y="T39"/>
                    </a:cxn>
                    <a:cxn ang="T106">
                      <a:pos x="T40" y="T41"/>
                    </a:cxn>
                    <a:cxn ang="T107">
                      <a:pos x="T42" y="T43"/>
                    </a:cxn>
                    <a:cxn ang="T108">
                      <a:pos x="T44" y="T45"/>
                    </a:cxn>
                    <a:cxn ang="T109">
                      <a:pos x="T46" y="T47"/>
                    </a:cxn>
                    <a:cxn ang="T110">
                      <a:pos x="T48" y="T49"/>
                    </a:cxn>
                    <a:cxn ang="T111">
                      <a:pos x="T50" y="T51"/>
                    </a:cxn>
                    <a:cxn ang="T112">
                      <a:pos x="T52" y="T53"/>
                    </a:cxn>
                    <a:cxn ang="T113">
                      <a:pos x="T54" y="T55"/>
                    </a:cxn>
                    <a:cxn ang="T114">
                      <a:pos x="T56" y="T57"/>
                    </a:cxn>
                    <a:cxn ang="T115">
                      <a:pos x="T58" y="T59"/>
                    </a:cxn>
                    <a:cxn ang="T116">
                      <a:pos x="T60" y="T61"/>
                    </a:cxn>
                    <a:cxn ang="T117">
                      <a:pos x="T62" y="T63"/>
                    </a:cxn>
                    <a:cxn ang="T118">
                      <a:pos x="T64" y="T65"/>
                    </a:cxn>
                    <a:cxn ang="T119">
                      <a:pos x="T66" y="T67"/>
                    </a:cxn>
                    <a:cxn ang="T120">
                      <a:pos x="T68" y="T69"/>
                    </a:cxn>
                    <a:cxn ang="T121">
                      <a:pos x="T70" y="T71"/>
                    </a:cxn>
                    <a:cxn ang="T122">
                      <a:pos x="T72" y="T73"/>
                    </a:cxn>
                    <a:cxn ang="T123">
                      <a:pos x="T74" y="T75"/>
                    </a:cxn>
                    <a:cxn ang="T124">
                      <a:pos x="T76" y="T77"/>
                    </a:cxn>
                    <a:cxn ang="T125">
                      <a:pos x="T78" y="T79"/>
                    </a:cxn>
                    <a:cxn ang="T126">
                      <a:pos x="T80" y="T81"/>
                    </a:cxn>
                    <a:cxn ang="T127">
                      <a:pos x="T82" y="T83"/>
                    </a:cxn>
                    <a:cxn ang="T128">
                      <a:pos x="T84" y="T85"/>
                    </a:cxn>
                  </a:cxnLst>
                  <a:rect l="T129" t="T130" r="T131" b="T132"/>
                  <a:pathLst>
                    <a:path w="16384" h="16384">
                      <a:moveTo>
                        <a:pt x="13528" y="5950"/>
                      </a:moveTo>
                      <a:lnTo>
                        <a:pt x="13378" y="5706"/>
                      </a:lnTo>
                      <a:lnTo>
                        <a:pt x="13378" y="5380"/>
                      </a:lnTo>
                      <a:lnTo>
                        <a:pt x="13378" y="5135"/>
                      </a:lnTo>
                      <a:lnTo>
                        <a:pt x="13528" y="4972"/>
                      </a:lnTo>
                      <a:lnTo>
                        <a:pt x="13678" y="4809"/>
                      </a:lnTo>
                      <a:lnTo>
                        <a:pt x="14430" y="4728"/>
                      </a:lnTo>
                      <a:lnTo>
                        <a:pt x="14731" y="4646"/>
                      </a:lnTo>
                      <a:lnTo>
                        <a:pt x="14881" y="4483"/>
                      </a:lnTo>
                      <a:lnTo>
                        <a:pt x="15182" y="4239"/>
                      </a:lnTo>
                      <a:lnTo>
                        <a:pt x="15332" y="4157"/>
                      </a:lnTo>
                      <a:lnTo>
                        <a:pt x="15632" y="3994"/>
                      </a:lnTo>
                      <a:lnTo>
                        <a:pt x="15933" y="3750"/>
                      </a:lnTo>
                      <a:lnTo>
                        <a:pt x="16234" y="3424"/>
                      </a:lnTo>
                      <a:lnTo>
                        <a:pt x="16234" y="3260"/>
                      </a:lnTo>
                      <a:lnTo>
                        <a:pt x="16234" y="3016"/>
                      </a:lnTo>
                      <a:lnTo>
                        <a:pt x="16384" y="2853"/>
                      </a:lnTo>
                      <a:lnTo>
                        <a:pt x="16384" y="2690"/>
                      </a:lnTo>
                      <a:lnTo>
                        <a:pt x="16083" y="2445"/>
                      </a:lnTo>
                      <a:lnTo>
                        <a:pt x="15332" y="1793"/>
                      </a:lnTo>
                      <a:lnTo>
                        <a:pt x="15332" y="1467"/>
                      </a:lnTo>
                      <a:lnTo>
                        <a:pt x="15632" y="815"/>
                      </a:lnTo>
                      <a:lnTo>
                        <a:pt x="15482" y="652"/>
                      </a:lnTo>
                      <a:lnTo>
                        <a:pt x="15182" y="245"/>
                      </a:lnTo>
                      <a:lnTo>
                        <a:pt x="15332" y="163"/>
                      </a:lnTo>
                      <a:lnTo>
                        <a:pt x="15482" y="0"/>
                      </a:lnTo>
                      <a:lnTo>
                        <a:pt x="12326" y="408"/>
                      </a:lnTo>
                      <a:lnTo>
                        <a:pt x="6614" y="1223"/>
                      </a:lnTo>
                      <a:lnTo>
                        <a:pt x="1353" y="1956"/>
                      </a:lnTo>
                      <a:lnTo>
                        <a:pt x="0" y="2119"/>
                      </a:lnTo>
                      <a:lnTo>
                        <a:pt x="150" y="2445"/>
                      </a:lnTo>
                      <a:lnTo>
                        <a:pt x="301" y="2527"/>
                      </a:lnTo>
                      <a:lnTo>
                        <a:pt x="150" y="3097"/>
                      </a:lnTo>
                      <a:lnTo>
                        <a:pt x="301" y="3342"/>
                      </a:lnTo>
                      <a:lnTo>
                        <a:pt x="601" y="3424"/>
                      </a:lnTo>
                      <a:lnTo>
                        <a:pt x="752" y="3587"/>
                      </a:lnTo>
                      <a:lnTo>
                        <a:pt x="752" y="4239"/>
                      </a:lnTo>
                      <a:lnTo>
                        <a:pt x="1052" y="4728"/>
                      </a:lnTo>
                      <a:lnTo>
                        <a:pt x="1202" y="4972"/>
                      </a:lnTo>
                      <a:lnTo>
                        <a:pt x="1202" y="5054"/>
                      </a:lnTo>
                      <a:lnTo>
                        <a:pt x="1503" y="5298"/>
                      </a:lnTo>
                      <a:lnTo>
                        <a:pt x="1804" y="5543"/>
                      </a:lnTo>
                      <a:lnTo>
                        <a:pt x="1954" y="5869"/>
                      </a:lnTo>
                      <a:lnTo>
                        <a:pt x="2104" y="6195"/>
                      </a:lnTo>
                      <a:lnTo>
                        <a:pt x="2255" y="6521"/>
                      </a:lnTo>
                      <a:lnTo>
                        <a:pt x="2405" y="6766"/>
                      </a:lnTo>
                      <a:lnTo>
                        <a:pt x="2405" y="7010"/>
                      </a:lnTo>
                      <a:lnTo>
                        <a:pt x="2104" y="7336"/>
                      </a:lnTo>
                      <a:lnTo>
                        <a:pt x="1954" y="7499"/>
                      </a:lnTo>
                      <a:lnTo>
                        <a:pt x="1954" y="7744"/>
                      </a:lnTo>
                      <a:lnTo>
                        <a:pt x="1954" y="8233"/>
                      </a:lnTo>
                      <a:lnTo>
                        <a:pt x="2255" y="8559"/>
                      </a:lnTo>
                      <a:lnTo>
                        <a:pt x="2405" y="8803"/>
                      </a:lnTo>
                      <a:lnTo>
                        <a:pt x="2555" y="8966"/>
                      </a:lnTo>
                      <a:lnTo>
                        <a:pt x="2856" y="9211"/>
                      </a:lnTo>
                      <a:lnTo>
                        <a:pt x="3006" y="9455"/>
                      </a:lnTo>
                      <a:lnTo>
                        <a:pt x="3157" y="9700"/>
                      </a:lnTo>
                      <a:lnTo>
                        <a:pt x="3307" y="9863"/>
                      </a:lnTo>
                      <a:lnTo>
                        <a:pt x="3457" y="9945"/>
                      </a:lnTo>
                      <a:lnTo>
                        <a:pt x="3457" y="10108"/>
                      </a:lnTo>
                      <a:lnTo>
                        <a:pt x="3457" y="10271"/>
                      </a:lnTo>
                      <a:lnTo>
                        <a:pt x="3307" y="10515"/>
                      </a:lnTo>
                      <a:lnTo>
                        <a:pt x="3307" y="10760"/>
                      </a:lnTo>
                      <a:lnTo>
                        <a:pt x="3607" y="11249"/>
                      </a:lnTo>
                      <a:lnTo>
                        <a:pt x="3758" y="11330"/>
                      </a:lnTo>
                      <a:lnTo>
                        <a:pt x="3758" y="11167"/>
                      </a:lnTo>
                      <a:lnTo>
                        <a:pt x="3908" y="11004"/>
                      </a:lnTo>
                      <a:lnTo>
                        <a:pt x="4058" y="10923"/>
                      </a:lnTo>
                      <a:lnTo>
                        <a:pt x="4209" y="10923"/>
                      </a:lnTo>
                      <a:lnTo>
                        <a:pt x="4509" y="10923"/>
                      </a:lnTo>
                      <a:lnTo>
                        <a:pt x="4660" y="11086"/>
                      </a:lnTo>
                      <a:lnTo>
                        <a:pt x="4810" y="11167"/>
                      </a:lnTo>
                      <a:lnTo>
                        <a:pt x="4960" y="11249"/>
                      </a:lnTo>
                      <a:lnTo>
                        <a:pt x="5111" y="11249"/>
                      </a:lnTo>
                      <a:lnTo>
                        <a:pt x="5111" y="11656"/>
                      </a:lnTo>
                      <a:lnTo>
                        <a:pt x="5261" y="11819"/>
                      </a:lnTo>
                      <a:lnTo>
                        <a:pt x="5411" y="12308"/>
                      </a:lnTo>
                      <a:lnTo>
                        <a:pt x="5562" y="12716"/>
                      </a:lnTo>
                      <a:lnTo>
                        <a:pt x="5862" y="13531"/>
                      </a:lnTo>
                      <a:lnTo>
                        <a:pt x="6012" y="13694"/>
                      </a:lnTo>
                      <a:lnTo>
                        <a:pt x="6163" y="14020"/>
                      </a:lnTo>
                      <a:lnTo>
                        <a:pt x="6163" y="14265"/>
                      </a:lnTo>
                      <a:lnTo>
                        <a:pt x="6313" y="14754"/>
                      </a:lnTo>
                      <a:lnTo>
                        <a:pt x="6463" y="15080"/>
                      </a:lnTo>
                      <a:lnTo>
                        <a:pt x="6614" y="15406"/>
                      </a:lnTo>
                      <a:lnTo>
                        <a:pt x="6914" y="15813"/>
                      </a:lnTo>
                      <a:lnTo>
                        <a:pt x="6764" y="15895"/>
                      </a:lnTo>
                      <a:lnTo>
                        <a:pt x="6914" y="16139"/>
                      </a:lnTo>
                      <a:lnTo>
                        <a:pt x="7065" y="16384"/>
                      </a:lnTo>
                      <a:lnTo>
                        <a:pt x="9319" y="16139"/>
                      </a:lnTo>
                      <a:lnTo>
                        <a:pt x="10221" y="16058"/>
                      </a:lnTo>
                      <a:lnTo>
                        <a:pt x="13979" y="15569"/>
                      </a:lnTo>
                      <a:lnTo>
                        <a:pt x="13678" y="15324"/>
                      </a:lnTo>
                      <a:lnTo>
                        <a:pt x="13378" y="15243"/>
                      </a:lnTo>
                      <a:lnTo>
                        <a:pt x="12927" y="14754"/>
                      </a:lnTo>
                      <a:lnTo>
                        <a:pt x="13077" y="14509"/>
                      </a:lnTo>
                      <a:lnTo>
                        <a:pt x="13077" y="14265"/>
                      </a:lnTo>
                      <a:lnTo>
                        <a:pt x="13227" y="14102"/>
                      </a:lnTo>
                      <a:lnTo>
                        <a:pt x="13378" y="13857"/>
                      </a:lnTo>
                      <a:lnTo>
                        <a:pt x="13378" y="13694"/>
                      </a:lnTo>
                      <a:lnTo>
                        <a:pt x="13227" y="13531"/>
                      </a:lnTo>
                      <a:lnTo>
                        <a:pt x="13227" y="13368"/>
                      </a:lnTo>
                      <a:lnTo>
                        <a:pt x="13227" y="13124"/>
                      </a:lnTo>
                      <a:lnTo>
                        <a:pt x="13077" y="12960"/>
                      </a:lnTo>
                      <a:lnTo>
                        <a:pt x="12777" y="12390"/>
                      </a:lnTo>
                      <a:lnTo>
                        <a:pt x="12777" y="12064"/>
                      </a:lnTo>
                      <a:lnTo>
                        <a:pt x="12777" y="11738"/>
                      </a:lnTo>
                      <a:lnTo>
                        <a:pt x="12626" y="11086"/>
                      </a:lnTo>
                      <a:lnTo>
                        <a:pt x="12476" y="10271"/>
                      </a:lnTo>
                      <a:lnTo>
                        <a:pt x="12476" y="10108"/>
                      </a:lnTo>
                      <a:lnTo>
                        <a:pt x="12626" y="9945"/>
                      </a:lnTo>
                      <a:lnTo>
                        <a:pt x="12777" y="9700"/>
                      </a:lnTo>
                      <a:lnTo>
                        <a:pt x="12777" y="9618"/>
                      </a:lnTo>
                      <a:lnTo>
                        <a:pt x="12777" y="9292"/>
                      </a:lnTo>
                      <a:lnTo>
                        <a:pt x="12777" y="9129"/>
                      </a:lnTo>
                      <a:lnTo>
                        <a:pt x="13077" y="8885"/>
                      </a:lnTo>
                      <a:lnTo>
                        <a:pt x="13227" y="8640"/>
                      </a:lnTo>
                      <a:lnTo>
                        <a:pt x="13378" y="8477"/>
                      </a:lnTo>
                      <a:lnTo>
                        <a:pt x="13378" y="8314"/>
                      </a:lnTo>
                      <a:lnTo>
                        <a:pt x="13227" y="8070"/>
                      </a:lnTo>
                      <a:lnTo>
                        <a:pt x="13378" y="7581"/>
                      </a:lnTo>
                      <a:lnTo>
                        <a:pt x="13528" y="7336"/>
                      </a:lnTo>
                      <a:lnTo>
                        <a:pt x="13528" y="7173"/>
                      </a:lnTo>
                      <a:lnTo>
                        <a:pt x="13528" y="7092"/>
                      </a:lnTo>
                      <a:lnTo>
                        <a:pt x="13528" y="6847"/>
                      </a:lnTo>
                      <a:lnTo>
                        <a:pt x="13678" y="6603"/>
                      </a:lnTo>
                      <a:lnTo>
                        <a:pt x="13678" y="6521"/>
                      </a:lnTo>
                      <a:lnTo>
                        <a:pt x="13678" y="6113"/>
                      </a:lnTo>
                      <a:lnTo>
                        <a:pt x="13528" y="5950"/>
                      </a:lnTo>
                      <a:close/>
                    </a:path>
                  </a:pathLst>
                </a:custGeom>
                <a:solidFill>
                  <a:srgbClr val="FFFF00"/>
                </a:solidFill>
                <a:ln w="9525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defTabSz="121917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64" name="Washington">
                  <a:extLst>
                    <a:ext uri="{FF2B5EF4-FFF2-40B4-BE49-F238E27FC236}">
                      <a16:creationId xmlns:a16="http://schemas.microsoft.com/office/drawing/2014/main" id="{77760007-7382-BC8C-4BE7-94D25D27E7F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495425" y="0"/>
                  <a:ext cx="3962400" cy="2752725"/>
                </a:xfrm>
                <a:custGeom>
                  <a:avLst/>
                  <a:gdLst>
                    <a:gd name="T0" fmla="*/ 2147483647 w 16384"/>
                    <a:gd name="T1" fmla="*/ 2147483647 h 16384"/>
                    <a:gd name="T2" fmla="*/ 2147483647 w 16384"/>
                    <a:gd name="T3" fmla="*/ 2147483647 h 16384"/>
                    <a:gd name="T4" fmla="*/ 2147483647 w 16384"/>
                    <a:gd name="T5" fmla="*/ 2147483647 h 16384"/>
                    <a:gd name="T6" fmla="*/ 2147483647 w 16384"/>
                    <a:gd name="T7" fmla="*/ 2147483647 h 16384"/>
                    <a:gd name="T8" fmla="*/ 2147483647 w 16384"/>
                    <a:gd name="T9" fmla="*/ 2147483647 h 16384"/>
                    <a:gd name="T10" fmla="*/ 2147483647 w 16384"/>
                    <a:gd name="T11" fmla="*/ 2147483647 h 16384"/>
                    <a:gd name="T12" fmla="*/ 2147483647 w 16384"/>
                    <a:gd name="T13" fmla="*/ 2147483647 h 16384"/>
                    <a:gd name="T14" fmla="*/ 2147483647 w 16384"/>
                    <a:gd name="T15" fmla="*/ 2147483647 h 16384"/>
                    <a:gd name="T16" fmla="*/ 2147483647 w 16384"/>
                    <a:gd name="T17" fmla="*/ 2147483647 h 16384"/>
                    <a:gd name="T18" fmla="*/ 2147483647 w 16384"/>
                    <a:gd name="T19" fmla="*/ 2147483647 h 16384"/>
                    <a:gd name="T20" fmla="*/ 2147483647 w 16384"/>
                    <a:gd name="T21" fmla="*/ 2147483647 h 16384"/>
                    <a:gd name="T22" fmla="*/ 2147483647 w 16384"/>
                    <a:gd name="T23" fmla="*/ 2147483647 h 16384"/>
                    <a:gd name="T24" fmla="*/ 2147483647 w 16384"/>
                    <a:gd name="T25" fmla="*/ 2147483647 h 16384"/>
                    <a:gd name="T26" fmla="*/ 2147483647 w 16384"/>
                    <a:gd name="T27" fmla="*/ 2147483647 h 16384"/>
                    <a:gd name="T28" fmla="*/ 2147483647 w 16384"/>
                    <a:gd name="T29" fmla="*/ 2147483647 h 16384"/>
                    <a:gd name="T30" fmla="*/ 2147483647 w 16384"/>
                    <a:gd name="T31" fmla="*/ 2147483647 h 16384"/>
                    <a:gd name="T32" fmla="*/ 2147483647 w 16384"/>
                    <a:gd name="T33" fmla="*/ 2147483647 h 16384"/>
                    <a:gd name="T34" fmla="*/ 2147483647 w 16384"/>
                    <a:gd name="T35" fmla="*/ 2147483647 h 16384"/>
                    <a:gd name="T36" fmla="*/ 2147483647 w 16384"/>
                    <a:gd name="T37" fmla="*/ 2147483647 h 16384"/>
                    <a:gd name="T38" fmla="*/ 2147483647 w 16384"/>
                    <a:gd name="T39" fmla="*/ 2147483647 h 16384"/>
                    <a:gd name="T40" fmla="*/ 2147483647 w 16384"/>
                    <a:gd name="T41" fmla="*/ 2147483647 h 16384"/>
                    <a:gd name="T42" fmla="*/ 2147483647 w 16384"/>
                    <a:gd name="T43" fmla="*/ 2147483647 h 16384"/>
                    <a:gd name="T44" fmla="*/ 2147483647 w 16384"/>
                    <a:gd name="T45" fmla="*/ 2147483647 h 16384"/>
                    <a:gd name="T46" fmla="*/ 2147483647 w 16384"/>
                    <a:gd name="T47" fmla="*/ 2147483647 h 16384"/>
                    <a:gd name="T48" fmla="*/ 2147483647 w 16384"/>
                    <a:gd name="T49" fmla="*/ 2147483647 h 16384"/>
                    <a:gd name="T50" fmla="*/ 2147483647 w 16384"/>
                    <a:gd name="T51" fmla="*/ 2147483647 h 16384"/>
                    <a:gd name="T52" fmla="*/ 2147483647 w 16384"/>
                    <a:gd name="T53" fmla="*/ 2147483647 h 16384"/>
                    <a:gd name="T54" fmla="*/ 2147483647 w 16384"/>
                    <a:gd name="T55" fmla="*/ 2147483647 h 16384"/>
                    <a:gd name="T56" fmla="*/ 2147483647 w 16384"/>
                    <a:gd name="T57" fmla="*/ 2147483647 h 16384"/>
                    <a:gd name="T58" fmla="*/ 2147483647 w 16384"/>
                    <a:gd name="T59" fmla="*/ 2147483647 h 16384"/>
                    <a:gd name="T60" fmla="*/ 2147483647 w 16384"/>
                    <a:gd name="T61" fmla="*/ 2147483647 h 16384"/>
                    <a:gd name="T62" fmla="*/ 2147483647 w 16384"/>
                    <a:gd name="T63" fmla="*/ 2147483647 h 16384"/>
                    <a:gd name="T64" fmla="*/ 2147483647 w 16384"/>
                    <a:gd name="T65" fmla="*/ 2147483647 h 16384"/>
                    <a:gd name="T66" fmla="*/ 2147483647 w 16384"/>
                    <a:gd name="T67" fmla="*/ 2147483647 h 16384"/>
                    <a:gd name="T68" fmla="*/ 2147483647 w 16384"/>
                    <a:gd name="T69" fmla="*/ 2147483647 h 16384"/>
                    <a:gd name="T70" fmla="*/ 2147483647 w 16384"/>
                    <a:gd name="T71" fmla="*/ 2147483647 h 16384"/>
                    <a:gd name="T72" fmla="*/ 2147483647 w 16384"/>
                    <a:gd name="T73" fmla="*/ 2147483647 h 16384"/>
                    <a:gd name="T74" fmla="*/ 2147483647 w 16384"/>
                    <a:gd name="T75" fmla="*/ 2147483647 h 16384"/>
                    <a:gd name="T76" fmla="*/ 2147483647 w 16384"/>
                    <a:gd name="T77" fmla="*/ 2147483647 h 16384"/>
                    <a:gd name="T78" fmla="*/ 2147483647 w 16384"/>
                    <a:gd name="T79" fmla="*/ 2147483647 h 16384"/>
                    <a:gd name="T80" fmla="*/ 2147483647 w 16384"/>
                    <a:gd name="T81" fmla="*/ 2147483647 h 16384"/>
                    <a:gd name="T82" fmla="*/ 2147483647 w 16384"/>
                    <a:gd name="T83" fmla="*/ 2147483647 h 16384"/>
                    <a:gd name="T84" fmla="*/ 2147483647 w 16384"/>
                    <a:gd name="T85" fmla="*/ 2147483647 h 16384"/>
                    <a:gd name="T86" fmla="*/ 2147483647 w 16384"/>
                    <a:gd name="T87" fmla="*/ 2147483647 h 16384"/>
                    <a:gd name="T88" fmla="*/ 2147483647 w 16384"/>
                    <a:gd name="T89" fmla="*/ 2147483647 h 16384"/>
                    <a:gd name="T90" fmla="*/ 2147483647 w 16384"/>
                    <a:gd name="T91" fmla="*/ 2147483647 h 16384"/>
                    <a:gd name="T92" fmla="*/ 2147483647 w 16384"/>
                    <a:gd name="T93" fmla="*/ 2147483647 h 16384"/>
                    <a:gd name="T94" fmla="*/ 2147483647 w 16384"/>
                    <a:gd name="T95" fmla="*/ 2147483647 h 16384"/>
                    <a:gd name="T96" fmla="*/ 2147483647 w 16384"/>
                    <a:gd name="T97" fmla="*/ 2147483647 h 16384"/>
                    <a:gd name="T98" fmla="*/ 2147483647 w 16384"/>
                    <a:gd name="T99" fmla="*/ 2147483647 h 16384"/>
                    <a:gd name="T100" fmla="*/ 2147483647 w 16384"/>
                    <a:gd name="T101" fmla="*/ 2147483647 h 16384"/>
                    <a:gd name="T102" fmla="*/ 2147483647 w 16384"/>
                    <a:gd name="T103" fmla="*/ 2147483647 h 16384"/>
                    <a:gd name="T104" fmla="*/ 2147483647 w 16384"/>
                    <a:gd name="T105" fmla="*/ 2147483647 h 16384"/>
                    <a:gd name="T106" fmla="*/ 2147483647 w 16384"/>
                    <a:gd name="T107" fmla="*/ 2147483647 h 16384"/>
                    <a:gd name="T108" fmla="*/ 2147483647 w 16384"/>
                    <a:gd name="T109" fmla="*/ 2147483647 h 16384"/>
                    <a:gd name="T110" fmla="*/ 2147483647 w 16384"/>
                    <a:gd name="T111" fmla="*/ 2147483647 h 16384"/>
                    <a:gd name="T112" fmla="*/ 2147483647 w 16384"/>
                    <a:gd name="T113" fmla="*/ 2147483647 h 16384"/>
                    <a:gd name="T114" fmla="*/ 2147483647 w 16384"/>
                    <a:gd name="T115" fmla="*/ 2147483647 h 16384"/>
                    <a:gd name="T116" fmla="*/ 2147483647 w 16384"/>
                    <a:gd name="T117" fmla="*/ 2147483647 h 16384"/>
                    <a:gd name="T118" fmla="*/ 2147483647 w 16384"/>
                    <a:gd name="T119" fmla="*/ 2147483647 h 16384"/>
                    <a:gd name="T120" fmla="*/ 2147483647 w 16384"/>
                    <a:gd name="T121" fmla="*/ 2147483647 h 16384"/>
                    <a:gd name="T122" fmla="*/ 2147483647 w 16384"/>
                    <a:gd name="T123" fmla="*/ 2147483647 h 16384"/>
                    <a:gd name="T124" fmla="*/ 2147483647 w 16384"/>
                    <a:gd name="T125" fmla="*/ 2147483647 h 16384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60000 65536"/>
                    <a:gd name="T178" fmla="*/ 0 60000 65536"/>
                    <a:gd name="T179" fmla="*/ 0 60000 65536"/>
                    <a:gd name="T180" fmla="*/ 0 60000 65536"/>
                    <a:gd name="T181" fmla="*/ 0 60000 65536"/>
                    <a:gd name="T182" fmla="*/ 0 60000 65536"/>
                    <a:gd name="T183" fmla="*/ 0 60000 65536"/>
                    <a:gd name="T184" fmla="*/ 0 60000 65536"/>
                    <a:gd name="T185" fmla="*/ 0 60000 65536"/>
                    <a:gd name="T186" fmla="*/ 0 60000 65536"/>
                    <a:gd name="T187" fmla="*/ 0 60000 65536"/>
                    <a:gd name="T188" fmla="*/ 0 60000 65536"/>
                    <a:gd name="T189" fmla="*/ 0 w 16384"/>
                    <a:gd name="T190" fmla="*/ 0 h 16384"/>
                    <a:gd name="T191" fmla="*/ 16384 w 16384"/>
                    <a:gd name="T192" fmla="*/ 16384 h 16384"/>
                  </a:gdLst>
                  <a:ahLst/>
                  <a:cxnLst>
                    <a:cxn ang="T126">
                      <a:pos x="T0" y="T1"/>
                    </a:cxn>
                    <a:cxn ang="T127">
                      <a:pos x="T2" y="T3"/>
                    </a:cxn>
                    <a:cxn ang="T128">
                      <a:pos x="T4" y="T5"/>
                    </a:cxn>
                    <a:cxn ang="T129">
                      <a:pos x="T6" y="T7"/>
                    </a:cxn>
                    <a:cxn ang="T130">
                      <a:pos x="T8" y="T9"/>
                    </a:cxn>
                    <a:cxn ang="T131">
                      <a:pos x="T10" y="T11"/>
                    </a:cxn>
                    <a:cxn ang="T132">
                      <a:pos x="T12" y="T13"/>
                    </a:cxn>
                    <a:cxn ang="T133">
                      <a:pos x="T14" y="T15"/>
                    </a:cxn>
                    <a:cxn ang="T134">
                      <a:pos x="T16" y="T17"/>
                    </a:cxn>
                    <a:cxn ang="T135">
                      <a:pos x="T18" y="T19"/>
                    </a:cxn>
                    <a:cxn ang="T136">
                      <a:pos x="T20" y="T21"/>
                    </a:cxn>
                    <a:cxn ang="T137">
                      <a:pos x="T22" y="T23"/>
                    </a:cxn>
                    <a:cxn ang="T138">
                      <a:pos x="T24" y="T25"/>
                    </a:cxn>
                    <a:cxn ang="T139">
                      <a:pos x="T26" y="T27"/>
                    </a:cxn>
                    <a:cxn ang="T140">
                      <a:pos x="T28" y="T29"/>
                    </a:cxn>
                    <a:cxn ang="T141">
                      <a:pos x="T30" y="T31"/>
                    </a:cxn>
                    <a:cxn ang="T142">
                      <a:pos x="T32" y="T33"/>
                    </a:cxn>
                    <a:cxn ang="T143">
                      <a:pos x="T34" y="T35"/>
                    </a:cxn>
                    <a:cxn ang="T144">
                      <a:pos x="T36" y="T37"/>
                    </a:cxn>
                    <a:cxn ang="T145">
                      <a:pos x="T38" y="T39"/>
                    </a:cxn>
                    <a:cxn ang="T146">
                      <a:pos x="T40" y="T41"/>
                    </a:cxn>
                    <a:cxn ang="T147">
                      <a:pos x="T42" y="T43"/>
                    </a:cxn>
                    <a:cxn ang="T148">
                      <a:pos x="T44" y="T45"/>
                    </a:cxn>
                    <a:cxn ang="T149">
                      <a:pos x="T46" y="T47"/>
                    </a:cxn>
                    <a:cxn ang="T150">
                      <a:pos x="T48" y="T49"/>
                    </a:cxn>
                    <a:cxn ang="T151">
                      <a:pos x="T50" y="T51"/>
                    </a:cxn>
                    <a:cxn ang="T152">
                      <a:pos x="T52" y="T53"/>
                    </a:cxn>
                    <a:cxn ang="T153">
                      <a:pos x="T54" y="T55"/>
                    </a:cxn>
                    <a:cxn ang="T154">
                      <a:pos x="T56" y="T57"/>
                    </a:cxn>
                    <a:cxn ang="T155">
                      <a:pos x="T58" y="T59"/>
                    </a:cxn>
                    <a:cxn ang="T156">
                      <a:pos x="T60" y="T61"/>
                    </a:cxn>
                    <a:cxn ang="T157">
                      <a:pos x="T62" y="T63"/>
                    </a:cxn>
                    <a:cxn ang="T158">
                      <a:pos x="T64" y="T65"/>
                    </a:cxn>
                    <a:cxn ang="T159">
                      <a:pos x="T66" y="T67"/>
                    </a:cxn>
                    <a:cxn ang="T160">
                      <a:pos x="T68" y="T69"/>
                    </a:cxn>
                    <a:cxn ang="T161">
                      <a:pos x="T70" y="T71"/>
                    </a:cxn>
                    <a:cxn ang="T162">
                      <a:pos x="T72" y="T73"/>
                    </a:cxn>
                    <a:cxn ang="T163">
                      <a:pos x="T74" y="T75"/>
                    </a:cxn>
                    <a:cxn ang="T164">
                      <a:pos x="T76" y="T77"/>
                    </a:cxn>
                    <a:cxn ang="T165">
                      <a:pos x="T78" y="T79"/>
                    </a:cxn>
                    <a:cxn ang="T166">
                      <a:pos x="T80" y="T81"/>
                    </a:cxn>
                    <a:cxn ang="T167">
                      <a:pos x="T82" y="T83"/>
                    </a:cxn>
                    <a:cxn ang="T168">
                      <a:pos x="T84" y="T85"/>
                    </a:cxn>
                    <a:cxn ang="T169">
                      <a:pos x="T86" y="T87"/>
                    </a:cxn>
                    <a:cxn ang="T170">
                      <a:pos x="T88" y="T89"/>
                    </a:cxn>
                    <a:cxn ang="T171">
                      <a:pos x="T90" y="T91"/>
                    </a:cxn>
                    <a:cxn ang="T172">
                      <a:pos x="T92" y="T93"/>
                    </a:cxn>
                    <a:cxn ang="T173">
                      <a:pos x="T94" y="T95"/>
                    </a:cxn>
                    <a:cxn ang="T174">
                      <a:pos x="T96" y="T97"/>
                    </a:cxn>
                    <a:cxn ang="T175">
                      <a:pos x="T98" y="T99"/>
                    </a:cxn>
                    <a:cxn ang="T176">
                      <a:pos x="T100" y="T101"/>
                    </a:cxn>
                    <a:cxn ang="T177">
                      <a:pos x="T102" y="T103"/>
                    </a:cxn>
                    <a:cxn ang="T178">
                      <a:pos x="T104" y="T105"/>
                    </a:cxn>
                    <a:cxn ang="T179">
                      <a:pos x="T106" y="T107"/>
                    </a:cxn>
                    <a:cxn ang="T180">
                      <a:pos x="T108" y="T109"/>
                    </a:cxn>
                    <a:cxn ang="T181">
                      <a:pos x="T110" y="T111"/>
                    </a:cxn>
                    <a:cxn ang="T182">
                      <a:pos x="T112" y="T113"/>
                    </a:cxn>
                    <a:cxn ang="T183">
                      <a:pos x="T114" y="T115"/>
                    </a:cxn>
                    <a:cxn ang="T184">
                      <a:pos x="T116" y="T117"/>
                    </a:cxn>
                    <a:cxn ang="T185">
                      <a:pos x="T118" y="T119"/>
                    </a:cxn>
                    <a:cxn ang="T186">
                      <a:pos x="T120" y="T121"/>
                    </a:cxn>
                    <a:cxn ang="T187">
                      <a:pos x="T122" y="T123"/>
                    </a:cxn>
                    <a:cxn ang="T188">
                      <a:pos x="T124" y="T125"/>
                    </a:cxn>
                  </a:cxnLst>
                  <a:rect l="T189" t="T190" r="T191" b="T192"/>
                  <a:pathLst>
                    <a:path w="16384" h="16384">
                      <a:moveTo>
                        <a:pt x="4048" y="6564"/>
                      </a:moveTo>
                      <a:lnTo>
                        <a:pt x="4086" y="6511"/>
                      </a:lnTo>
                      <a:lnTo>
                        <a:pt x="4125" y="6404"/>
                      </a:lnTo>
                      <a:lnTo>
                        <a:pt x="4202" y="6191"/>
                      </a:lnTo>
                      <a:lnTo>
                        <a:pt x="4202" y="6084"/>
                      </a:lnTo>
                      <a:lnTo>
                        <a:pt x="4163" y="5924"/>
                      </a:lnTo>
                      <a:lnTo>
                        <a:pt x="4086" y="5924"/>
                      </a:lnTo>
                      <a:lnTo>
                        <a:pt x="3971" y="5977"/>
                      </a:lnTo>
                      <a:lnTo>
                        <a:pt x="3855" y="5924"/>
                      </a:lnTo>
                      <a:lnTo>
                        <a:pt x="3894" y="5870"/>
                      </a:lnTo>
                      <a:lnTo>
                        <a:pt x="3971" y="5817"/>
                      </a:lnTo>
                      <a:lnTo>
                        <a:pt x="3932" y="5764"/>
                      </a:lnTo>
                      <a:lnTo>
                        <a:pt x="3932" y="5550"/>
                      </a:lnTo>
                      <a:lnTo>
                        <a:pt x="4009" y="5604"/>
                      </a:lnTo>
                      <a:lnTo>
                        <a:pt x="4009" y="5764"/>
                      </a:lnTo>
                      <a:lnTo>
                        <a:pt x="4086" y="5764"/>
                      </a:lnTo>
                      <a:lnTo>
                        <a:pt x="4125" y="5604"/>
                      </a:lnTo>
                      <a:lnTo>
                        <a:pt x="4125" y="5497"/>
                      </a:lnTo>
                      <a:lnTo>
                        <a:pt x="4125" y="5283"/>
                      </a:lnTo>
                      <a:lnTo>
                        <a:pt x="4086" y="5177"/>
                      </a:lnTo>
                      <a:lnTo>
                        <a:pt x="4163" y="5123"/>
                      </a:lnTo>
                      <a:lnTo>
                        <a:pt x="4202" y="5283"/>
                      </a:lnTo>
                      <a:lnTo>
                        <a:pt x="4279" y="5283"/>
                      </a:lnTo>
                      <a:lnTo>
                        <a:pt x="4356" y="5123"/>
                      </a:lnTo>
                      <a:lnTo>
                        <a:pt x="4395" y="5230"/>
                      </a:lnTo>
                      <a:lnTo>
                        <a:pt x="4510" y="5177"/>
                      </a:lnTo>
                      <a:lnTo>
                        <a:pt x="4472" y="4963"/>
                      </a:lnTo>
                      <a:lnTo>
                        <a:pt x="4510" y="4856"/>
                      </a:lnTo>
                      <a:lnTo>
                        <a:pt x="4510" y="4643"/>
                      </a:lnTo>
                      <a:lnTo>
                        <a:pt x="4433" y="4483"/>
                      </a:lnTo>
                      <a:lnTo>
                        <a:pt x="4356" y="4323"/>
                      </a:lnTo>
                      <a:lnTo>
                        <a:pt x="4356" y="4483"/>
                      </a:lnTo>
                      <a:lnTo>
                        <a:pt x="4395" y="4696"/>
                      </a:lnTo>
                      <a:lnTo>
                        <a:pt x="4356" y="4856"/>
                      </a:lnTo>
                      <a:lnTo>
                        <a:pt x="4279" y="4750"/>
                      </a:lnTo>
                      <a:lnTo>
                        <a:pt x="4163" y="4856"/>
                      </a:lnTo>
                      <a:lnTo>
                        <a:pt x="4009" y="5017"/>
                      </a:lnTo>
                      <a:lnTo>
                        <a:pt x="3817" y="5337"/>
                      </a:lnTo>
                      <a:lnTo>
                        <a:pt x="3624" y="5390"/>
                      </a:lnTo>
                      <a:lnTo>
                        <a:pt x="3470" y="5444"/>
                      </a:lnTo>
                      <a:lnTo>
                        <a:pt x="3277" y="5604"/>
                      </a:lnTo>
                      <a:lnTo>
                        <a:pt x="3200" y="5710"/>
                      </a:lnTo>
                      <a:lnTo>
                        <a:pt x="3123" y="5817"/>
                      </a:lnTo>
                      <a:lnTo>
                        <a:pt x="3084" y="5870"/>
                      </a:lnTo>
                      <a:lnTo>
                        <a:pt x="2930" y="6084"/>
                      </a:lnTo>
                      <a:lnTo>
                        <a:pt x="2930" y="6191"/>
                      </a:lnTo>
                      <a:lnTo>
                        <a:pt x="3045" y="6244"/>
                      </a:lnTo>
                      <a:lnTo>
                        <a:pt x="3123" y="6244"/>
                      </a:lnTo>
                      <a:lnTo>
                        <a:pt x="3354" y="6191"/>
                      </a:lnTo>
                      <a:lnTo>
                        <a:pt x="3470" y="6244"/>
                      </a:lnTo>
                      <a:lnTo>
                        <a:pt x="3315" y="6297"/>
                      </a:lnTo>
                      <a:lnTo>
                        <a:pt x="3238" y="6351"/>
                      </a:lnTo>
                      <a:lnTo>
                        <a:pt x="3007" y="6404"/>
                      </a:lnTo>
                      <a:lnTo>
                        <a:pt x="2930" y="6351"/>
                      </a:lnTo>
                      <a:lnTo>
                        <a:pt x="2814" y="6351"/>
                      </a:lnTo>
                      <a:lnTo>
                        <a:pt x="2776" y="6244"/>
                      </a:lnTo>
                      <a:lnTo>
                        <a:pt x="2853" y="6031"/>
                      </a:lnTo>
                      <a:lnTo>
                        <a:pt x="2968" y="5764"/>
                      </a:lnTo>
                      <a:lnTo>
                        <a:pt x="3161" y="5497"/>
                      </a:lnTo>
                      <a:lnTo>
                        <a:pt x="3200" y="5390"/>
                      </a:lnTo>
                      <a:lnTo>
                        <a:pt x="3277" y="5283"/>
                      </a:lnTo>
                      <a:lnTo>
                        <a:pt x="3354" y="5283"/>
                      </a:lnTo>
                      <a:lnTo>
                        <a:pt x="3547" y="5177"/>
                      </a:lnTo>
                      <a:lnTo>
                        <a:pt x="3624" y="4963"/>
                      </a:lnTo>
                      <a:lnTo>
                        <a:pt x="3701" y="4963"/>
                      </a:lnTo>
                      <a:lnTo>
                        <a:pt x="3701" y="4803"/>
                      </a:lnTo>
                      <a:lnTo>
                        <a:pt x="3739" y="4643"/>
                      </a:lnTo>
                      <a:lnTo>
                        <a:pt x="3817" y="4803"/>
                      </a:lnTo>
                      <a:lnTo>
                        <a:pt x="3855" y="4696"/>
                      </a:lnTo>
                      <a:lnTo>
                        <a:pt x="3894" y="4590"/>
                      </a:lnTo>
                      <a:lnTo>
                        <a:pt x="3932" y="4750"/>
                      </a:lnTo>
                      <a:lnTo>
                        <a:pt x="3855" y="4910"/>
                      </a:lnTo>
                      <a:lnTo>
                        <a:pt x="3971" y="4910"/>
                      </a:lnTo>
                      <a:lnTo>
                        <a:pt x="4009" y="4750"/>
                      </a:lnTo>
                      <a:lnTo>
                        <a:pt x="4125" y="4750"/>
                      </a:lnTo>
                      <a:lnTo>
                        <a:pt x="4163" y="4643"/>
                      </a:lnTo>
                      <a:lnTo>
                        <a:pt x="4241" y="4590"/>
                      </a:lnTo>
                      <a:lnTo>
                        <a:pt x="4241" y="4483"/>
                      </a:lnTo>
                      <a:lnTo>
                        <a:pt x="4241" y="4269"/>
                      </a:lnTo>
                      <a:lnTo>
                        <a:pt x="4356" y="4056"/>
                      </a:lnTo>
                      <a:lnTo>
                        <a:pt x="4356" y="3736"/>
                      </a:lnTo>
                      <a:lnTo>
                        <a:pt x="4318" y="3629"/>
                      </a:lnTo>
                      <a:lnTo>
                        <a:pt x="4241" y="3896"/>
                      </a:lnTo>
                      <a:lnTo>
                        <a:pt x="4202" y="3789"/>
                      </a:lnTo>
                      <a:lnTo>
                        <a:pt x="4086" y="3896"/>
                      </a:lnTo>
                      <a:lnTo>
                        <a:pt x="4125" y="3629"/>
                      </a:lnTo>
                      <a:lnTo>
                        <a:pt x="4241" y="3576"/>
                      </a:lnTo>
                      <a:lnTo>
                        <a:pt x="4202" y="3416"/>
                      </a:lnTo>
                      <a:lnTo>
                        <a:pt x="4048" y="3416"/>
                      </a:lnTo>
                      <a:lnTo>
                        <a:pt x="3971" y="3576"/>
                      </a:lnTo>
                      <a:lnTo>
                        <a:pt x="4048" y="3789"/>
                      </a:lnTo>
                      <a:lnTo>
                        <a:pt x="3894" y="3949"/>
                      </a:lnTo>
                      <a:lnTo>
                        <a:pt x="3855" y="3896"/>
                      </a:lnTo>
                      <a:lnTo>
                        <a:pt x="3932" y="3789"/>
                      </a:lnTo>
                      <a:lnTo>
                        <a:pt x="3855" y="3682"/>
                      </a:lnTo>
                      <a:lnTo>
                        <a:pt x="3855" y="3522"/>
                      </a:lnTo>
                      <a:lnTo>
                        <a:pt x="3739" y="3469"/>
                      </a:lnTo>
                      <a:lnTo>
                        <a:pt x="3739" y="3522"/>
                      </a:lnTo>
                      <a:lnTo>
                        <a:pt x="3662" y="3629"/>
                      </a:lnTo>
                      <a:lnTo>
                        <a:pt x="3624" y="3469"/>
                      </a:lnTo>
                      <a:lnTo>
                        <a:pt x="3624" y="3362"/>
                      </a:lnTo>
                      <a:lnTo>
                        <a:pt x="3585" y="3202"/>
                      </a:lnTo>
                      <a:lnTo>
                        <a:pt x="3470" y="3042"/>
                      </a:lnTo>
                      <a:lnTo>
                        <a:pt x="3354" y="3149"/>
                      </a:lnTo>
                      <a:lnTo>
                        <a:pt x="3200" y="3042"/>
                      </a:lnTo>
                      <a:lnTo>
                        <a:pt x="3084" y="3042"/>
                      </a:lnTo>
                      <a:lnTo>
                        <a:pt x="2930" y="2935"/>
                      </a:lnTo>
                      <a:lnTo>
                        <a:pt x="2737" y="2775"/>
                      </a:lnTo>
                      <a:lnTo>
                        <a:pt x="2660" y="2775"/>
                      </a:lnTo>
                      <a:lnTo>
                        <a:pt x="2544" y="2668"/>
                      </a:lnTo>
                      <a:lnTo>
                        <a:pt x="2429" y="2508"/>
                      </a:lnTo>
                      <a:lnTo>
                        <a:pt x="2159" y="2455"/>
                      </a:lnTo>
                      <a:lnTo>
                        <a:pt x="1889" y="2295"/>
                      </a:lnTo>
                      <a:lnTo>
                        <a:pt x="1619" y="2028"/>
                      </a:lnTo>
                      <a:lnTo>
                        <a:pt x="1619" y="1921"/>
                      </a:lnTo>
                      <a:lnTo>
                        <a:pt x="1465" y="1761"/>
                      </a:lnTo>
                      <a:lnTo>
                        <a:pt x="1349" y="1654"/>
                      </a:lnTo>
                      <a:lnTo>
                        <a:pt x="1272" y="1494"/>
                      </a:lnTo>
                      <a:lnTo>
                        <a:pt x="1157" y="1441"/>
                      </a:lnTo>
                      <a:lnTo>
                        <a:pt x="1002" y="1227"/>
                      </a:lnTo>
                      <a:lnTo>
                        <a:pt x="887" y="1014"/>
                      </a:lnTo>
                      <a:lnTo>
                        <a:pt x="732" y="854"/>
                      </a:lnTo>
                      <a:lnTo>
                        <a:pt x="617" y="801"/>
                      </a:lnTo>
                      <a:lnTo>
                        <a:pt x="540" y="801"/>
                      </a:lnTo>
                      <a:lnTo>
                        <a:pt x="540" y="907"/>
                      </a:lnTo>
                      <a:lnTo>
                        <a:pt x="617" y="1014"/>
                      </a:lnTo>
                      <a:lnTo>
                        <a:pt x="540" y="1227"/>
                      </a:lnTo>
                      <a:lnTo>
                        <a:pt x="424" y="1441"/>
                      </a:lnTo>
                      <a:lnTo>
                        <a:pt x="308" y="1654"/>
                      </a:lnTo>
                      <a:lnTo>
                        <a:pt x="308" y="2028"/>
                      </a:lnTo>
                      <a:lnTo>
                        <a:pt x="231" y="2402"/>
                      </a:lnTo>
                      <a:lnTo>
                        <a:pt x="308" y="2615"/>
                      </a:lnTo>
                      <a:lnTo>
                        <a:pt x="308" y="2829"/>
                      </a:lnTo>
                      <a:lnTo>
                        <a:pt x="386" y="3042"/>
                      </a:lnTo>
                      <a:lnTo>
                        <a:pt x="463" y="3149"/>
                      </a:lnTo>
                      <a:lnTo>
                        <a:pt x="501" y="3202"/>
                      </a:lnTo>
                      <a:lnTo>
                        <a:pt x="501" y="3416"/>
                      </a:lnTo>
                      <a:lnTo>
                        <a:pt x="578" y="3522"/>
                      </a:lnTo>
                      <a:lnTo>
                        <a:pt x="540" y="3789"/>
                      </a:lnTo>
                      <a:lnTo>
                        <a:pt x="540" y="4269"/>
                      </a:lnTo>
                      <a:lnTo>
                        <a:pt x="540" y="4483"/>
                      </a:lnTo>
                      <a:lnTo>
                        <a:pt x="501" y="4590"/>
                      </a:lnTo>
                      <a:lnTo>
                        <a:pt x="463" y="4696"/>
                      </a:lnTo>
                      <a:lnTo>
                        <a:pt x="463" y="5070"/>
                      </a:lnTo>
                      <a:lnTo>
                        <a:pt x="463" y="5390"/>
                      </a:lnTo>
                      <a:lnTo>
                        <a:pt x="540" y="5550"/>
                      </a:lnTo>
                      <a:lnTo>
                        <a:pt x="578" y="5764"/>
                      </a:lnTo>
                      <a:lnTo>
                        <a:pt x="540" y="6031"/>
                      </a:lnTo>
                      <a:lnTo>
                        <a:pt x="501" y="6511"/>
                      </a:lnTo>
                      <a:lnTo>
                        <a:pt x="424" y="6884"/>
                      </a:lnTo>
                      <a:lnTo>
                        <a:pt x="463" y="6991"/>
                      </a:lnTo>
                      <a:lnTo>
                        <a:pt x="501" y="6991"/>
                      </a:lnTo>
                      <a:lnTo>
                        <a:pt x="578" y="6724"/>
                      </a:lnTo>
                      <a:lnTo>
                        <a:pt x="732" y="6724"/>
                      </a:lnTo>
                      <a:lnTo>
                        <a:pt x="732" y="6884"/>
                      </a:lnTo>
                      <a:lnTo>
                        <a:pt x="771" y="6991"/>
                      </a:lnTo>
                      <a:lnTo>
                        <a:pt x="964" y="7045"/>
                      </a:lnTo>
                      <a:lnTo>
                        <a:pt x="1118" y="7205"/>
                      </a:lnTo>
                      <a:lnTo>
                        <a:pt x="887" y="7311"/>
                      </a:lnTo>
                      <a:lnTo>
                        <a:pt x="655" y="7311"/>
                      </a:lnTo>
                      <a:lnTo>
                        <a:pt x="578" y="7365"/>
                      </a:lnTo>
                      <a:lnTo>
                        <a:pt x="578" y="7472"/>
                      </a:lnTo>
                      <a:lnTo>
                        <a:pt x="540" y="7578"/>
                      </a:lnTo>
                      <a:lnTo>
                        <a:pt x="463" y="7472"/>
                      </a:lnTo>
                      <a:lnTo>
                        <a:pt x="463" y="7258"/>
                      </a:lnTo>
                      <a:lnTo>
                        <a:pt x="424" y="7205"/>
                      </a:lnTo>
                      <a:lnTo>
                        <a:pt x="386" y="7311"/>
                      </a:lnTo>
                      <a:lnTo>
                        <a:pt x="386" y="7578"/>
                      </a:lnTo>
                      <a:lnTo>
                        <a:pt x="386" y="7738"/>
                      </a:lnTo>
                      <a:lnTo>
                        <a:pt x="308" y="7952"/>
                      </a:lnTo>
                      <a:lnTo>
                        <a:pt x="347" y="8059"/>
                      </a:lnTo>
                      <a:lnTo>
                        <a:pt x="424" y="8059"/>
                      </a:lnTo>
                      <a:lnTo>
                        <a:pt x="501" y="8165"/>
                      </a:lnTo>
                      <a:lnTo>
                        <a:pt x="578" y="8059"/>
                      </a:lnTo>
                      <a:lnTo>
                        <a:pt x="617" y="8112"/>
                      </a:lnTo>
                      <a:lnTo>
                        <a:pt x="655" y="8112"/>
                      </a:lnTo>
                      <a:lnTo>
                        <a:pt x="732" y="8059"/>
                      </a:lnTo>
                      <a:lnTo>
                        <a:pt x="810" y="8272"/>
                      </a:lnTo>
                      <a:lnTo>
                        <a:pt x="655" y="8379"/>
                      </a:lnTo>
                      <a:lnTo>
                        <a:pt x="578" y="8486"/>
                      </a:lnTo>
                      <a:lnTo>
                        <a:pt x="501" y="8486"/>
                      </a:lnTo>
                      <a:lnTo>
                        <a:pt x="540" y="8966"/>
                      </a:lnTo>
                      <a:lnTo>
                        <a:pt x="463" y="9073"/>
                      </a:lnTo>
                      <a:lnTo>
                        <a:pt x="424" y="9286"/>
                      </a:lnTo>
                      <a:lnTo>
                        <a:pt x="308" y="9500"/>
                      </a:lnTo>
                      <a:lnTo>
                        <a:pt x="193" y="9500"/>
                      </a:lnTo>
                      <a:lnTo>
                        <a:pt x="347" y="8699"/>
                      </a:lnTo>
                      <a:lnTo>
                        <a:pt x="347" y="8486"/>
                      </a:lnTo>
                      <a:lnTo>
                        <a:pt x="308" y="8432"/>
                      </a:lnTo>
                      <a:lnTo>
                        <a:pt x="231" y="8432"/>
                      </a:lnTo>
                      <a:lnTo>
                        <a:pt x="193" y="8806"/>
                      </a:lnTo>
                      <a:lnTo>
                        <a:pt x="154" y="9073"/>
                      </a:lnTo>
                      <a:lnTo>
                        <a:pt x="39" y="9446"/>
                      </a:lnTo>
                      <a:lnTo>
                        <a:pt x="0" y="9660"/>
                      </a:lnTo>
                      <a:lnTo>
                        <a:pt x="39" y="9766"/>
                      </a:lnTo>
                      <a:lnTo>
                        <a:pt x="77" y="9713"/>
                      </a:lnTo>
                      <a:lnTo>
                        <a:pt x="193" y="9820"/>
                      </a:lnTo>
                      <a:lnTo>
                        <a:pt x="231" y="9980"/>
                      </a:lnTo>
                      <a:lnTo>
                        <a:pt x="308" y="10033"/>
                      </a:lnTo>
                      <a:lnTo>
                        <a:pt x="424" y="10033"/>
                      </a:lnTo>
                      <a:lnTo>
                        <a:pt x="501" y="10033"/>
                      </a:lnTo>
                      <a:lnTo>
                        <a:pt x="617" y="10087"/>
                      </a:lnTo>
                      <a:lnTo>
                        <a:pt x="732" y="10033"/>
                      </a:lnTo>
                      <a:lnTo>
                        <a:pt x="771" y="10140"/>
                      </a:lnTo>
                      <a:lnTo>
                        <a:pt x="848" y="10247"/>
                      </a:lnTo>
                      <a:lnTo>
                        <a:pt x="1002" y="10300"/>
                      </a:lnTo>
                      <a:lnTo>
                        <a:pt x="1157" y="10353"/>
                      </a:lnTo>
                      <a:lnTo>
                        <a:pt x="1272" y="10460"/>
                      </a:lnTo>
                      <a:lnTo>
                        <a:pt x="1311" y="10620"/>
                      </a:lnTo>
                      <a:lnTo>
                        <a:pt x="1272" y="10727"/>
                      </a:lnTo>
                      <a:lnTo>
                        <a:pt x="1195" y="10674"/>
                      </a:lnTo>
                      <a:lnTo>
                        <a:pt x="1157" y="10567"/>
                      </a:lnTo>
                      <a:lnTo>
                        <a:pt x="1118" y="10727"/>
                      </a:lnTo>
                      <a:lnTo>
                        <a:pt x="1157" y="10780"/>
                      </a:lnTo>
                      <a:lnTo>
                        <a:pt x="1195" y="10940"/>
                      </a:lnTo>
                      <a:lnTo>
                        <a:pt x="1272" y="10994"/>
                      </a:lnTo>
                      <a:lnTo>
                        <a:pt x="1388" y="11047"/>
                      </a:lnTo>
                      <a:lnTo>
                        <a:pt x="1465" y="10994"/>
                      </a:lnTo>
                      <a:lnTo>
                        <a:pt x="1542" y="10994"/>
                      </a:lnTo>
                      <a:lnTo>
                        <a:pt x="1619" y="10994"/>
                      </a:lnTo>
                      <a:lnTo>
                        <a:pt x="1735" y="11047"/>
                      </a:lnTo>
                      <a:lnTo>
                        <a:pt x="1966" y="11367"/>
                      </a:lnTo>
                      <a:lnTo>
                        <a:pt x="2082" y="11634"/>
                      </a:lnTo>
                      <a:lnTo>
                        <a:pt x="2159" y="12061"/>
                      </a:lnTo>
                      <a:lnTo>
                        <a:pt x="2197" y="12275"/>
                      </a:lnTo>
                      <a:lnTo>
                        <a:pt x="2159" y="12488"/>
                      </a:lnTo>
                      <a:lnTo>
                        <a:pt x="2159" y="12648"/>
                      </a:lnTo>
                      <a:lnTo>
                        <a:pt x="2120" y="12755"/>
                      </a:lnTo>
                      <a:lnTo>
                        <a:pt x="2120" y="12862"/>
                      </a:lnTo>
                      <a:lnTo>
                        <a:pt x="2120" y="12968"/>
                      </a:lnTo>
                      <a:lnTo>
                        <a:pt x="2082" y="13075"/>
                      </a:lnTo>
                      <a:lnTo>
                        <a:pt x="2043" y="13182"/>
                      </a:lnTo>
                      <a:lnTo>
                        <a:pt x="2043" y="13289"/>
                      </a:lnTo>
                      <a:lnTo>
                        <a:pt x="2043" y="13502"/>
                      </a:lnTo>
                      <a:lnTo>
                        <a:pt x="2082" y="13609"/>
                      </a:lnTo>
                      <a:lnTo>
                        <a:pt x="2236" y="13822"/>
                      </a:lnTo>
                      <a:lnTo>
                        <a:pt x="2544" y="14036"/>
                      </a:lnTo>
                      <a:lnTo>
                        <a:pt x="2737" y="14143"/>
                      </a:lnTo>
                      <a:lnTo>
                        <a:pt x="2853" y="14303"/>
                      </a:lnTo>
                      <a:lnTo>
                        <a:pt x="3007" y="14303"/>
                      </a:lnTo>
                      <a:lnTo>
                        <a:pt x="3778" y="14196"/>
                      </a:lnTo>
                      <a:lnTo>
                        <a:pt x="3855" y="14089"/>
                      </a:lnTo>
                      <a:lnTo>
                        <a:pt x="4009" y="14036"/>
                      </a:lnTo>
                      <a:lnTo>
                        <a:pt x="4125" y="14089"/>
                      </a:lnTo>
                      <a:lnTo>
                        <a:pt x="4356" y="14196"/>
                      </a:lnTo>
                      <a:lnTo>
                        <a:pt x="4588" y="14196"/>
                      </a:lnTo>
                      <a:lnTo>
                        <a:pt x="4665" y="14249"/>
                      </a:lnTo>
                      <a:lnTo>
                        <a:pt x="4857" y="14356"/>
                      </a:lnTo>
                      <a:lnTo>
                        <a:pt x="4973" y="14409"/>
                      </a:lnTo>
                      <a:lnTo>
                        <a:pt x="5089" y="14463"/>
                      </a:lnTo>
                      <a:lnTo>
                        <a:pt x="5166" y="14569"/>
                      </a:lnTo>
                      <a:lnTo>
                        <a:pt x="5281" y="14730"/>
                      </a:lnTo>
                      <a:lnTo>
                        <a:pt x="5320" y="14943"/>
                      </a:lnTo>
                      <a:lnTo>
                        <a:pt x="5436" y="14943"/>
                      </a:lnTo>
                      <a:lnTo>
                        <a:pt x="5590" y="14836"/>
                      </a:lnTo>
                      <a:lnTo>
                        <a:pt x="5821" y="14943"/>
                      </a:lnTo>
                      <a:lnTo>
                        <a:pt x="5937" y="14996"/>
                      </a:lnTo>
                      <a:lnTo>
                        <a:pt x="6515" y="14836"/>
                      </a:lnTo>
                      <a:lnTo>
                        <a:pt x="6631" y="14836"/>
                      </a:lnTo>
                      <a:lnTo>
                        <a:pt x="6708" y="14943"/>
                      </a:lnTo>
                      <a:lnTo>
                        <a:pt x="6785" y="15050"/>
                      </a:lnTo>
                      <a:lnTo>
                        <a:pt x="6901" y="15157"/>
                      </a:lnTo>
                      <a:lnTo>
                        <a:pt x="7440" y="15157"/>
                      </a:lnTo>
                      <a:lnTo>
                        <a:pt x="7633" y="15050"/>
                      </a:lnTo>
                      <a:lnTo>
                        <a:pt x="7787" y="15050"/>
                      </a:lnTo>
                      <a:lnTo>
                        <a:pt x="7941" y="15050"/>
                      </a:lnTo>
                      <a:lnTo>
                        <a:pt x="8250" y="14996"/>
                      </a:lnTo>
                      <a:lnTo>
                        <a:pt x="8327" y="15050"/>
                      </a:lnTo>
                      <a:lnTo>
                        <a:pt x="8635" y="15050"/>
                      </a:lnTo>
                      <a:lnTo>
                        <a:pt x="8751" y="14996"/>
                      </a:lnTo>
                      <a:lnTo>
                        <a:pt x="8867" y="14890"/>
                      </a:lnTo>
                      <a:lnTo>
                        <a:pt x="8982" y="14890"/>
                      </a:lnTo>
                      <a:lnTo>
                        <a:pt x="9098" y="14996"/>
                      </a:lnTo>
                      <a:lnTo>
                        <a:pt x="9214" y="15050"/>
                      </a:lnTo>
                      <a:lnTo>
                        <a:pt x="9329" y="15050"/>
                      </a:lnTo>
                      <a:lnTo>
                        <a:pt x="9445" y="14996"/>
                      </a:lnTo>
                      <a:lnTo>
                        <a:pt x="9599" y="15103"/>
                      </a:lnTo>
                      <a:lnTo>
                        <a:pt x="9753" y="15157"/>
                      </a:lnTo>
                      <a:lnTo>
                        <a:pt x="10023" y="15103"/>
                      </a:lnTo>
                      <a:lnTo>
                        <a:pt x="10177" y="14996"/>
                      </a:lnTo>
                      <a:lnTo>
                        <a:pt x="10254" y="14996"/>
                      </a:lnTo>
                      <a:lnTo>
                        <a:pt x="12298" y="15637"/>
                      </a:lnTo>
                      <a:lnTo>
                        <a:pt x="12336" y="15690"/>
                      </a:lnTo>
                      <a:lnTo>
                        <a:pt x="13107" y="15904"/>
                      </a:lnTo>
                      <a:lnTo>
                        <a:pt x="13416" y="16010"/>
                      </a:lnTo>
                      <a:lnTo>
                        <a:pt x="14572" y="16384"/>
                      </a:lnTo>
                      <a:lnTo>
                        <a:pt x="14572" y="16117"/>
                      </a:lnTo>
                      <a:lnTo>
                        <a:pt x="14688" y="15690"/>
                      </a:lnTo>
                      <a:lnTo>
                        <a:pt x="14649" y="15530"/>
                      </a:lnTo>
                      <a:lnTo>
                        <a:pt x="14649" y="15263"/>
                      </a:lnTo>
                      <a:lnTo>
                        <a:pt x="14572" y="14943"/>
                      </a:lnTo>
                      <a:lnTo>
                        <a:pt x="14611" y="14783"/>
                      </a:lnTo>
                      <a:lnTo>
                        <a:pt x="14649" y="14569"/>
                      </a:lnTo>
                      <a:lnTo>
                        <a:pt x="14726" y="14143"/>
                      </a:lnTo>
                      <a:lnTo>
                        <a:pt x="15112" y="11688"/>
                      </a:lnTo>
                      <a:lnTo>
                        <a:pt x="15189" y="11207"/>
                      </a:lnTo>
                      <a:lnTo>
                        <a:pt x="15266" y="10727"/>
                      </a:lnTo>
                      <a:lnTo>
                        <a:pt x="15652" y="8272"/>
                      </a:lnTo>
                      <a:lnTo>
                        <a:pt x="15729" y="7952"/>
                      </a:lnTo>
                      <a:lnTo>
                        <a:pt x="16268" y="4696"/>
                      </a:lnTo>
                      <a:lnTo>
                        <a:pt x="16384" y="4056"/>
                      </a:lnTo>
                      <a:lnTo>
                        <a:pt x="15574" y="3736"/>
                      </a:lnTo>
                      <a:lnTo>
                        <a:pt x="13994" y="3309"/>
                      </a:lnTo>
                      <a:lnTo>
                        <a:pt x="12722" y="2829"/>
                      </a:lnTo>
                      <a:lnTo>
                        <a:pt x="11719" y="2508"/>
                      </a:lnTo>
                      <a:lnTo>
                        <a:pt x="10139" y="1921"/>
                      </a:lnTo>
                      <a:lnTo>
                        <a:pt x="8674" y="1388"/>
                      </a:lnTo>
                      <a:lnTo>
                        <a:pt x="7556" y="961"/>
                      </a:lnTo>
                      <a:lnTo>
                        <a:pt x="6207" y="480"/>
                      </a:lnTo>
                      <a:lnTo>
                        <a:pt x="4973" y="0"/>
                      </a:lnTo>
                      <a:lnTo>
                        <a:pt x="4973" y="107"/>
                      </a:lnTo>
                      <a:lnTo>
                        <a:pt x="4896" y="53"/>
                      </a:lnTo>
                      <a:lnTo>
                        <a:pt x="4857" y="53"/>
                      </a:lnTo>
                      <a:lnTo>
                        <a:pt x="4857" y="160"/>
                      </a:lnTo>
                      <a:lnTo>
                        <a:pt x="4934" y="213"/>
                      </a:lnTo>
                      <a:lnTo>
                        <a:pt x="4934" y="320"/>
                      </a:lnTo>
                      <a:lnTo>
                        <a:pt x="4857" y="320"/>
                      </a:lnTo>
                      <a:lnTo>
                        <a:pt x="4819" y="427"/>
                      </a:lnTo>
                      <a:lnTo>
                        <a:pt x="4896" y="534"/>
                      </a:lnTo>
                      <a:lnTo>
                        <a:pt x="4934" y="640"/>
                      </a:lnTo>
                      <a:lnTo>
                        <a:pt x="4896" y="854"/>
                      </a:lnTo>
                      <a:lnTo>
                        <a:pt x="4973" y="961"/>
                      </a:lnTo>
                      <a:lnTo>
                        <a:pt x="4934" y="1121"/>
                      </a:lnTo>
                      <a:lnTo>
                        <a:pt x="5012" y="1174"/>
                      </a:lnTo>
                      <a:lnTo>
                        <a:pt x="5127" y="1014"/>
                      </a:lnTo>
                      <a:lnTo>
                        <a:pt x="5204" y="1067"/>
                      </a:lnTo>
                      <a:lnTo>
                        <a:pt x="5281" y="1174"/>
                      </a:lnTo>
                      <a:lnTo>
                        <a:pt x="5281" y="1281"/>
                      </a:lnTo>
                      <a:lnTo>
                        <a:pt x="5204" y="1334"/>
                      </a:lnTo>
                      <a:lnTo>
                        <a:pt x="5281" y="1441"/>
                      </a:lnTo>
                      <a:lnTo>
                        <a:pt x="5243" y="1494"/>
                      </a:lnTo>
                      <a:lnTo>
                        <a:pt x="5204" y="1601"/>
                      </a:lnTo>
                      <a:lnTo>
                        <a:pt x="5243" y="1708"/>
                      </a:lnTo>
                      <a:lnTo>
                        <a:pt x="5281" y="1815"/>
                      </a:lnTo>
                      <a:lnTo>
                        <a:pt x="5243" y="1975"/>
                      </a:lnTo>
                      <a:lnTo>
                        <a:pt x="5127" y="1975"/>
                      </a:lnTo>
                      <a:lnTo>
                        <a:pt x="5127" y="2135"/>
                      </a:lnTo>
                      <a:lnTo>
                        <a:pt x="5050" y="2402"/>
                      </a:lnTo>
                      <a:lnTo>
                        <a:pt x="5012" y="2402"/>
                      </a:lnTo>
                      <a:lnTo>
                        <a:pt x="4973" y="2241"/>
                      </a:lnTo>
                      <a:lnTo>
                        <a:pt x="4857" y="2295"/>
                      </a:lnTo>
                      <a:lnTo>
                        <a:pt x="4857" y="2135"/>
                      </a:lnTo>
                      <a:lnTo>
                        <a:pt x="4780" y="2028"/>
                      </a:lnTo>
                      <a:lnTo>
                        <a:pt x="4703" y="2135"/>
                      </a:lnTo>
                      <a:lnTo>
                        <a:pt x="4742" y="2295"/>
                      </a:lnTo>
                      <a:lnTo>
                        <a:pt x="4703" y="2402"/>
                      </a:lnTo>
                      <a:lnTo>
                        <a:pt x="4780" y="2455"/>
                      </a:lnTo>
                      <a:lnTo>
                        <a:pt x="4896" y="2455"/>
                      </a:lnTo>
                      <a:lnTo>
                        <a:pt x="4857" y="2668"/>
                      </a:lnTo>
                      <a:lnTo>
                        <a:pt x="4973" y="2775"/>
                      </a:lnTo>
                      <a:lnTo>
                        <a:pt x="5012" y="2882"/>
                      </a:lnTo>
                      <a:lnTo>
                        <a:pt x="5089" y="3042"/>
                      </a:lnTo>
                      <a:lnTo>
                        <a:pt x="5127" y="3095"/>
                      </a:lnTo>
                      <a:lnTo>
                        <a:pt x="5127" y="3255"/>
                      </a:lnTo>
                      <a:lnTo>
                        <a:pt x="5089" y="3362"/>
                      </a:lnTo>
                      <a:lnTo>
                        <a:pt x="5050" y="3629"/>
                      </a:lnTo>
                      <a:lnTo>
                        <a:pt x="5012" y="3949"/>
                      </a:lnTo>
                      <a:lnTo>
                        <a:pt x="5127" y="4216"/>
                      </a:lnTo>
                      <a:lnTo>
                        <a:pt x="5281" y="4269"/>
                      </a:lnTo>
                      <a:lnTo>
                        <a:pt x="5204" y="4376"/>
                      </a:lnTo>
                      <a:lnTo>
                        <a:pt x="5166" y="4483"/>
                      </a:lnTo>
                      <a:lnTo>
                        <a:pt x="5012" y="4536"/>
                      </a:lnTo>
                      <a:lnTo>
                        <a:pt x="4934" y="4696"/>
                      </a:lnTo>
                      <a:lnTo>
                        <a:pt x="4819" y="4910"/>
                      </a:lnTo>
                      <a:lnTo>
                        <a:pt x="4703" y="5070"/>
                      </a:lnTo>
                      <a:lnTo>
                        <a:pt x="4703" y="5230"/>
                      </a:lnTo>
                      <a:lnTo>
                        <a:pt x="4665" y="5390"/>
                      </a:lnTo>
                      <a:lnTo>
                        <a:pt x="4626" y="5604"/>
                      </a:lnTo>
                      <a:lnTo>
                        <a:pt x="4510" y="5657"/>
                      </a:lnTo>
                      <a:lnTo>
                        <a:pt x="4588" y="5764"/>
                      </a:lnTo>
                      <a:lnTo>
                        <a:pt x="4626" y="5870"/>
                      </a:lnTo>
                      <a:lnTo>
                        <a:pt x="4588" y="5977"/>
                      </a:lnTo>
                      <a:lnTo>
                        <a:pt x="4472" y="5977"/>
                      </a:lnTo>
                      <a:lnTo>
                        <a:pt x="4472" y="6137"/>
                      </a:lnTo>
                      <a:lnTo>
                        <a:pt x="4472" y="6404"/>
                      </a:lnTo>
                      <a:lnTo>
                        <a:pt x="4472" y="6564"/>
                      </a:lnTo>
                      <a:lnTo>
                        <a:pt x="4472" y="6724"/>
                      </a:lnTo>
                      <a:lnTo>
                        <a:pt x="4472" y="6938"/>
                      </a:lnTo>
                      <a:lnTo>
                        <a:pt x="4356" y="6938"/>
                      </a:lnTo>
                      <a:lnTo>
                        <a:pt x="4202" y="7045"/>
                      </a:lnTo>
                      <a:lnTo>
                        <a:pt x="4202" y="7151"/>
                      </a:lnTo>
                      <a:lnTo>
                        <a:pt x="4202" y="7311"/>
                      </a:lnTo>
                      <a:lnTo>
                        <a:pt x="4086" y="7205"/>
                      </a:lnTo>
                      <a:lnTo>
                        <a:pt x="4048" y="7045"/>
                      </a:lnTo>
                      <a:lnTo>
                        <a:pt x="4009" y="6991"/>
                      </a:lnTo>
                      <a:lnTo>
                        <a:pt x="3971" y="7151"/>
                      </a:lnTo>
                      <a:lnTo>
                        <a:pt x="3894" y="7205"/>
                      </a:lnTo>
                      <a:lnTo>
                        <a:pt x="3778" y="7418"/>
                      </a:lnTo>
                      <a:lnTo>
                        <a:pt x="3662" y="7525"/>
                      </a:lnTo>
                      <a:lnTo>
                        <a:pt x="3547" y="7685"/>
                      </a:lnTo>
                      <a:lnTo>
                        <a:pt x="3470" y="7685"/>
                      </a:lnTo>
                      <a:lnTo>
                        <a:pt x="3354" y="7632"/>
                      </a:lnTo>
                      <a:lnTo>
                        <a:pt x="3354" y="7525"/>
                      </a:lnTo>
                      <a:lnTo>
                        <a:pt x="3354" y="7418"/>
                      </a:lnTo>
                      <a:lnTo>
                        <a:pt x="3277" y="7365"/>
                      </a:lnTo>
                      <a:lnTo>
                        <a:pt x="3238" y="7525"/>
                      </a:lnTo>
                      <a:lnTo>
                        <a:pt x="3200" y="7418"/>
                      </a:lnTo>
                      <a:lnTo>
                        <a:pt x="3123" y="7418"/>
                      </a:lnTo>
                      <a:lnTo>
                        <a:pt x="3084" y="7525"/>
                      </a:lnTo>
                      <a:lnTo>
                        <a:pt x="3045" y="7792"/>
                      </a:lnTo>
                      <a:lnTo>
                        <a:pt x="2968" y="7792"/>
                      </a:lnTo>
                      <a:lnTo>
                        <a:pt x="3007" y="7472"/>
                      </a:lnTo>
                      <a:lnTo>
                        <a:pt x="2930" y="7525"/>
                      </a:lnTo>
                      <a:lnTo>
                        <a:pt x="2853" y="7525"/>
                      </a:lnTo>
                      <a:lnTo>
                        <a:pt x="2930" y="7418"/>
                      </a:lnTo>
                      <a:lnTo>
                        <a:pt x="3045" y="7258"/>
                      </a:lnTo>
                      <a:lnTo>
                        <a:pt x="3007" y="7205"/>
                      </a:lnTo>
                      <a:lnTo>
                        <a:pt x="2891" y="7258"/>
                      </a:lnTo>
                      <a:lnTo>
                        <a:pt x="2776" y="7365"/>
                      </a:lnTo>
                      <a:lnTo>
                        <a:pt x="2814" y="7258"/>
                      </a:lnTo>
                      <a:lnTo>
                        <a:pt x="2930" y="7151"/>
                      </a:lnTo>
                      <a:lnTo>
                        <a:pt x="2968" y="7098"/>
                      </a:lnTo>
                      <a:lnTo>
                        <a:pt x="2776" y="6991"/>
                      </a:lnTo>
                      <a:lnTo>
                        <a:pt x="2853" y="6831"/>
                      </a:lnTo>
                      <a:lnTo>
                        <a:pt x="2930" y="6831"/>
                      </a:lnTo>
                      <a:lnTo>
                        <a:pt x="2891" y="6938"/>
                      </a:lnTo>
                      <a:lnTo>
                        <a:pt x="3084" y="6991"/>
                      </a:lnTo>
                      <a:lnTo>
                        <a:pt x="3123" y="6938"/>
                      </a:lnTo>
                      <a:lnTo>
                        <a:pt x="3161" y="6724"/>
                      </a:lnTo>
                      <a:lnTo>
                        <a:pt x="3315" y="6671"/>
                      </a:lnTo>
                      <a:lnTo>
                        <a:pt x="3392" y="6671"/>
                      </a:lnTo>
                      <a:lnTo>
                        <a:pt x="3431" y="6564"/>
                      </a:lnTo>
                      <a:lnTo>
                        <a:pt x="3470" y="6404"/>
                      </a:lnTo>
                      <a:lnTo>
                        <a:pt x="3508" y="6458"/>
                      </a:lnTo>
                      <a:lnTo>
                        <a:pt x="3508" y="6618"/>
                      </a:lnTo>
                      <a:lnTo>
                        <a:pt x="3508" y="6671"/>
                      </a:lnTo>
                      <a:lnTo>
                        <a:pt x="3431" y="6831"/>
                      </a:lnTo>
                      <a:lnTo>
                        <a:pt x="3354" y="7045"/>
                      </a:lnTo>
                      <a:lnTo>
                        <a:pt x="3354" y="7258"/>
                      </a:lnTo>
                      <a:lnTo>
                        <a:pt x="3431" y="7311"/>
                      </a:lnTo>
                      <a:lnTo>
                        <a:pt x="3470" y="7151"/>
                      </a:lnTo>
                      <a:lnTo>
                        <a:pt x="3547" y="7098"/>
                      </a:lnTo>
                      <a:lnTo>
                        <a:pt x="3508" y="6884"/>
                      </a:lnTo>
                      <a:lnTo>
                        <a:pt x="3547" y="6778"/>
                      </a:lnTo>
                      <a:lnTo>
                        <a:pt x="3701" y="6618"/>
                      </a:lnTo>
                      <a:lnTo>
                        <a:pt x="3855" y="6564"/>
                      </a:lnTo>
                      <a:lnTo>
                        <a:pt x="3855" y="6671"/>
                      </a:lnTo>
                      <a:lnTo>
                        <a:pt x="3739" y="6778"/>
                      </a:lnTo>
                      <a:lnTo>
                        <a:pt x="3701" y="6938"/>
                      </a:lnTo>
                      <a:lnTo>
                        <a:pt x="3778" y="7045"/>
                      </a:lnTo>
                      <a:lnTo>
                        <a:pt x="3855" y="7098"/>
                      </a:lnTo>
                      <a:lnTo>
                        <a:pt x="3894" y="7151"/>
                      </a:lnTo>
                      <a:lnTo>
                        <a:pt x="3894" y="7045"/>
                      </a:lnTo>
                      <a:lnTo>
                        <a:pt x="3894" y="6831"/>
                      </a:lnTo>
                      <a:lnTo>
                        <a:pt x="3971" y="6778"/>
                      </a:lnTo>
                      <a:lnTo>
                        <a:pt x="4009" y="6618"/>
                      </a:lnTo>
                      <a:lnTo>
                        <a:pt x="4048" y="6564"/>
                      </a:lnTo>
                      <a:close/>
                    </a:path>
                  </a:pathLst>
                </a:custGeom>
                <a:solidFill>
                  <a:srgbClr val="FF0000"/>
                </a:solidFill>
                <a:ln w="9525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defTabSz="121917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65" name="West_Virginia">
                  <a:extLst>
                    <a:ext uri="{FF2B5EF4-FFF2-40B4-BE49-F238E27FC236}">
                      <a16:creationId xmlns:a16="http://schemas.microsoft.com/office/drawing/2014/main" id="{ADB862AF-EE42-B8C7-F332-45B24CA31CC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3679150" y="7105650"/>
                  <a:ext cx="2686050" cy="2543175"/>
                </a:xfrm>
                <a:custGeom>
                  <a:avLst/>
                  <a:gdLst>
                    <a:gd name="T0" fmla="*/ 2147483647 w 16384"/>
                    <a:gd name="T1" fmla="*/ 2147483647 h 16384"/>
                    <a:gd name="T2" fmla="*/ 2147483647 w 16384"/>
                    <a:gd name="T3" fmla="*/ 2147483647 h 16384"/>
                    <a:gd name="T4" fmla="*/ 2147483647 w 16384"/>
                    <a:gd name="T5" fmla="*/ 2147483647 h 16384"/>
                    <a:gd name="T6" fmla="*/ 2147483647 w 16384"/>
                    <a:gd name="T7" fmla="*/ 2147483647 h 16384"/>
                    <a:gd name="T8" fmla="*/ 2147483647 w 16384"/>
                    <a:gd name="T9" fmla="*/ 2147483647 h 16384"/>
                    <a:gd name="T10" fmla="*/ 2147483647 w 16384"/>
                    <a:gd name="T11" fmla="*/ 2147483647 h 16384"/>
                    <a:gd name="T12" fmla="*/ 2147483647 w 16384"/>
                    <a:gd name="T13" fmla="*/ 2147483647 h 16384"/>
                    <a:gd name="T14" fmla="*/ 2147483647 w 16384"/>
                    <a:gd name="T15" fmla="*/ 2147483647 h 16384"/>
                    <a:gd name="T16" fmla="*/ 2147483647 w 16384"/>
                    <a:gd name="T17" fmla="*/ 2147483647 h 16384"/>
                    <a:gd name="T18" fmla="*/ 2147483647 w 16384"/>
                    <a:gd name="T19" fmla="*/ 2147483647 h 16384"/>
                    <a:gd name="T20" fmla="*/ 2147483647 w 16384"/>
                    <a:gd name="T21" fmla="*/ 2147483647 h 16384"/>
                    <a:gd name="T22" fmla="*/ 2147483647 w 16384"/>
                    <a:gd name="T23" fmla="*/ 2147483647 h 16384"/>
                    <a:gd name="T24" fmla="*/ 2147483647 w 16384"/>
                    <a:gd name="T25" fmla="*/ 2147483647 h 16384"/>
                    <a:gd name="T26" fmla="*/ 2147483647 w 16384"/>
                    <a:gd name="T27" fmla="*/ 2147483647 h 16384"/>
                    <a:gd name="T28" fmla="*/ 2147483647 w 16384"/>
                    <a:gd name="T29" fmla="*/ 2147483647 h 16384"/>
                    <a:gd name="T30" fmla="*/ 2147483647 w 16384"/>
                    <a:gd name="T31" fmla="*/ 2147483647 h 16384"/>
                    <a:gd name="T32" fmla="*/ 2147483647 w 16384"/>
                    <a:gd name="T33" fmla="*/ 2147483647 h 16384"/>
                    <a:gd name="T34" fmla="*/ 2147483647 w 16384"/>
                    <a:gd name="T35" fmla="*/ 2147483647 h 16384"/>
                    <a:gd name="T36" fmla="*/ 2147483647 w 16384"/>
                    <a:gd name="T37" fmla="*/ 2147483647 h 16384"/>
                    <a:gd name="T38" fmla="*/ 2147483647 w 16384"/>
                    <a:gd name="T39" fmla="*/ 2147483647 h 16384"/>
                    <a:gd name="T40" fmla="*/ 2147483647 w 16384"/>
                    <a:gd name="T41" fmla="*/ 2147483647 h 16384"/>
                    <a:gd name="T42" fmla="*/ 2147483647 w 16384"/>
                    <a:gd name="T43" fmla="*/ 2147483647 h 16384"/>
                    <a:gd name="T44" fmla="*/ 2147483647 w 16384"/>
                    <a:gd name="T45" fmla="*/ 2147483647 h 16384"/>
                    <a:gd name="T46" fmla="*/ 2147483647 w 16384"/>
                    <a:gd name="T47" fmla="*/ 2147483647 h 16384"/>
                    <a:gd name="T48" fmla="*/ 2147483647 w 16384"/>
                    <a:gd name="T49" fmla="*/ 2147483647 h 16384"/>
                    <a:gd name="T50" fmla="*/ 2147483647 w 16384"/>
                    <a:gd name="T51" fmla="*/ 2147483647 h 16384"/>
                    <a:gd name="T52" fmla="*/ 2147483647 w 16384"/>
                    <a:gd name="T53" fmla="*/ 2147483647 h 16384"/>
                    <a:gd name="T54" fmla="*/ 2147483647 w 16384"/>
                    <a:gd name="T55" fmla="*/ 2147483647 h 16384"/>
                    <a:gd name="T56" fmla="*/ 2147483647 w 16384"/>
                    <a:gd name="T57" fmla="*/ 2147483647 h 16384"/>
                    <a:gd name="T58" fmla="*/ 2147483647 w 16384"/>
                    <a:gd name="T59" fmla="*/ 2147483647 h 16384"/>
                    <a:gd name="T60" fmla="*/ 2147483647 w 16384"/>
                    <a:gd name="T61" fmla="*/ 2147483647 h 16384"/>
                    <a:gd name="T62" fmla="*/ 2147483647 w 16384"/>
                    <a:gd name="T63" fmla="*/ 2147483647 h 16384"/>
                    <a:gd name="T64" fmla="*/ 2147483647 w 16384"/>
                    <a:gd name="T65" fmla="*/ 2147483647 h 16384"/>
                    <a:gd name="T66" fmla="*/ 2147483647 w 16384"/>
                    <a:gd name="T67" fmla="*/ 2147483647 h 16384"/>
                    <a:gd name="T68" fmla="*/ 2147483647 w 16384"/>
                    <a:gd name="T69" fmla="*/ 2147483647 h 16384"/>
                    <a:gd name="T70" fmla="*/ 2147483647 w 16384"/>
                    <a:gd name="T71" fmla="*/ 2147483647 h 16384"/>
                    <a:gd name="T72" fmla="*/ 2147483647 w 16384"/>
                    <a:gd name="T73" fmla="*/ 2147483647 h 16384"/>
                    <a:gd name="T74" fmla="*/ 2147483647 w 16384"/>
                    <a:gd name="T75" fmla="*/ 2147483647 h 16384"/>
                    <a:gd name="T76" fmla="*/ 2147483647 w 16384"/>
                    <a:gd name="T77" fmla="*/ 2147483647 h 16384"/>
                    <a:gd name="T78" fmla="*/ 2147483647 w 16384"/>
                    <a:gd name="T79" fmla="*/ 2147483647 h 16384"/>
                    <a:gd name="T80" fmla="*/ 2147483647 w 16384"/>
                    <a:gd name="T81" fmla="*/ 2147483647 h 16384"/>
                    <a:gd name="T82" fmla="*/ 2147483647 w 16384"/>
                    <a:gd name="T83" fmla="*/ 2147483647 h 16384"/>
                    <a:gd name="T84" fmla="*/ 2147483647 w 16384"/>
                    <a:gd name="T85" fmla="*/ 2147483647 h 16384"/>
                    <a:gd name="T86" fmla="*/ 2147483647 w 16384"/>
                    <a:gd name="T87" fmla="*/ 2147483647 h 16384"/>
                    <a:gd name="T88" fmla="*/ 2147483647 w 16384"/>
                    <a:gd name="T89" fmla="*/ 2147483647 h 16384"/>
                    <a:gd name="T90" fmla="*/ 2147483647 w 16384"/>
                    <a:gd name="T91" fmla="*/ 2147483647 h 16384"/>
                    <a:gd name="T92" fmla="*/ 2147483647 w 16384"/>
                    <a:gd name="T93" fmla="*/ 2147483647 h 16384"/>
                    <a:gd name="T94" fmla="*/ 2147483647 w 16384"/>
                    <a:gd name="T95" fmla="*/ 2147483647 h 16384"/>
                    <a:gd name="T96" fmla="*/ 2147483647 w 16384"/>
                    <a:gd name="T97" fmla="*/ 2147483647 h 16384"/>
                    <a:gd name="T98" fmla="*/ 2147483647 w 16384"/>
                    <a:gd name="T99" fmla="*/ 2147483647 h 16384"/>
                    <a:gd name="T100" fmla="*/ 2147483647 w 16384"/>
                    <a:gd name="T101" fmla="*/ 2147483647 h 16384"/>
                    <a:gd name="T102" fmla="*/ 2147483647 w 16384"/>
                    <a:gd name="T103" fmla="*/ 2147483647 h 16384"/>
                    <a:gd name="T104" fmla="*/ 2147483647 w 16384"/>
                    <a:gd name="T105" fmla="*/ 2147483647 h 16384"/>
                    <a:gd name="T106" fmla="*/ 2147483647 w 16384"/>
                    <a:gd name="T107" fmla="*/ 2147483647 h 16384"/>
                    <a:gd name="T108" fmla="*/ 2147483647 w 16384"/>
                    <a:gd name="T109" fmla="*/ 2147483647 h 16384"/>
                    <a:gd name="T110" fmla="*/ 2147483647 w 16384"/>
                    <a:gd name="T111" fmla="*/ 2147483647 h 16384"/>
                    <a:gd name="T112" fmla="*/ 2147483647 w 16384"/>
                    <a:gd name="T113" fmla="*/ 2147483647 h 16384"/>
                    <a:gd name="T114" fmla="*/ 2147483647 w 16384"/>
                    <a:gd name="T115" fmla="*/ 2147483647 h 16384"/>
                    <a:gd name="T116" fmla="*/ 2147483647 w 16384"/>
                    <a:gd name="T117" fmla="*/ 2147483647 h 16384"/>
                    <a:gd name="T118" fmla="*/ 2147483647 w 16384"/>
                    <a:gd name="T119" fmla="*/ 2147483647 h 16384"/>
                    <a:gd name="T120" fmla="*/ 2147483647 w 16384"/>
                    <a:gd name="T121" fmla="*/ 2147483647 h 16384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60000 65536"/>
                    <a:gd name="T178" fmla="*/ 0 60000 65536"/>
                    <a:gd name="T179" fmla="*/ 0 60000 65536"/>
                    <a:gd name="T180" fmla="*/ 0 60000 65536"/>
                    <a:gd name="T181" fmla="*/ 0 60000 65536"/>
                    <a:gd name="T182" fmla="*/ 0 60000 65536"/>
                    <a:gd name="T183" fmla="*/ 0 w 16384"/>
                    <a:gd name="T184" fmla="*/ 0 h 16384"/>
                    <a:gd name="T185" fmla="*/ 16384 w 16384"/>
                    <a:gd name="T186" fmla="*/ 16384 h 16384"/>
                  </a:gdLst>
                  <a:ahLst/>
                  <a:cxnLst>
                    <a:cxn ang="T122">
                      <a:pos x="T0" y="T1"/>
                    </a:cxn>
                    <a:cxn ang="T123">
                      <a:pos x="T2" y="T3"/>
                    </a:cxn>
                    <a:cxn ang="T124">
                      <a:pos x="T4" y="T5"/>
                    </a:cxn>
                    <a:cxn ang="T125">
                      <a:pos x="T6" y="T7"/>
                    </a:cxn>
                    <a:cxn ang="T126">
                      <a:pos x="T8" y="T9"/>
                    </a:cxn>
                    <a:cxn ang="T127">
                      <a:pos x="T10" y="T11"/>
                    </a:cxn>
                    <a:cxn ang="T128">
                      <a:pos x="T12" y="T13"/>
                    </a:cxn>
                    <a:cxn ang="T129">
                      <a:pos x="T14" y="T15"/>
                    </a:cxn>
                    <a:cxn ang="T130">
                      <a:pos x="T16" y="T17"/>
                    </a:cxn>
                    <a:cxn ang="T131">
                      <a:pos x="T18" y="T19"/>
                    </a:cxn>
                    <a:cxn ang="T132">
                      <a:pos x="T20" y="T21"/>
                    </a:cxn>
                    <a:cxn ang="T133">
                      <a:pos x="T22" y="T23"/>
                    </a:cxn>
                    <a:cxn ang="T134">
                      <a:pos x="T24" y="T25"/>
                    </a:cxn>
                    <a:cxn ang="T135">
                      <a:pos x="T26" y="T27"/>
                    </a:cxn>
                    <a:cxn ang="T136">
                      <a:pos x="T28" y="T29"/>
                    </a:cxn>
                    <a:cxn ang="T137">
                      <a:pos x="T30" y="T31"/>
                    </a:cxn>
                    <a:cxn ang="T138">
                      <a:pos x="T32" y="T33"/>
                    </a:cxn>
                    <a:cxn ang="T139">
                      <a:pos x="T34" y="T35"/>
                    </a:cxn>
                    <a:cxn ang="T140">
                      <a:pos x="T36" y="T37"/>
                    </a:cxn>
                    <a:cxn ang="T141">
                      <a:pos x="T38" y="T39"/>
                    </a:cxn>
                    <a:cxn ang="T142">
                      <a:pos x="T40" y="T41"/>
                    </a:cxn>
                    <a:cxn ang="T143">
                      <a:pos x="T42" y="T43"/>
                    </a:cxn>
                    <a:cxn ang="T144">
                      <a:pos x="T44" y="T45"/>
                    </a:cxn>
                    <a:cxn ang="T145">
                      <a:pos x="T46" y="T47"/>
                    </a:cxn>
                    <a:cxn ang="T146">
                      <a:pos x="T48" y="T49"/>
                    </a:cxn>
                    <a:cxn ang="T147">
                      <a:pos x="T50" y="T51"/>
                    </a:cxn>
                    <a:cxn ang="T148">
                      <a:pos x="T52" y="T53"/>
                    </a:cxn>
                    <a:cxn ang="T149">
                      <a:pos x="T54" y="T55"/>
                    </a:cxn>
                    <a:cxn ang="T150">
                      <a:pos x="T56" y="T57"/>
                    </a:cxn>
                    <a:cxn ang="T151">
                      <a:pos x="T58" y="T59"/>
                    </a:cxn>
                    <a:cxn ang="T152">
                      <a:pos x="T60" y="T61"/>
                    </a:cxn>
                    <a:cxn ang="T153">
                      <a:pos x="T62" y="T63"/>
                    </a:cxn>
                    <a:cxn ang="T154">
                      <a:pos x="T64" y="T65"/>
                    </a:cxn>
                    <a:cxn ang="T155">
                      <a:pos x="T66" y="T67"/>
                    </a:cxn>
                    <a:cxn ang="T156">
                      <a:pos x="T68" y="T69"/>
                    </a:cxn>
                    <a:cxn ang="T157">
                      <a:pos x="T70" y="T71"/>
                    </a:cxn>
                    <a:cxn ang="T158">
                      <a:pos x="T72" y="T73"/>
                    </a:cxn>
                    <a:cxn ang="T159">
                      <a:pos x="T74" y="T75"/>
                    </a:cxn>
                    <a:cxn ang="T160">
                      <a:pos x="T76" y="T77"/>
                    </a:cxn>
                    <a:cxn ang="T161">
                      <a:pos x="T78" y="T79"/>
                    </a:cxn>
                    <a:cxn ang="T162">
                      <a:pos x="T80" y="T81"/>
                    </a:cxn>
                    <a:cxn ang="T163">
                      <a:pos x="T82" y="T83"/>
                    </a:cxn>
                    <a:cxn ang="T164">
                      <a:pos x="T84" y="T85"/>
                    </a:cxn>
                    <a:cxn ang="T165">
                      <a:pos x="T86" y="T87"/>
                    </a:cxn>
                    <a:cxn ang="T166">
                      <a:pos x="T88" y="T89"/>
                    </a:cxn>
                    <a:cxn ang="T167">
                      <a:pos x="T90" y="T91"/>
                    </a:cxn>
                    <a:cxn ang="T168">
                      <a:pos x="T92" y="T93"/>
                    </a:cxn>
                    <a:cxn ang="T169">
                      <a:pos x="T94" y="T95"/>
                    </a:cxn>
                    <a:cxn ang="T170">
                      <a:pos x="T96" y="T97"/>
                    </a:cxn>
                    <a:cxn ang="T171">
                      <a:pos x="T98" y="T99"/>
                    </a:cxn>
                    <a:cxn ang="T172">
                      <a:pos x="T100" y="T101"/>
                    </a:cxn>
                    <a:cxn ang="T173">
                      <a:pos x="T102" y="T103"/>
                    </a:cxn>
                    <a:cxn ang="T174">
                      <a:pos x="T104" y="T105"/>
                    </a:cxn>
                    <a:cxn ang="T175">
                      <a:pos x="T106" y="T107"/>
                    </a:cxn>
                    <a:cxn ang="T176">
                      <a:pos x="T108" y="T109"/>
                    </a:cxn>
                    <a:cxn ang="T177">
                      <a:pos x="T110" y="T111"/>
                    </a:cxn>
                    <a:cxn ang="T178">
                      <a:pos x="T112" y="T113"/>
                    </a:cxn>
                    <a:cxn ang="T179">
                      <a:pos x="T114" y="T115"/>
                    </a:cxn>
                    <a:cxn ang="T180">
                      <a:pos x="T116" y="T117"/>
                    </a:cxn>
                    <a:cxn ang="T181">
                      <a:pos x="T118" y="T119"/>
                    </a:cxn>
                    <a:cxn ang="T182">
                      <a:pos x="T120" y="T121"/>
                    </a:cxn>
                  </a:cxnLst>
                  <a:rect l="T183" t="T184" r="T185" b="T186"/>
                  <a:pathLst>
                    <a:path w="16384" h="16384">
                      <a:moveTo>
                        <a:pt x="4396" y="5711"/>
                      </a:moveTo>
                      <a:lnTo>
                        <a:pt x="4282" y="5827"/>
                      </a:lnTo>
                      <a:lnTo>
                        <a:pt x="4110" y="6115"/>
                      </a:lnTo>
                      <a:lnTo>
                        <a:pt x="3882" y="6173"/>
                      </a:lnTo>
                      <a:lnTo>
                        <a:pt x="3654" y="6346"/>
                      </a:lnTo>
                      <a:lnTo>
                        <a:pt x="3596" y="6288"/>
                      </a:lnTo>
                      <a:lnTo>
                        <a:pt x="3482" y="6173"/>
                      </a:lnTo>
                      <a:lnTo>
                        <a:pt x="3311" y="6115"/>
                      </a:lnTo>
                      <a:lnTo>
                        <a:pt x="3254" y="6231"/>
                      </a:lnTo>
                      <a:lnTo>
                        <a:pt x="3026" y="6461"/>
                      </a:lnTo>
                      <a:lnTo>
                        <a:pt x="3026" y="6634"/>
                      </a:lnTo>
                      <a:lnTo>
                        <a:pt x="2969" y="6807"/>
                      </a:lnTo>
                      <a:lnTo>
                        <a:pt x="2683" y="6807"/>
                      </a:lnTo>
                      <a:lnTo>
                        <a:pt x="2569" y="6865"/>
                      </a:lnTo>
                      <a:lnTo>
                        <a:pt x="2569" y="7096"/>
                      </a:lnTo>
                      <a:lnTo>
                        <a:pt x="2455" y="7154"/>
                      </a:lnTo>
                      <a:lnTo>
                        <a:pt x="2455" y="7327"/>
                      </a:lnTo>
                      <a:lnTo>
                        <a:pt x="2512" y="7673"/>
                      </a:lnTo>
                      <a:lnTo>
                        <a:pt x="2455" y="7788"/>
                      </a:lnTo>
                      <a:lnTo>
                        <a:pt x="2226" y="7846"/>
                      </a:lnTo>
                      <a:lnTo>
                        <a:pt x="2283" y="7961"/>
                      </a:lnTo>
                      <a:lnTo>
                        <a:pt x="2455" y="8134"/>
                      </a:lnTo>
                      <a:lnTo>
                        <a:pt x="2455" y="8307"/>
                      </a:lnTo>
                      <a:lnTo>
                        <a:pt x="2512" y="8480"/>
                      </a:lnTo>
                      <a:lnTo>
                        <a:pt x="2341" y="8423"/>
                      </a:lnTo>
                      <a:lnTo>
                        <a:pt x="2283" y="8480"/>
                      </a:lnTo>
                      <a:lnTo>
                        <a:pt x="2226" y="8711"/>
                      </a:lnTo>
                      <a:lnTo>
                        <a:pt x="2112" y="8769"/>
                      </a:lnTo>
                      <a:lnTo>
                        <a:pt x="2055" y="8769"/>
                      </a:lnTo>
                      <a:lnTo>
                        <a:pt x="1998" y="8769"/>
                      </a:lnTo>
                      <a:lnTo>
                        <a:pt x="2055" y="8596"/>
                      </a:lnTo>
                      <a:lnTo>
                        <a:pt x="2055" y="8480"/>
                      </a:lnTo>
                      <a:lnTo>
                        <a:pt x="1941" y="8365"/>
                      </a:lnTo>
                      <a:lnTo>
                        <a:pt x="1713" y="8307"/>
                      </a:lnTo>
                      <a:lnTo>
                        <a:pt x="1598" y="8192"/>
                      </a:lnTo>
                      <a:lnTo>
                        <a:pt x="1427" y="8365"/>
                      </a:lnTo>
                      <a:lnTo>
                        <a:pt x="1313" y="8538"/>
                      </a:lnTo>
                      <a:lnTo>
                        <a:pt x="1256" y="8769"/>
                      </a:lnTo>
                      <a:lnTo>
                        <a:pt x="1256" y="9057"/>
                      </a:lnTo>
                      <a:lnTo>
                        <a:pt x="1085" y="9288"/>
                      </a:lnTo>
                      <a:lnTo>
                        <a:pt x="1085" y="9461"/>
                      </a:lnTo>
                      <a:lnTo>
                        <a:pt x="1142" y="9692"/>
                      </a:lnTo>
                      <a:lnTo>
                        <a:pt x="1199" y="9923"/>
                      </a:lnTo>
                      <a:lnTo>
                        <a:pt x="1256" y="10211"/>
                      </a:lnTo>
                      <a:lnTo>
                        <a:pt x="1199" y="10269"/>
                      </a:lnTo>
                      <a:lnTo>
                        <a:pt x="970" y="10327"/>
                      </a:lnTo>
                      <a:lnTo>
                        <a:pt x="970" y="10384"/>
                      </a:lnTo>
                      <a:lnTo>
                        <a:pt x="913" y="10961"/>
                      </a:lnTo>
                      <a:lnTo>
                        <a:pt x="343" y="11192"/>
                      </a:lnTo>
                      <a:lnTo>
                        <a:pt x="57" y="11250"/>
                      </a:lnTo>
                      <a:lnTo>
                        <a:pt x="57" y="11192"/>
                      </a:lnTo>
                      <a:lnTo>
                        <a:pt x="0" y="11250"/>
                      </a:lnTo>
                      <a:lnTo>
                        <a:pt x="57" y="11538"/>
                      </a:lnTo>
                      <a:lnTo>
                        <a:pt x="114" y="11653"/>
                      </a:lnTo>
                      <a:lnTo>
                        <a:pt x="114" y="11826"/>
                      </a:lnTo>
                      <a:lnTo>
                        <a:pt x="171" y="11942"/>
                      </a:lnTo>
                      <a:lnTo>
                        <a:pt x="171" y="12057"/>
                      </a:lnTo>
                      <a:lnTo>
                        <a:pt x="114" y="12115"/>
                      </a:lnTo>
                      <a:lnTo>
                        <a:pt x="114" y="12230"/>
                      </a:lnTo>
                      <a:lnTo>
                        <a:pt x="171" y="12346"/>
                      </a:lnTo>
                      <a:lnTo>
                        <a:pt x="114" y="12403"/>
                      </a:lnTo>
                      <a:lnTo>
                        <a:pt x="57" y="12461"/>
                      </a:lnTo>
                      <a:lnTo>
                        <a:pt x="57" y="12519"/>
                      </a:lnTo>
                      <a:lnTo>
                        <a:pt x="114" y="12634"/>
                      </a:lnTo>
                      <a:lnTo>
                        <a:pt x="343" y="12865"/>
                      </a:lnTo>
                      <a:lnTo>
                        <a:pt x="685" y="13211"/>
                      </a:lnTo>
                      <a:lnTo>
                        <a:pt x="742" y="13269"/>
                      </a:lnTo>
                      <a:lnTo>
                        <a:pt x="742" y="13326"/>
                      </a:lnTo>
                      <a:lnTo>
                        <a:pt x="685" y="13442"/>
                      </a:lnTo>
                      <a:lnTo>
                        <a:pt x="685" y="13499"/>
                      </a:lnTo>
                      <a:lnTo>
                        <a:pt x="742" y="13615"/>
                      </a:lnTo>
                      <a:lnTo>
                        <a:pt x="856" y="13615"/>
                      </a:lnTo>
                      <a:lnTo>
                        <a:pt x="913" y="13615"/>
                      </a:lnTo>
                      <a:lnTo>
                        <a:pt x="970" y="13846"/>
                      </a:lnTo>
                      <a:lnTo>
                        <a:pt x="1085" y="13961"/>
                      </a:lnTo>
                      <a:lnTo>
                        <a:pt x="1199" y="14076"/>
                      </a:lnTo>
                      <a:lnTo>
                        <a:pt x="1370" y="14134"/>
                      </a:lnTo>
                      <a:lnTo>
                        <a:pt x="1427" y="14249"/>
                      </a:lnTo>
                      <a:lnTo>
                        <a:pt x="1427" y="14365"/>
                      </a:lnTo>
                      <a:lnTo>
                        <a:pt x="1541" y="14480"/>
                      </a:lnTo>
                      <a:lnTo>
                        <a:pt x="1713" y="14653"/>
                      </a:lnTo>
                      <a:lnTo>
                        <a:pt x="1827" y="14769"/>
                      </a:lnTo>
                      <a:lnTo>
                        <a:pt x="1941" y="14653"/>
                      </a:lnTo>
                      <a:lnTo>
                        <a:pt x="1998" y="14653"/>
                      </a:lnTo>
                      <a:lnTo>
                        <a:pt x="1998" y="14769"/>
                      </a:lnTo>
                      <a:lnTo>
                        <a:pt x="2055" y="14826"/>
                      </a:lnTo>
                      <a:lnTo>
                        <a:pt x="2169" y="14826"/>
                      </a:lnTo>
                      <a:lnTo>
                        <a:pt x="2169" y="14884"/>
                      </a:lnTo>
                      <a:lnTo>
                        <a:pt x="2169" y="14999"/>
                      </a:lnTo>
                      <a:lnTo>
                        <a:pt x="2226" y="15057"/>
                      </a:lnTo>
                      <a:lnTo>
                        <a:pt x="2341" y="15057"/>
                      </a:lnTo>
                      <a:lnTo>
                        <a:pt x="2398" y="15057"/>
                      </a:lnTo>
                      <a:lnTo>
                        <a:pt x="2626" y="14999"/>
                      </a:lnTo>
                      <a:lnTo>
                        <a:pt x="2797" y="14999"/>
                      </a:lnTo>
                      <a:lnTo>
                        <a:pt x="2911" y="15115"/>
                      </a:lnTo>
                      <a:lnTo>
                        <a:pt x="2911" y="15173"/>
                      </a:lnTo>
                      <a:lnTo>
                        <a:pt x="2797" y="15288"/>
                      </a:lnTo>
                      <a:lnTo>
                        <a:pt x="2740" y="15346"/>
                      </a:lnTo>
                      <a:lnTo>
                        <a:pt x="2797" y="15403"/>
                      </a:lnTo>
                      <a:lnTo>
                        <a:pt x="2854" y="15461"/>
                      </a:lnTo>
                      <a:lnTo>
                        <a:pt x="2911" y="15519"/>
                      </a:lnTo>
                      <a:lnTo>
                        <a:pt x="2969" y="15692"/>
                      </a:lnTo>
                      <a:lnTo>
                        <a:pt x="3083" y="15807"/>
                      </a:lnTo>
                      <a:lnTo>
                        <a:pt x="3140" y="15922"/>
                      </a:lnTo>
                      <a:lnTo>
                        <a:pt x="3254" y="15980"/>
                      </a:lnTo>
                      <a:lnTo>
                        <a:pt x="3368" y="16096"/>
                      </a:lnTo>
                      <a:lnTo>
                        <a:pt x="3539" y="16096"/>
                      </a:lnTo>
                      <a:lnTo>
                        <a:pt x="3654" y="16096"/>
                      </a:lnTo>
                      <a:lnTo>
                        <a:pt x="3768" y="16211"/>
                      </a:lnTo>
                      <a:lnTo>
                        <a:pt x="3825" y="16269"/>
                      </a:lnTo>
                      <a:lnTo>
                        <a:pt x="3939" y="16326"/>
                      </a:lnTo>
                      <a:lnTo>
                        <a:pt x="4053" y="16384"/>
                      </a:lnTo>
                      <a:lnTo>
                        <a:pt x="4282" y="16384"/>
                      </a:lnTo>
                      <a:lnTo>
                        <a:pt x="4453" y="16326"/>
                      </a:lnTo>
                      <a:lnTo>
                        <a:pt x="4567" y="16211"/>
                      </a:lnTo>
                      <a:lnTo>
                        <a:pt x="4624" y="16096"/>
                      </a:lnTo>
                      <a:lnTo>
                        <a:pt x="4681" y="16096"/>
                      </a:lnTo>
                      <a:lnTo>
                        <a:pt x="4795" y="16038"/>
                      </a:lnTo>
                      <a:lnTo>
                        <a:pt x="4909" y="15922"/>
                      </a:lnTo>
                      <a:lnTo>
                        <a:pt x="4967" y="15749"/>
                      </a:lnTo>
                      <a:lnTo>
                        <a:pt x="5024" y="15634"/>
                      </a:lnTo>
                      <a:lnTo>
                        <a:pt x="5081" y="15634"/>
                      </a:lnTo>
                      <a:lnTo>
                        <a:pt x="5138" y="15692"/>
                      </a:lnTo>
                      <a:lnTo>
                        <a:pt x="5309" y="15807"/>
                      </a:lnTo>
                      <a:lnTo>
                        <a:pt x="5480" y="15980"/>
                      </a:lnTo>
                      <a:lnTo>
                        <a:pt x="5595" y="15980"/>
                      </a:lnTo>
                      <a:lnTo>
                        <a:pt x="5652" y="15980"/>
                      </a:lnTo>
                      <a:lnTo>
                        <a:pt x="5823" y="15865"/>
                      </a:lnTo>
                      <a:lnTo>
                        <a:pt x="5994" y="15749"/>
                      </a:lnTo>
                      <a:lnTo>
                        <a:pt x="6165" y="15692"/>
                      </a:lnTo>
                      <a:lnTo>
                        <a:pt x="6394" y="15634"/>
                      </a:lnTo>
                      <a:lnTo>
                        <a:pt x="6451" y="15576"/>
                      </a:lnTo>
                      <a:lnTo>
                        <a:pt x="6508" y="15519"/>
                      </a:lnTo>
                      <a:lnTo>
                        <a:pt x="6565" y="15634"/>
                      </a:lnTo>
                      <a:lnTo>
                        <a:pt x="6850" y="15403"/>
                      </a:lnTo>
                      <a:lnTo>
                        <a:pt x="6908" y="15288"/>
                      </a:lnTo>
                      <a:lnTo>
                        <a:pt x="6793" y="15173"/>
                      </a:lnTo>
                      <a:lnTo>
                        <a:pt x="6736" y="15115"/>
                      </a:lnTo>
                      <a:lnTo>
                        <a:pt x="6850" y="14942"/>
                      </a:lnTo>
                      <a:lnTo>
                        <a:pt x="7079" y="14942"/>
                      </a:lnTo>
                      <a:lnTo>
                        <a:pt x="7193" y="15115"/>
                      </a:lnTo>
                      <a:lnTo>
                        <a:pt x="7878" y="14596"/>
                      </a:lnTo>
                      <a:lnTo>
                        <a:pt x="7992" y="14538"/>
                      </a:lnTo>
                      <a:lnTo>
                        <a:pt x="8106" y="14538"/>
                      </a:lnTo>
                      <a:lnTo>
                        <a:pt x="8163" y="14653"/>
                      </a:lnTo>
                      <a:lnTo>
                        <a:pt x="8278" y="14711"/>
                      </a:lnTo>
                      <a:lnTo>
                        <a:pt x="8335" y="14596"/>
                      </a:lnTo>
                      <a:lnTo>
                        <a:pt x="8563" y="14307"/>
                      </a:lnTo>
                      <a:lnTo>
                        <a:pt x="8734" y="14192"/>
                      </a:lnTo>
                      <a:lnTo>
                        <a:pt x="8791" y="14134"/>
                      </a:lnTo>
                      <a:lnTo>
                        <a:pt x="8620" y="14076"/>
                      </a:lnTo>
                      <a:lnTo>
                        <a:pt x="8620" y="14019"/>
                      </a:lnTo>
                      <a:lnTo>
                        <a:pt x="8620" y="13961"/>
                      </a:lnTo>
                      <a:lnTo>
                        <a:pt x="9020" y="13730"/>
                      </a:lnTo>
                      <a:lnTo>
                        <a:pt x="8734" y="13615"/>
                      </a:lnTo>
                      <a:lnTo>
                        <a:pt x="8677" y="13442"/>
                      </a:lnTo>
                      <a:lnTo>
                        <a:pt x="8620" y="13326"/>
                      </a:lnTo>
                      <a:lnTo>
                        <a:pt x="8677" y="13326"/>
                      </a:lnTo>
                      <a:lnTo>
                        <a:pt x="8734" y="13211"/>
                      </a:lnTo>
                      <a:lnTo>
                        <a:pt x="8734" y="13096"/>
                      </a:lnTo>
                      <a:lnTo>
                        <a:pt x="8791" y="12980"/>
                      </a:lnTo>
                      <a:lnTo>
                        <a:pt x="8849" y="12750"/>
                      </a:lnTo>
                      <a:lnTo>
                        <a:pt x="9020" y="12461"/>
                      </a:lnTo>
                      <a:lnTo>
                        <a:pt x="9134" y="12230"/>
                      </a:lnTo>
                      <a:lnTo>
                        <a:pt x="9248" y="12115"/>
                      </a:lnTo>
                      <a:lnTo>
                        <a:pt x="9305" y="12057"/>
                      </a:lnTo>
                      <a:lnTo>
                        <a:pt x="9419" y="11884"/>
                      </a:lnTo>
                      <a:lnTo>
                        <a:pt x="9476" y="11653"/>
                      </a:lnTo>
                      <a:lnTo>
                        <a:pt x="9534" y="11480"/>
                      </a:lnTo>
                      <a:lnTo>
                        <a:pt x="9591" y="11307"/>
                      </a:lnTo>
                      <a:lnTo>
                        <a:pt x="9591" y="11134"/>
                      </a:lnTo>
                      <a:lnTo>
                        <a:pt x="9591" y="10961"/>
                      </a:lnTo>
                      <a:lnTo>
                        <a:pt x="9648" y="10788"/>
                      </a:lnTo>
                      <a:lnTo>
                        <a:pt x="9876" y="10500"/>
                      </a:lnTo>
                      <a:lnTo>
                        <a:pt x="9990" y="10442"/>
                      </a:lnTo>
                      <a:lnTo>
                        <a:pt x="9876" y="10327"/>
                      </a:lnTo>
                      <a:lnTo>
                        <a:pt x="9876" y="10269"/>
                      </a:lnTo>
                      <a:lnTo>
                        <a:pt x="9933" y="10153"/>
                      </a:lnTo>
                      <a:lnTo>
                        <a:pt x="9990" y="10038"/>
                      </a:lnTo>
                      <a:lnTo>
                        <a:pt x="10104" y="9980"/>
                      </a:lnTo>
                      <a:lnTo>
                        <a:pt x="10104" y="9865"/>
                      </a:lnTo>
                      <a:lnTo>
                        <a:pt x="10162" y="9634"/>
                      </a:lnTo>
                      <a:lnTo>
                        <a:pt x="10104" y="9230"/>
                      </a:lnTo>
                      <a:lnTo>
                        <a:pt x="10162" y="8942"/>
                      </a:lnTo>
                      <a:lnTo>
                        <a:pt x="10276" y="8827"/>
                      </a:lnTo>
                      <a:lnTo>
                        <a:pt x="10675" y="9057"/>
                      </a:lnTo>
                      <a:lnTo>
                        <a:pt x="10847" y="9346"/>
                      </a:lnTo>
                      <a:lnTo>
                        <a:pt x="10904" y="9403"/>
                      </a:lnTo>
                      <a:lnTo>
                        <a:pt x="10961" y="9461"/>
                      </a:lnTo>
                      <a:lnTo>
                        <a:pt x="11303" y="9461"/>
                      </a:lnTo>
                      <a:lnTo>
                        <a:pt x="11532" y="9461"/>
                      </a:lnTo>
                      <a:lnTo>
                        <a:pt x="11589" y="9403"/>
                      </a:lnTo>
                      <a:lnTo>
                        <a:pt x="11646" y="9346"/>
                      </a:lnTo>
                      <a:lnTo>
                        <a:pt x="11760" y="9230"/>
                      </a:lnTo>
                      <a:lnTo>
                        <a:pt x="11817" y="9173"/>
                      </a:lnTo>
                      <a:lnTo>
                        <a:pt x="11817" y="9000"/>
                      </a:lnTo>
                      <a:lnTo>
                        <a:pt x="11874" y="8769"/>
                      </a:lnTo>
                      <a:lnTo>
                        <a:pt x="11931" y="8480"/>
                      </a:lnTo>
                      <a:lnTo>
                        <a:pt x="11988" y="8250"/>
                      </a:lnTo>
                      <a:lnTo>
                        <a:pt x="12045" y="8134"/>
                      </a:lnTo>
                      <a:lnTo>
                        <a:pt x="12102" y="8077"/>
                      </a:lnTo>
                      <a:lnTo>
                        <a:pt x="12102" y="7904"/>
                      </a:lnTo>
                      <a:lnTo>
                        <a:pt x="12102" y="7788"/>
                      </a:lnTo>
                      <a:lnTo>
                        <a:pt x="12160" y="7730"/>
                      </a:lnTo>
                      <a:lnTo>
                        <a:pt x="12160" y="7557"/>
                      </a:lnTo>
                      <a:lnTo>
                        <a:pt x="12160" y="7500"/>
                      </a:lnTo>
                      <a:lnTo>
                        <a:pt x="12217" y="7500"/>
                      </a:lnTo>
                      <a:lnTo>
                        <a:pt x="12331" y="7384"/>
                      </a:lnTo>
                      <a:lnTo>
                        <a:pt x="12331" y="7327"/>
                      </a:lnTo>
                      <a:lnTo>
                        <a:pt x="12845" y="7615"/>
                      </a:lnTo>
                      <a:lnTo>
                        <a:pt x="12902" y="7269"/>
                      </a:lnTo>
                      <a:lnTo>
                        <a:pt x="13073" y="6807"/>
                      </a:lnTo>
                      <a:lnTo>
                        <a:pt x="13130" y="6750"/>
                      </a:lnTo>
                      <a:lnTo>
                        <a:pt x="13187" y="6692"/>
                      </a:lnTo>
                      <a:lnTo>
                        <a:pt x="13301" y="6750"/>
                      </a:lnTo>
                      <a:lnTo>
                        <a:pt x="13415" y="6461"/>
                      </a:lnTo>
                      <a:lnTo>
                        <a:pt x="13473" y="6404"/>
                      </a:lnTo>
                      <a:lnTo>
                        <a:pt x="13587" y="6404"/>
                      </a:lnTo>
                      <a:lnTo>
                        <a:pt x="13701" y="6173"/>
                      </a:lnTo>
                      <a:lnTo>
                        <a:pt x="13644" y="6173"/>
                      </a:lnTo>
                      <a:lnTo>
                        <a:pt x="13644" y="6115"/>
                      </a:lnTo>
                      <a:lnTo>
                        <a:pt x="13644" y="6057"/>
                      </a:lnTo>
                      <a:lnTo>
                        <a:pt x="13815" y="5884"/>
                      </a:lnTo>
                      <a:lnTo>
                        <a:pt x="13986" y="5596"/>
                      </a:lnTo>
                      <a:lnTo>
                        <a:pt x="14043" y="5481"/>
                      </a:lnTo>
                      <a:lnTo>
                        <a:pt x="14043" y="5423"/>
                      </a:lnTo>
                      <a:lnTo>
                        <a:pt x="13929" y="5365"/>
                      </a:lnTo>
                      <a:lnTo>
                        <a:pt x="13986" y="5077"/>
                      </a:lnTo>
                      <a:lnTo>
                        <a:pt x="13929" y="5019"/>
                      </a:lnTo>
                      <a:lnTo>
                        <a:pt x="14101" y="4558"/>
                      </a:lnTo>
                      <a:lnTo>
                        <a:pt x="13986" y="4558"/>
                      </a:lnTo>
                      <a:lnTo>
                        <a:pt x="14101" y="4327"/>
                      </a:lnTo>
                      <a:lnTo>
                        <a:pt x="13986" y="4327"/>
                      </a:lnTo>
                      <a:lnTo>
                        <a:pt x="14101" y="4096"/>
                      </a:lnTo>
                      <a:lnTo>
                        <a:pt x="14500" y="4327"/>
                      </a:lnTo>
                      <a:lnTo>
                        <a:pt x="15299" y="4731"/>
                      </a:lnTo>
                      <a:lnTo>
                        <a:pt x="16099" y="5192"/>
                      </a:lnTo>
                      <a:lnTo>
                        <a:pt x="16156" y="5192"/>
                      </a:lnTo>
                      <a:lnTo>
                        <a:pt x="16156" y="5019"/>
                      </a:lnTo>
                      <a:lnTo>
                        <a:pt x="16213" y="4731"/>
                      </a:lnTo>
                      <a:lnTo>
                        <a:pt x="16270" y="4558"/>
                      </a:lnTo>
                      <a:lnTo>
                        <a:pt x="16384" y="4269"/>
                      </a:lnTo>
                      <a:lnTo>
                        <a:pt x="16213" y="4154"/>
                      </a:lnTo>
                      <a:lnTo>
                        <a:pt x="16213" y="4038"/>
                      </a:lnTo>
                      <a:lnTo>
                        <a:pt x="16213" y="3981"/>
                      </a:lnTo>
                      <a:lnTo>
                        <a:pt x="16156" y="3923"/>
                      </a:lnTo>
                      <a:lnTo>
                        <a:pt x="16041" y="3865"/>
                      </a:lnTo>
                      <a:lnTo>
                        <a:pt x="15984" y="3808"/>
                      </a:lnTo>
                      <a:lnTo>
                        <a:pt x="15984" y="3692"/>
                      </a:lnTo>
                      <a:lnTo>
                        <a:pt x="16041" y="3577"/>
                      </a:lnTo>
                      <a:lnTo>
                        <a:pt x="16041" y="3519"/>
                      </a:lnTo>
                      <a:lnTo>
                        <a:pt x="15927" y="3519"/>
                      </a:lnTo>
                      <a:lnTo>
                        <a:pt x="15870" y="3577"/>
                      </a:lnTo>
                      <a:lnTo>
                        <a:pt x="15813" y="3577"/>
                      </a:lnTo>
                      <a:lnTo>
                        <a:pt x="15699" y="3461"/>
                      </a:lnTo>
                      <a:lnTo>
                        <a:pt x="15642" y="3404"/>
                      </a:lnTo>
                      <a:lnTo>
                        <a:pt x="15699" y="3346"/>
                      </a:lnTo>
                      <a:lnTo>
                        <a:pt x="15756" y="3231"/>
                      </a:lnTo>
                      <a:lnTo>
                        <a:pt x="15756" y="3173"/>
                      </a:lnTo>
                      <a:lnTo>
                        <a:pt x="15642" y="3115"/>
                      </a:lnTo>
                      <a:lnTo>
                        <a:pt x="15585" y="3058"/>
                      </a:lnTo>
                      <a:lnTo>
                        <a:pt x="15528" y="3115"/>
                      </a:lnTo>
                      <a:lnTo>
                        <a:pt x="15471" y="3173"/>
                      </a:lnTo>
                      <a:lnTo>
                        <a:pt x="15414" y="3173"/>
                      </a:lnTo>
                      <a:lnTo>
                        <a:pt x="15299" y="3173"/>
                      </a:lnTo>
                      <a:lnTo>
                        <a:pt x="15128" y="3231"/>
                      </a:lnTo>
                      <a:lnTo>
                        <a:pt x="15014" y="3173"/>
                      </a:lnTo>
                      <a:lnTo>
                        <a:pt x="14728" y="3000"/>
                      </a:lnTo>
                      <a:lnTo>
                        <a:pt x="14614" y="2942"/>
                      </a:lnTo>
                      <a:lnTo>
                        <a:pt x="14443" y="3000"/>
                      </a:lnTo>
                      <a:lnTo>
                        <a:pt x="14329" y="3058"/>
                      </a:lnTo>
                      <a:lnTo>
                        <a:pt x="14272" y="3115"/>
                      </a:lnTo>
                      <a:lnTo>
                        <a:pt x="14215" y="3231"/>
                      </a:lnTo>
                      <a:lnTo>
                        <a:pt x="14158" y="3288"/>
                      </a:lnTo>
                      <a:lnTo>
                        <a:pt x="14101" y="3288"/>
                      </a:lnTo>
                      <a:lnTo>
                        <a:pt x="14043" y="3288"/>
                      </a:lnTo>
                      <a:lnTo>
                        <a:pt x="13929" y="3288"/>
                      </a:lnTo>
                      <a:lnTo>
                        <a:pt x="13758" y="3404"/>
                      </a:lnTo>
                      <a:lnTo>
                        <a:pt x="13644" y="3404"/>
                      </a:lnTo>
                      <a:lnTo>
                        <a:pt x="13587" y="3461"/>
                      </a:lnTo>
                      <a:lnTo>
                        <a:pt x="13644" y="3519"/>
                      </a:lnTo>
                      <a:lnTo>
                        <a:pt x="13701" y="3577"/>
                      </a:lnTo>
                      <a:lnTo>
                        <a:pt x="13644" y="3634"/>
                      </a:lnTo>
                      <a:lnTo>
                        <a:pt x="13587" y="3692"/>
                      </a:lnTo>
                      <a:lnTo>
                        <a:pt x="13587" y="3750"/>
                      </a:lnTo>
                      <a:lnTo>
                        <a:pt x="13530" y="3808"/>
                      </a:lnTo>
                      <a:lnTo>
                        <a:pt x="13587" y="3865"/>
                      </a:lnTo>
                      <a:lnTo>
                        <a:pt x="13530" y="3923"/>
                      </a:lnTo>
                      <a:lnTo>
                        <a:pt x="13473" y="3981"/>
                      </a:lnTo>
                      <a:lnTo>
                        <a:pt x="13358" y="3923"/>
                      </a:lnTo>
                      <a:lnTo>
                        <a:pt x="13130" y="3923"/>
                      </a:lnTo>
                      <a:lnTo>
                        <a:pt x="12959" y="3923"/>
                      </a:lnTo>
                      <a:lnTo>
                        <a:pt x="12788" y="3923"/>
                      </a:lnTo>
                      <a:lnTo>
                        <a:pt x="12616" y="3865"/>
                      </a:lnTo>
                      <a:lnTo>
                        <a:pt x="12559" y="3750"/>
                      </a:lnTo>
                      <a:lnTo>
                        <a:pt x="12559" y="3634"/>
                      </a:lnTo>
                      <a:lnTo>
                        <a:pt x="12559" y="3577"/>
                      </a:lnTo>
                      <a:lnTo>
                        <a:pt x="12502" y="3577"/>
                      </a:lnTo>
                      <a:lnTo>
                        <a:pt x="12445" y="3577"/>
                      </a:lnTo>
                      <a:lnTo>
                        <a:pt x="12388" y="3692"/>
                      </a:lnTo>
                      <a:lnTo>
                        <a:pt x="12331" y="3808"/>
                      </a:lnTo>
                      <a:lnTo>
                        <a:pt x="12331" y="3923"/>
                      </a:lnTo>
                      <a:lnTo>
                        <a:pt x="12274" y="3981"/>
                      </a:lnTo>
                      <a:lnTo>
                        <a:pt x="12217" y="4038"/>
                      </a:lnTo>
                      <a:lnTo>
                        <a:pt x="12102" y="4327"/>
                      </a:lnTo>
                      <a:lnTo>
                        <a:pt x="11988" y="4558"/>
                      </a:lnTo>
                      <a:lnTo>
                        <a:pt x="11874" y="4615"/>
                      </a:lnTo>
                      <a:lnTo>
                        <a:pt x="11760" y="4558"/>
                      </a:lnTo>
                      <a:lnTo>
                        <a:pt x="11646" y="4500"/>
                      </a:lnTo>
                      <a:lnTo>
                        <a:pt x="11589" y="4500"/>
                      </a:lnTo>
                      <a:lnTo>
                        <a:pt x="11475" y="4500"/>
                      </a:lnTo>
                      <a:lnTo>
                        <a:pt x="11475" y="4558"/>
                      </a:lnTo>
                      <a:lnTo>
                        <a:pt x="11417" y="4731"/>
                      </a:lnTo>
                      <a:lnTo>
                        <a:pt x="11360" y="4788"/>
                      </a:lnTo>
                      <a:lnTo>
                        <a:pt x="11132" y="5019"/>
                      </a:lnTo>
                      <a:lnTo>
                        <a:pt x="11018" y="5134"/>
                      </a:lnTo>
                      <a:lnTo>
                        <a:pt x="10961" y="5192"/>
                      </a:lnTo>
                      <a:lnTo>
                        <a:pt x="10904" y="5307"/>
                      </a:lnTo>
                      <a:lnTo>
                        <a:pt x="10904" y="5365"/>
                      </a:lnTo>
                      <a:lnTo>
                        <a:pt x="10789" y="5423"/>
                      </a:lnTo>
                      <a:lnTo>
                        <a:pt x="10675" y="5481"/>
                      </a:lnTo>
                      <a:lnTo>
                        <a:pt x="10561" y="5596"/>
                      </a:lnTo>
                      <a:lnTo>
                        <a:pt x="10390" y="5827"/>
                      </a:lnTo>
                      <a:lnTo>
                        <a:pt x="10333" y="5942"/>
                      </a:lnTo>
                      <a:lnTo>
                        <a:pt x="9876" y="3634"/>
                      </a:lnTo>
                      <a:lnTo>
                        <a:pt x="8963" y="3750"/>
                      </a:lnTo>
                      <a:lnTo>
                        <a:pt x="8563" y="3808"/>
                      </a:lnTo>
                      <a:lnTo>
                        <a:pt x="6736" y="4154"/>
                      </a:lnTo>
                      <a:lnTo>
                        <a:pt x="6337" y="4211"/>
                      </a:lnTo>
                      <a:lnTo>
                        <a:pt x="6165" y="3173"/>
                      </a:lnTo>
                      <a:lnTo>
                        <a:pt x="6108" y="2885"/>
                      </a:lnTo>
                      <a:lnTo>
                        <a:pt x="6051" y="2192"/>
                      </a:lnTo>
                      <a:lnTo>
                        <a:pt x="5823" y="1096"/>
                      </a:lnTo>
                      <a:lnTo>
                        <a:pt x="5766" y="750"/>
                      </a:lnTo>
                      <a:lnTo>
                        <a:pt x="5652" y="0"/>
                      </a:lnTo>
                      <a:lnTo>
                        <a:pt x="5537" y="58"/>
                      </a:lnTo>
                      <a:lnTo>
                        <a:pt x="5309" y="115"/>
                      </a:lnTo>
                      <a:lnTo>
                        <a:pt x="5195" y="231"/>
                      </a:lnTo>
                      <a:lnTo>
                        <a:pt x="5195" y="288"/>
                      </a:lnTo>
                      <a:lnTo>
                        <a:pt x="5195" y="346"/>
                      </a:lnTo>
                      <a:lnTo>
                        <a:pt x="5423" y="692"/>
                      </a:lnTo>
                      <a:lnTo>
                        <a:pt x="5480" y="865"/>
                      </a:lnTo>
                      <a:lnTo>
                        <a:pt x="5480" y="1038"/>
                      </a:lnTo>
                      <a:lnTo>
                        <a:pt x="5480" y="1154"/>
                      </a:lnTo>
                      <a:lnTo>
                        <a:pt x="5480" y="1269"/>
                      </a:lnTo>
                      <a:lnTo>
                        <a:pt x="5595" y="1442"/>
                      </a:lnTo>
                      <a:lnTo>
                        <a:pt x="5595" y="1558"/>
                      </a:lnTo>
                      <a:lnTo>
                        <a:pt x="5537" y="1731"/>
                      </a:lnTo>
                      <a:lnTo>
                        <a:pt x="5480" y="1904"/>
                      </a:lnTo>
                      <a:lnTo>
                        <a:pt x="5423" y="2135"/>
                      </a:lnTo>
                      <a:lnTo>
                        <a:pt x="5366" y="2308"/>
                      </a:lnTo>
                      <a:lnTo>
                        <a:pt x="5309" y="2769"/>
                      </a:lnTo>
                      <a:lnTo>
                        <a:pt x="5309" y="2885"/>
                      </a:lnTo>
                      <a:lnTo>
                        <a:pt x="5366" y="2885"/>
                      </a:lnTo>
                      <a:lnTo>
                        <a:pt x="5309" y="3231"/>
                      </a:lnTo>
                      <a:lnTo>
                        <a:pt x="5309" y="3346"/>
                      </a:lnTo>
                      <a:lnTo>
                        <a:pt x="5195" y="3404"/>
                      </a:lnTo>
                      <a:lnTo>
                        <a:pt x="5195" y="3519"/>
                      </a:lnTo>
                      <a:lnTo>
                        <a:pt x="5252" y="3634"/>
                      </a:lnTo>
                      <a:lnTo>
                        <a:pt x="5195" y="3750"/>
                      </a:lnTo>
                      <a:lnTo>
                        <a:pt x="5195" y="3923"/>
                      </a:lnTo>
                      <a:lnTo>
                        <a:pt x="5138" y="4154"/>
                      </a:lnTo>
                      <a:lnTo>
                        <a:pt x="5252" y="4327"/>
                      </a:lnTo>
                      <a:lnTo>
                        <a:pt x="5252" y="4384"/>
                      </a:lnTo>
                      <a:lnTo>
                        <a:pt x="5195" y="4500"/>
                      </a:lnTo>
                      <a:lnTo>
                        <a:pt x="5138" y="4846"/>
                      </a:lnTo>
                      <a:lnTo>
                        <a:pt x="5024" y="4904"/>
                      </a:lnTo>
                      <a:lnTo>
                        <a:pt x="4795" y="5077"/>
                      </a:lnTo>
                      <a:lnTo>
                        <a:pt x="4681" y="5250"/>
                      </a:lnTo>
                      <a:lnTo>
                        <a:pt x="4453" y="5654"/>
                      </a:lnTo>
                      <a:lnTo>
                        <a:pt x="4396" y="5711"/>
                      </a:lnTo>
                      <a:close/>
                    </a:path>
                  </a:pathLst>
                </a:custGeom>
                <a:solidFill>
                  <a:srgbClr val="00B050"/>
                </a:solidFill>
                <a:ln w="9525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defTabSz="121917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66" name="Wisconsin">
                  <a:extLst>
                    <a:ext uri="{FF2B5EF4-FFF2-40B4-BE49-F238E27FC236}">
                      <a16:creationId xmlns:a16="http://schemas.microsoft.com/office/drawing/2014/main" id="{C157A1AD-937D-AFC4-6A3C-A7DC02A6EAD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7506950" y="3209925"/>
                  <a:ext cx="3171825" cy="3152775"/>
                </a:xfrm>
                <a:custGeom>
                  <a:avLst/>
                  <a:gdLst>
                    <a:gd name="T0" fmla="*/ 2147483647 w 16384"/>
                    <a:gd name="T1" fmla="*/ 2147483647 h 16384"/>
                    <a:gd name="T2" fmla="*/ 2147483647 w 16384"/>
                    <a:gd name="T3" fmla="*/ 2147483647 h 16384"/>
                    <a:gd name="T4" fmla="*/ 2147483647 w 16384"/>
                    <a:gd name="T5" fmla="*/ 2147483647 h 16384"/>
                    <a:gd name="T6" fmla="*/ 2147483647 w 16384"/>
                    <a:gd name="T7" fmla="*/ 2147483647 h 16384"/>
                    <a:gd name="T8" fmla="*/ 2147483647 w 16384"/>
                    <a:gd name="T9" fmla="*/ 2147483647 h 16384"/>
                    <a:gd name="T10" fmla="*/ 2147483647 w 16384"/>
                    <a:gd name="T11" fmla="*/ 2147483647 h 16384"/>
                    <a:gd name="T12" fmla="*/ 2147483647 w 16384"/>
                    <a:gd name="T13" fmla="*/ 2147483647 h 16384"/>
                    <a:gd name="T14" fmla="*/ 2147483647 w 16384"/>
                    <a:gd name="T15" fmla="*/ 2147483647 h 16384"/>
                    <a:gd name="T16" fmla="*/ 2147483647 w 16384"/>
                    <a:gd name="T17" fmla="*/ 2147483647 h 16384"/>
                    <a:gd name="T18" fmla="*/ 2147483647 w 16384"/>
                    <a:gd name="T19" fmla="*/ 2147483647 h 16384"/>
                    <a:gd name="T20" fmla="*/ 2147483647 w 16384"/>
                    <a:gd name="T21" fmla="*/ 2147483647 h 16384"/>
                    <a:gd name="T22" fmla="*/ 2147483647 w 16384"/>
                    <a:gd name="T23" fmla="*/ 2147483647 h 16384"/>
                    <a:gd name="T24" fmla="*/ 2147483647 w 16384"/>
                    <a:gd name="T25" fmla="*/ 2147483647 h 16384"/>
                    <a:gd name="T26" fmla="*/ 2147483647 w 16384"/>
                    <a:gd name="T27" fmla="*/ 2147483647 h 16384"/>
                    <a:gd name="T28" fmla="*/ 2147483647 w 16384"/>
                    <a:gd name="T29" fmla="*/ 2147483647 h 16384"/>
                    <a:gd name="T30" fmla="*/ 2147483647 w 16384"/>
                    <a:gd name="T31" fmla="*/ 2147483647 h 16384"/>
                    <a:gd name="T32" fmla="*/ 2147483647 w 16384"/>
                    <a:gd name="T33" fmla="*/ 2147483647 h 16384"/>
                    <a:gd name="T34" fmla="*/ 2147483647 w 16384"/>
                    <a:gd name="T35" fmla="*/ 2147483647 h 16384"/>
                    <a:gd name="T36" fmla="*/ 2147483647 w 16384"/>
                    <a:gd name="T37" fmla="*/ 2147483647 h 16384"/>
                    <a:gd name="T38" fmla="*/ 2147483647 w 16384"/>
                    <a:gd name="T39" fmla="*/ 2147483647 h 16384"/>
                    <a:gd name="T40" fmla="*/ 2147483647 w 16384"/>
                    <a:gd name="T41" fmla="*/ 2147483647 h 16384"/>
                    <a:gd name="T42" fmla="*/ 2147483647 w 16384"/>
                    <a:gd name="T43" fmla="*/ 2147483647 h 16384"/>
                    <a:gd name="T44" fmla="*/ 2147483647 w 16384"/>
                    <a:gd name="T45" fmla="*/ 2147483647 h 16384"/>
                    <a:gd name="T46" fmla="*/ 2147483647 w 16384"/>
                    <a:gd name="T47" fmla="*/ 2147483647 h 16384"/>
                    <a:gd name="T48" fmla="*/ 2147483647 w 16384"/>
                    <a:gd name="T49" fmla="*/ 2147483647 h 16384"/>
                    <a:gd name="T50" fmla="*/ 2147483647 w 16384"/>
                    <a:gd name="T51" fmla="*/ 2147483647 h 16384"/>
                    <a:gd name="T52" fmla="*/ 2147483647 w 16384"/>
                    <a:gd name="T53" fmla="*/ 2147483647 h 16384"/>
                    <a:gd name="T54" fmla="*/ 2147483647 w 16384"/>
                    <a:gd name="T55" fmla="*/ 2147483647 h 16384"/>
                    <a:gd name="T56" fmla="*/ 2147483647 w 16384"/>
                    <a:gd name="T57" fmla="*/ 2147483647 h 16384"/>
                    <a:gd name="T58" fmla="*/ 2147483647 w 16384"/>
                    <a:gd name="T59" fmla="*/ 2147483647 h 16384"/>
                    <a:gd name="T60" fmla="*/ 2147483647 w 16384"/>
                    <a:gd name="T61" fmla="*/ 2147483647 h 16384"/>
                    <a:gd name="T62" fmla="*/ 2147483647 w 16384"/>
                    <a:gd name="T63" fmla="*/ 2147483647 h 16384"/>
                    <a:gd name="T64" fmla="*/ 2147483647 w 16384"/>
                    <a:gd name="T65" fmla="*/ 2147483647 h 16384"/>
                    <a:gd name="T66" fmla="*/ 2147483647 w 16384"/>
                    <a:gd name="T67" fmla="*/ 2147483647 h 16384"/>
                    <a:gd name="T68" fmla="*/ 2147483647 w 16384"/>
                    <a:gd name="T69" fmla="*/ 2147483647 h 16384"/>
                    <a:gd name="T70" fmla="*/ 2147483647 w 16384"/>
                    <a:gd name="T71" fmla="*/ 2147483647 h 16384"/>
                    <a:gd name="T72" fmla="*/ 2147483647 w 16384"/>
                    <a:gd name="T73" fmla="*/ 2147483647 h 16384"/>
                    <a:gd name="T74" fmla="*/ 2147483647 w 16384"/>
                    <a:gd name="T75" fmla="*/ 2147483647 h 16384"/>
                    <a:gd name="T76" fmla="*/ 2147483647 w 16384"/>
                    <a:gd name="T77" fmla="*/ 0 h 16384"/>
                    <a:gd name="T78" fmla="*/ 2147483647 w 16384"/>
                    <a:gd name="T79" fmla="*/ 2147483647 h 16384"/>
                    <a:gd name="T80" fmla="*/ 2147483647 w 16384"/>
                    <a:gd name="T81" fmla="*/ 2147483647 h 16384"/>
                    <a:gd name="T82" fmla="*/ 2147483647 w 16384"/>
                    <a:gd name="T83" fmla="*/ 2147483647 h 16384"/>
                    <a:gd name="T84" fmla="*/ 2147483647 w 16384"/>
                    <a:gd name="T85" fmla="*/ 2147483647 h 16384"/>
                    <a:gd name="T86" fmla="*/ 2147483647 w 16384"/>
                    <a:gd name="T87" fmla="*/ 2147483647 h 16384"/>
                    <a:gd name="T88" fmla="*/ 2147483647 w 16384"/>
                    <a:gd name="T89" fmla="*/ 2147483647 h 16384"/>
                    <a:gd name="T90" fmla="*/ 0 w 16384"/>
                    <a:gd name="T91" fmla="*/ 2147483647 h 16384"/>
                    <a:gd name="T92" fmla="*/ 2147483647 w 16384"/>
                    <a:gd name="T93" fmla="*/ 2147483647 h 16384"/>
                    <a:gd name="T94" fmla="*/ 2147483647 w 16384"/>
                    <a:gd name="T95" fmla="*/ 2147483647 h 16384"/>
                    <a:gd name="T96" fmla="*/ 2147483647 w 16384"/>
                    <a:gd name="T97" fmla="*/ 2147483647 h 16384"/>
                    <a:gd name="T98" fmla="*/ 2147483647 w 16384"/>
                    <a:gd name="T99" fmla="*/ 2147483647 h 16384"/>
                    <a:gd name="T100" fmla="*/ 2147483647 w 16384"/>
                    <a:gd name="T101" fmla="*/ 2147483647 h 16384"/>
                    <a:gd name="T102" fmla="*/ 2147483647 w 16384"/>
                    <a:gd name="T103" fmla="*/ 2147483647 h 16384"/>
                    <a:gd name="T104" fmla="*/ 2147483647 w 16384"/>
                    <a:gd name="T105" fmla="*/ 2147483647 h 16384"/>
                    <a:gd name="T106" fmla="*/ 2147483647 w 16384"/>
                    <a:gd name="T107" fmla="*/ 2147483647 h 16384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w 16384"/>
                    <a:gd name="T163" fmla="*/ 0 h 16384"/>
                    <a:gd name="T164" fmla="*/ 16384 w 16384"/>
                    <a:gd name="T165" fmla="*/ 16384 h 16384"/>
                  </a:gdLst>
                  <a:ahLst/>
                  <a:cxnLst>
                    <a:cxn ang="T108">
                      <a:pos x="T0" y="T1"/>
                    </a:cxn>
                    <a:cxn ang="T109">
                      <a:pos x="T2" y="T3"/>
                    </a:cxn>
                    <a:cxn ang="T110">
                      <a:pos x="T4" y="T5"/>
                    </a:cxn>
                    <a:cxn ang="T111">
                      <a:pos x="T6" y="T7"/>
                    </a:cxn>
                    <a:cxn ang="T112">
                      <a:pos x="T8" y="T9"/>
                    </a:cxn>
                    <a:cxn ang="T113">
                      <a:pos x="T10" y="T11"/>
                    </a:cxn>
                    <a:cxn ang="T114">
                      <a:pos x="T12" y="T13"/>
                    </a:cxn>
                    <a:cxn ang="T115">
                      <a:pos x="T14" y="T15"/>
                    </a:cxn>
                    <a:cxn ang="T116">
                      <a:pos x="T16" y="T17"/>
                    </a:cxn>
                    <a:cxn ang="T117">
                      <a:pos x="T18" y="T19"/>
                    </a:cxn>
                    <a:cxn ang="T118">
                      <a:pos x="T20" y="T21"/>
                    </a:cxn>
                    <a:cxn ang="T119">
                      <a:pos x="T22" y="T23"/>
                    </a:cxn>
                    <a:cxn ang="T120">
                      <a:pos x="T24" y="T25"/>
                    </a:cxn>
                    <a:cxn ang="T121">
                      <a:pos x="T26" y="T27"/>
                    </a:cxn>
                    <a:cxn ang="T122">
                      <a:pos x="T28" y="T29"/>
                    </a:cxn>
                    <a:cxn ang="T123">
                      <a:pos x="T30" y="T31"/>
                    </a:cxn>
                    <a:cxn ang="T124">
                      <a:pos x="T32" y="T33"/>
                    </a:cxn>
                    <a:cxn ang="T125">
                      <a:pos x="T34" y="T35"/>
                    </a:cxn>
                    <a:cxn ang="T126">
                      <a:pos x="T36" y="T37"/>
                    </a:cxn>
                    <a:cxn ang="T127">
                      <a:pos x="T38" y="T39"/>
                    </a:cxn>
                    <a:cxn ang="T128">
                      <a:pos x="T40" y="T41"/>
                    </a:cxn>
                    <a:cxn ang="T129">
                      <a:pos x="T42" y="T43"/>
                    </a:cxn>
                    <a:cxn ang="T130">
                      <a:pos x="T44" y="T45"/>
                    </a:cxn>
                    <a:cxn ang="T131">
                      <a:pos x="T46" y="T47"/>
                    </a:cxn>
                    <a:cxn ang="T132">
                      <a:pos x="T48" y="T49"/>
                    </a:cxn>
                    <a:cxn ang="T133">
                      <a:pos x="T50" y="T51"/>
                    </a:cxn>
                    <a:cxn ang="T134">
                      <a:pos x="T52" y="T53"/>
                    </a:cxn>
                    <a:cxn ang="T135">
                      <a:pos x="T54" y="T55"/>
                    </a:cxn>
                    <a:cxn ang="T136">
                      <a:pos x="T56" y="T57"/>
                    </a:cxn>
                    <a:cxn ang="T137">
                      <a:pos x="T58" y="T59"/>
                    </a:cxn>
                    <a:cxn ang="T138">
                      <a:pos x="T60" y="T61"/>
                    </a:cxn>
                    <a:cxn ang="T139">
                      <a:pos x="T62" y="T63"/>
                    </a:cxn>
                    <a:cxn ang="T140">
                      <a:pos x="T64" y="T65"/>
                    </a:cxn>
                    <a:cxn ang="T141">
                      <a:pos x="T66" y="T67"/>
                    </a:cxn>
                    <a:cxn ang="T142">
                      <a:pos x="T68" y="T69"/>
                    </a:cxn>
                    <a:cxn ang="T143">
                      <a:pos x="T70" y="T71"/>
                    </a:cxn>
                    <a:cxn ang="T144">
                      <a:pos x="T72" y="T73"/>
                    </a:cxn>
                    <a:cxn ang="T145">
                      <a:pos x="T74" y="T75"/>
                    </a:cxn>
                    <a:cxn ang="T146">
                      <a:pos x="T76" y="T77"/>
                    </a:cxn>
                    <a:cxn ang="T147">
                      <a:pos x="T78" y="T79"/>
                    </a:cxn>
                    <a:cxn ang="T148">
                      <a:pos x="T80" y="T81"/>
                    </a:cxn>
                    <a:cxn ang="T149">
                      <a:pos x="T82" y="T83"/>
                    </a:cxn>
                    <a:cxn ang="T150">
                      <a:pos x="T84" y="T85"/>
                    </a:cxn>
                    <a:cxn ang="T151">
                      <a:pos x="T86" y="T87"/>
                    </a:cxn>
                    <a:cxn ang="T152">
                      <a:pos x="T88" y="T89"/>
                    </a:cxn>
                    <a:cxn ang="T153">
                      <a:pos x="T90" y="T91"/>
                    </a:cxn>
                    <a:cxn ang="T154">
                      <a:pos x="T92" y="T93"/>
                    </a:cxn>
                    <a:cxn ang="T155">
                      <a:pos x="T94" y="T95"/>
                    </a:cxn>
                    <a:cxn ang="T156">
                      <a:pos x="T96" y="T97"/>
                    </a:cxn>
                    <a:cxn ang="T157">
                      <a:pos x="T98" y="T99"/>
                    </a:cxn>
                    <a:cxn ang="T158">
                      <a:pos x="T100" y="T101"/>
                    </a:cxn>
                    <a:cxn ang="T159">
                      <a:pos x="T102" y="T103"/>
                    </a:cxn>
                    <a:cxn ang="T160">
                      <a:pos x="T104" y="T105"/>
                    </a:cxn>
                    <a:cxn ang="T161">
                      <a:pos x="T106" y="T107"/>
                    </a:cxn>
                  </a:cxnLst>
                  <a:rect l="T162" t="T163" r="T164" b="T165"/>
                  <a:pathLst>
                    <a:path w="16384" h="16384">
                      <a:moveTo>
                        <a:pt x="5108" y="13023"/>
                      </a:moveTo>
                      <a:lnTo>
                        <a:pt x="5204" y="13070"/>
                      </a:lnTo>
                      <a:lnTo>
                        <a:pt x="5301" y="13257"/>
                      </a:lnTo>
                      <a:lnTo>
                        <a:pt x="5493" y="13490"/>
                      </a:lnTo>
                      <a:lnTo>
                        <a:pt x="5590" y="13630"/>
                      </a:lnTo>
                      <a:lnTo>
                        <a:pt x="5493" y="13723"/>
                      </a:lnTo>
                      <a:lnTo>
                        <a:pt x="5349" y="14003"/>
                      </a:lnTo>
                      <a:lnTo>
                        <a:pt x="5253" y="14143"/>
                      </a:lnTo>
                      <a:lnTo>
                        <a:pt x="5253" y="14330"/>
                      </a:lnTo>
                      <a:lnTo>
                        <a:pt x="5349" y="14657"/>
                      </a:lnTo>
                      <a:lnTo>
                        <a:pt x="5445" y="14937"/>
                      </a:lnTo>
                      <a:lnTo>
                        <a:pt x="5542" y="15077"/>
                      </a:lnTo>
                      <a:lnTo>
                        <a:pt x="5590" y="15404"/>
                      </a:lnTo>
                      <a:lnTo>
                        <a:pt x="5638" y="15544"/>
                      </a:lnTo>
                      <a:lnTo>
                        <a:pt x="5783" y="15590"/>
                      </a:lnTo>
                      <a:lnTo>
                        <a:pt x="5975" y="15684"/>
                      </a:lnTo>
                      <a:lnTo>
                        <a:pt x="6120" y="15731"/>
                      </a:lnTo>
                      <a:lnTo>
                        <a:pt x="6216" y="15777"/>
                      </a:lnTo>
                      <a:lnTo>
                        <a:pt x="6361" y="15824"/>
                      </a:lnTo>
                      <a:lnTo>
                        <a:pt x="6554" y="15871"/>
                      </a:lnTo>
                      <a:lnTo>
                        <a:pt x="6698" y="16011"/>
                      </a:lnTo>
                      <a:lnTo>
                        <a:pt x="6795" y="16151"/>
                      </a:lnTo>
                      <a:lnTo>
                        <a:pt x="6843" y="16244"/>
                      </a:lnTo>
                      <a:lnTo>
                        <a:pt x="6891" y="16384"/>
                      </a:lnTo>
                      <a:lnTo>
                        <a:pt x="7517" y="16337"/>
                      </a:lnTo>
                      <a:lnTo>
                        <a:pt x="8963" y="16291"/>
                      </a:lnTo>
                      <a:lnTo>
                        <a:pt x="9156" y="16244"/>
                      </a:lnTo>
                      <a:lnTo>
                        <a:pt x="10457" y="16197"/>
                      </a:lnTo>
                      <a:lnTo>
                        <a:pt x="10505" y="16197"/>
                      </a:lnTo>
                      <a:lnTo>
                        <a:pt x="11710" y="16104"/>
                      </a:lnTo>
                      <a:lnTo>
                        <a:pt x="12192" y="16104"/>
                      </a:lnTo>
                      <a:lnTo>
                        <a:pt x="12433" y="16057"/>
                      </a:lnTo>
                      <a:lnTo>
                        <a:pt x="13493" y="15964"/>
                      </a:lnTo>
                      <a:lnTo>
                        <a:pt x="13830" y="15964"/>
                      </a:lnTo>
                      <a:lnTo>
                        <a:pt x="14987" y="15871"/>
                      </a:lnTo>
                      <a:lnTo>
                        <a:pt x="14938" y="15731"/>
                      </a:lnTo>
                      <a:lnTo>
                        <a:pt x="14890" y="15590"/>
                      </a:lnTo>
                      <a:lnTo>
                        <a:pt x="14890" y="15450"/>
                      </a:lnTo>
                      <a:lnTo>
                        <a:pt x="14938" y="15264"/>
                      </a:lnTo>
                      <a:lnTo>
                        <a:pt x="14938" y="15170"/>
                      </a:lnTo>
                      <a:lnTo>
                        <a:pt x="14987" y="15030"/>
                      </a:lnTo>
                      <a:lnTo>
                        <a:pt x="14987" y="14890"/>
                      </a:lnTo>
                      <a:lnTo>
                        <a:pt x="14938" y="14797"/>
                      </a:lnTo>
                      <a:lnTo>
                        <a:pt x="14842" y="14657"/>
                      </a:lnTo>
                      <a:lnTo>
                        <a:pt x="14794" y="14610"/>
                      </a:lnTo>
                      <a:lnTo>
                        <a:pt x="14746" y="14470"/>
                      </a:lnTo>
                      <a:lnTo>
                        <a:pt x="14746" y="14330"/>
                      </a:lnTo>
                      <a:lnTo>
                        <a:pt x="14697" y="14190"/>
                      </a:lnTo>
                      <a:lnTo>
                        <a:pt x="14553" y="13957"/>
                      </a:lnTo>
                      <a:lnTo>
                        <a:pt x="14553" y="13863"/>
                      </a:lnTo>
                      <a:lnTo>
                        <a:pt x="14601" y="13817"/>
                      </a:lnTo>
                      <a:lnTo>
                        <a:pt x="14601" y="13723"/>
                      </a:lnTo>
                      <a:lnTo>
                        <a:pt x="14553" y="13583"/>
                      </a:lnTo>
                      <a:lnTo>
                        <a:pt x="14505" y="13443"/>
                      </a:lnTo>
                      <a:lnTo>
                        <a:pt x="14505" y="13303"/>
                      </a:lnTo>
                      <a:lnTo>
                        <a:pt x="14456" y="13210"/>
                      </a:lnTo>
                      <a:lnTo>
                        <a:pt x="14456" y="13023"/>
                      </a:lnTo>
                      <a:lnTo>
                        <a:pt x="14505" y="12836"/>
                      </a:lnTo>
                      <a:lnTo>
                        <a:pt x="14553" y="12603"/>
                      </a:lnTo>
                      <a:lnTo>
                        <a:pt x="14649" y="12463"/>
                      </a:lnTo>
                      <a:lnTo>
                        <a:pt x="14697" y="12276"/>
                      </a:lnTo>
                      <a:lnTo>
                        <a:pt x="14746" y="11996"/>
                      </a:lnTo>
                      <a:lnTo>
                        <a:pt x="14746" y="11856"/>
                      </a:lnTo>
                      <a:lnTo>
                        <a:pt x="14746" y="11670"/>
                      </a:lnTo>
                      <a:lnTo>
                        <a:pt x="14842" y="11529"/>
                      </a:lnTo>
                      <a:lnTo>
                        <a:pt x="14890" y="11389"/>
                      </a:lnTo>
                      <a:lnTo>
                        <a:pt x="14890" y="11296"/>
                      </a:lnTo>
                      <a:lnTo>
                        <a:pt x="14794" y="10923"/>
                      </a:lnTo>
                      <a:lnTo>
                        <a:pt x="14746" y="10829"/>
                      </a:lnTo>
                      <a:lnTo>
                        <a:pt x="14746" y="10689"/>
                      </a:lnTo>
                      <a:lnTo>
                        <a:pt x="14746" y="10643"/>
                      </a:lnTo>
                      <a:lnTo>
                        <a:pt x="14794" y="10503"/>
                      </a:lnTo>
                      <a:lnTo>
                        <a:pt x="14842" y="10409"/>
                      </a:lnTo>
                      <a:lnTo>
                        <a:pt x="14794" y="10222"/>
                      </a:lnTo>
                      <a:lnTo>
                        <a:pt x="14890" y="10082"/>
                      </a:lnTo>
                      <a:lnTo>
                        <a:pt x="14890" y="9896"/>
                      </a:lnTo>
                      <a:lnTo>
                        <a:pt x="14890" y="9802"/>
                      </a:lnTo>
                      <a:lnTo>
                        <a:pt x="15083" y="9709"/>
                      </a:lnTo>
                      <a:lnTo>
                        <a:pt x="15227" y="9522"/>
                      </a:lnTo>
                      <a:lnTo>
                        <a:pt x="15227" y="9382"/>
                      </a:lnTo>
                      <a:lnTo>
                        <a:pt x="15179" y="9196"/>
                      </a:lnTo>
                      <a:lnTo>
                        <a:pt x="15179" y="9056"/>
                      </a:lnTo>
                      <a:lnTo>
                        <a:pt x="15131" y="8822"/>
                      </a:lnTo>
                      <a:lnTo>
                        <a:pt x="15131" y="8635"/>
                      </a:lnTo>
                      <a:lnTo>
                        <a:pt x="15179" y="8449"/>
                      </a:lnTo>
                      <a:lnTo>
                        <a:pt x="15227" y="8215"/>
                      </a:lnTo>
                      <a:lnTo>
                        <a:pt x="15324" y="7982"/>
                      </a:lnTo>
                      <a:lnTo>
                        <a:pt x="15420" y="7842"/>
                      </a:lnTo>
                      <a:lnTo>
                        <a:pt x="15468" y="7749"/>
                      </a:lnTo>
                      <a:lnTo>
                        <a:pt x="15468" y="7562"/>
                      </a:lnTo>
                      <a:lnTo>
                        <a:pt x="15517" y="7468"/>
                      </a:lnTo>
                      <a:lnTo>
                        <a:pt x="15565" y="7235"/>
                      </a:lnTo>
                      <a:lnTo>
                        <a:pt x="15709" y="7048"/>
                      </a:lnTo>
                      <a:lnTo>
                        <a:pt x="15854" y="6815"/>
                      </a:lnTo>
                      <a:lnTo>
                        <a:pt x="15854" y="6628"/>
                      </a:lnTo>
                      <a:lnTo>
                        <a:pt x="15902" y="6488"/>
                      </a:lnTo>
                      <a:lnTo>
                        <a:pt x="15950" y="6442"/>
                      </a:lnTo>
                      <a:lnTo>
                        <a:pt x="15998" y="6348"/>
                      </a:lnTo>
                      <a:lnTo>
                        <a:pt x="15998" y="6208"/>
                      </a:lnTo>
                      <a:lnTo>
                        <a:pt x="16095" y="6115"/>
                      </a:lnTo>
                      <a:lnTo>
                        <a:pt x="16191" y="6068"/>
                      </a:lnTo>
                      <a:lnTo>
                        <a:pt x="16191" y="5928"/>
                      </a:lnTo>
                      <a:lnTo>
                        <a:pt x="16191" y="5835"/>
                      </a:lnTo>
                      <a:lnTo>
                        <a:pt x="16191" y="5741"/>
                      </a:lnTo>
                      <a:lnTo>
                        <a:pt x="16239" y="5648"/>
                      </a:lnTo>
                      <a:lnTo>
                        <a:pt x="16336" y="5508"/>
                      </a:lnTo>
                      <a:lnTo>
                        <a:pt x="16384" y="5461"/>
                      </a:lnTo>
                      <a:lnTo>
                        <a:pt x="16336" y="5368"/>
                      </a:lnTo>
                      <a:lnTo>
                        <a:pt x="16288" y="5368"/>
                      </a:lnTo>
                      <a:lnTo>
                        <a:pt x="16191" y="5321"/>
                      </a:lnTo>
                      <a:lnTo>
                        <a:pt x="16143" y="5368"/>
                      </a:lnTo>
                      <a:lnTo>
                        <a:pt x="16095" y="5368"/>
                      </a:lnTo>
                      <a:lnTo>
                        <a:pt x="16047" y="5368"/>
                      </a:lnTo>
                      <a:lnTo>
                        <a:pt x="16047" y="5461"/>
                      </a:lnTo>
                      <a:lnTo>
                        <a:pt x="15950" y="5508"/>
                      </a:lnTo>
                      <a:lnTo>
                        <a:pt x="15998" y="5695"/>
                      </a:lnTo>
                      <a:lnTo>
                        <a:pt x="15854" y="5741"/>
                      </a:lnTo>
                      <a:lnTo>
                        <a:pt x="15902" y="5835"/>
                      </a:lnTo>
                      <a:lnTo>
                        <a:pt x="15806" y="5835"/>
                      </a:lnTo>
                      <a:lnTo>
                        <a:pt x="15709" y="5835"/>
                      </a:lnTo>
                      <a:lnTo>
                        <a:pt x="15661" y="5835"/>
                      </a:lnTo>
                      <a:lnTo>
                        <a:pt x="15661" y="6021"/>
                      </a:lnTo>
                      <a:lnTo>
                        <a:pt x="15613" y="6162"/>
                      </a:lnTo>
                      <a:lnTo>
                        <a:pt x="15565" y="6302"/>
                      </a:lnTo>
                      <a:lnTo>
                        <a:pt x="15468" y="6395"/>
                      </a:lnTo>
                      <a:lnTo>
                        <a:pt x="15420" y="6488"/>
                      </a:lnTo>
                      <a:lnTo>
                        <a:pt x="15372" y="6722"/>
                      </a:lnTo>
                      <a:lnTo>
                        <a:pt x="15324" y="6815"/>
                      </a:lnTo>
                      <a:lnTo>
                        <a:pt x="15420" y="6955"/>
                      </a:lnTo>
                      <a:lnTo>
                        <a:pt x="15372" y="7048"/>
                      </a:lnTo>
                      <a:lnTo>
                        <a:pt x="15324" y="7095"/>
                      </a:lnTo>
                      <a:lnTo>
                        <a:pt x="15324" y="7048"/>
                      </a:lnTo>
                      <a:lnTo>
                        <a:pt x="15276" y="6955"/>
                      </a:lnTo>
                      <a:lnTo>
                        <a:pt x="15227" y="6908"/>
                      </a:lnTo>
                      <a:lnTo>
                        <a:pt x="15179" y="6955"/>
                      </a:lnTo>
                      <a:lnTo>
                        <a:pt x="15131" y="6955"/>
                      </a:lnTo>
                      <a:lnTo>
                        <a:pt x="15083" y="7048"/>
                      </a:lnTo>
                      <a:lnTo>
                        <a:pt x="14938" y="7095"/>
                      </a:lnTo>
                      <a:lnTo>
                        <a:pt x="14890" y="7142"/>
                      </a:lnTo>
                      <a:lnTo>
                        <a:pt x="14842" y="7142"/>
                      </a:lnTo>
                      <a:lnTo>
                        <a:pt x="14746" y="7095"/>
                      </a:lnTo>
                      <a:lnTo>
                        <a:pt x="14649" y="7188"/>
                      </a:lnTo>
                      <a:lnTo>
                        <a:pt x="14553" y="7515"/>
                      </a:lnTo>
                      <a:lnTo>
                        <a:pt x="14408" y="7842"/>
                      </a:lnTo>
                      <a:lnTo>
                        <a:pt x="14360" y="7889"/>
                      </a:lnTo>
                      <a:lnTo>
                        <a:pt x="14216" y="7935"/>
                      </a:lnTo>
                      <a:lnTo>
                        <a:pt x="14023" y="8075"/>
                      </a:lnTo>
                      <a:lnTo>
                        <a:pt x="13926" y="8309"/>
                      </a:lnTo>
                      <a:lnTo>
                        <a:pt x="13782" y="8355"/>
                      </a:lnTo>
                      <a:lnTo>
                        <a:pt x="13685" y="8402"/>
                      </a:lnTo>
                      <a:lnTo>
                        <a:pt x="13637" y="8355"/>
                      </a:lnTo>
                      <a:lnTo>
                        <a:pt x="13637" y="8262"/>
                      </a:lnTo>
                      <a:lnTo>
                        <a:pt x="13685" y="8215"/>
                      </a:lnTo>
                      <a:lnTo>
                        <a:pt x="13734" y="8122"/>
                      </a:lnTo>
                      <a:lnTo>
                        <a:pt x="13685" y="7982"/>
                      </a:lnTo>
                      <a:lnTo>
                        <a:pt x="13734" y="7842"/>
                      </a:lnTo>
                      <a:lnTo>
                        <a:pt x="13782" y="7749"/>
                      </a:lnTo>
                      <a:lnTo>
                        <a:pt x="13734" y="7655"/>
                      </a:lnTo>
                      <a:lnTo>
                        <a:pt x="13926" y="7468"/>
                      </a:lnTo>
                      <a:lnTo>
                        <a:pt x="13926" y="7328"/>
                      </a:lnTo>
                      <a:lnTo>
                        <a:pt x="13975" y="7235"/>
                      </a:lnTo>
                      <a:lnTo>
                        <a:pt x="14071" y="7142"/>
                      </a:lnTo>
                      <a:lnTo>
                        <a:pt x="14119" y="7048"/>
                      </a:lnTo>
                      <a:lnTo>
                        <a:pt x="14167" y="6908"/>
                      </a:lnTo>
                      <a:lnTo>
                        <a:pt x="14167" y="6815"/>
                      </a:lnTo>
                      <a:lnTo>
                        <a:pt x="14264" y="6722"/>
                      </a:lnTo>
                      <a:lnTo>
                        <a:pt x="14360" y="6675"/>
                      </a:lnTo>
                      <a:lnTo>
                        <a:pt x="14601" y="6582"/>
                      </a:lnTo>
                      <a:lnTo>
                        <a:pt x="14649" y="6535"/>
                      </a:lnTo>
                      <a:lnTo>
                        <a:pt x="14649" y="6302"/>
                      </a:lnTo>
                      <a:lnTo>
                        <a:pt x="14697" y="6208"/>
                      </a:lnTo>
                      <a:lnTo>
                        <a:pt x="14601" y="6162"/>
                      </a:lnTo>
                      <a:lnTo>
                        <a:pt x="14505" y="6115"/>
                      </a:lnTo>
                      <a:lnTo>
                        <a:pt x="14408" y="6021"/>
                      </a:lnTo>
                      <a:lnTo>
                        <a:pt x="14264" y="5928"/>
                      </a:lnTo>
                      <a:lnTo>
                        <a:pt x="14216" y="5835"/>
                      </a:lnTo>
                      <a:lnTo>
                        <a:pt x="14264" y="5695"/>
                      </a:lnTo>
                      <a:lnTo>
                        <a:pt x="14360" y="5461"/>
                      </a:lnTo>
                      <a:lnTo>
                        <a:pt x="14408" y="5275"/>
                      </a:lnTo>
                      <a:lnTo>
                        <a:pt x="14312" y="5181"/>
                      </a:lnTo>
                      <a:lnTo>
                        <a:pt x="14216" y="5228"/>
                      </a:lnTo>
                      <a:lnTo>
                        <a:pt x="13975" y="5321"/>
                      </a:lnTo>
                      <a:lnTo>
                        <a:pt x="13878" y="5321"/>
                      </a:lnTo>
                      <a:lnTo>
                        <a:pt x="13782" y="5228"/>
                      </a:lnTo>
                      <a:lnTo>
                        <a:pt x="13830" y="5135"/>
                      </a:lnTo>
                      <a:lnTo>
                        <a:pt x="13878" y="4948"/>
                      </a:lnTo>
                      <a:lnTo>
                        <a:pt x="13926" y="4761"/>
                      </a:lnTo>
                      <a:lnTo>
                        <a:pt x="13926" y="4621"/>
                      </a:lnTo>
                      <a:lnTo>
                        <a:pt x="13878" y="4528"/>
                      </a:lnTo>
                      <a:lnTo>
                        <a:pt x="13926" y="4434"/>
                      </a:lnTo>
                      <a:lnTo>
                        <a:pt x="13975" y="4341"/>
                      </a:lnTo>
                      <a:lnTo>
                        <a:pt x="13926" y="4248"/>
                      </a:lnTo>
                      <a:lnTo>
                        <a:pt x="13830" y="4154"/>
                      </a:lnTo>
                      <a:lnTo>
                        <a:pt x="13926" y="4108"/>
                      </a:lnTo>
                      <a:lnTo>
                        <a:pt x="13926" y="4061"/>
                      </a:lnTo>
                      <a:lnTo>
                        <a:pt x="13830" y="3968"/>
                      </a:lnTo>
                      <a:lnTo>
                        <a:pt x="13637" y="3828"/>
                      </a:lnTo>
                      <a:lnTo>
                        <a:pt x="13445" y="3781"/>
                      </a:lnTo>
                      <a:lnTo>
                        <a:pt x="13348" y="3734"/>
                      </a:lnTo>
                      <a:lnTo>
                        <a:pt x="13300" y="3734"/>
                      </a:lnTo>
                      <a:lnTo>
                        <a:pt x="13204" y="3781"/>
                      </a:lnTo>
                      <a:lnTo>
                        <a:pt x="13107" y="3734"/>
                      </a:lnTo>
                      <a:lnTo>
                        <a:pt x="13011" y="3688"/>
                      </a:lnTo>
                      <a:lnTo>
                        <a:pt x="12963" y="3641"/>
                      </a:lnTo>
                      <a:lnTo>
                        <a:pt x="12963" y="3548"/>
                      </a:lnTo>
                      <a:lnTo>
                        <a:pt x="13059" y="3454"/>
                      </a:lnTo>
                      <a:lnTo>
                        <a:pt x="13059" y="3407"/>
                      </a:lnTo>
                      <a:lnTo>
                        <a:pt x="13011" y="3314"/>
                      </a:lnTo>
                      <a:lnTo>
                        <a:pt x="13011" y="3267"/>
                      </a:lnTo>
                      <a:lnTo>
                        <a:pt x="12963" y="3221"/>
                      </a:lnTo>
                      <a:lnTo>
                        <a:pt x="12866" y="3174"/>
                      </a:lnTo>
                      <a:lnTo>
                        <a:pt x="12818" y="3174"/>
                      </a:lnTo>
                      <a:lnTo>
                        <a:pt x="12625" y="3127"/>
                      </a:lnTo>
                      <a:lnTo>
                        <a:pt x="12384" y="3127"/>
                      </a:lnTo>
                      <a:lnTo>
                        <a:pt x="12288" y="3081"/>
                      </a:lnTo>
                      <a:lnTo>
                        <a:pt x="12192" y="3081"/>
                      </a:lnTo>
                      <a:lnTo>
                        <a:pt x="12047" y="3081"/>
                      </a:lnTo>
                      <a:lnTo>
                        <a:pt x="11806" y="2987"/>
                      </a:lnTo>
                      <a:lnTo>
                        <a:pt x="11662" y="3034"/>
                      </a:lnTo>
                      <a:lnTo>
                        <a:pt x="11565" y="3081"/>
                      </a:lnTo>
                      <a:lnTo>
                        <a:pt x="11517" y="3081"/>
                      </a:lnTo>
                      <a:lnTo>
                        <a:pt x="11421" y="3034"/>
                      </a:lnTo>
                      <a:lnTo>
                        <a:pt x="11276" y="2987"/>
                      </a:lnTo>
                      <a:lnTo>
                        <a:pt x="11083" y="3034"/>
                      </a:lnTo>
                      <a:lnTo>
                        <a:pt x="10987" y="2987"/>
                      </a:lnTo>
                      <a:lnTo>
                        <a:pt x="10746" y="2847"/>
                      </a:lnTo>
                      <a:lnTo>
                        <a:pt x="10601" y="2754"/>
                      </a:lnTo>
                      <a:lnTo>
                        <a:pt x="10457" y="2707"/>
                      </a:lnTo>
                      <a:lnTo>
                        <a:pt x="10360" y="2661"/>
                      </a:lnTo>
                      <a:lnTo>
                        <a:pt x="10264" y="2661"/>
                      </a:lnTo>
                      <a:lnTo>
                        <a:pt x="9638" y="2567"/>
                      </a:lnTo>
                      <a:lnTo>
                        <a:pt x="8674" y="2381"/>
                      </a:lnTo>
                      <a:lnTo>
                        <a:pt x="8144" y="2241"/>
                      </a:lnTo>
                      <a:lnTo>
                        <a:pt x="8047" y="2241"/>
                      </a:lnTo>
                      <a:lnTo>
                        <a:pt x="7566" y="2147"/>
                      </a:lnTo>
                      <a:lnTo>
                        <a:pt x="7517" y="2101"/>
                      </a:lnTo>
                      <a:lnTo>
                        <a:pt x="7469" y="2054"/>
                      </a:lnTo>
                      <a:lnTo>
                        <a:pt x="7421" y="1914"/>
                      </a:lnTo>
                      <a:lnTo>
                        <a:pt x="7325" y="1680"/>
                      </a:lnTo>
                      <a:lnTo>
                        <a:pt x="7276" y="1587"/>
                      </a:lnTo>
                      <a:lnTo>
                        <a:pt x="7180" y="1494"/>
                      </a:lnTo>
                      <a:lnTo>
                        <a:pt x="7132" y="1494"/>
                      </a:lnTo>
                      <a:lnTo>
                        <a:pt x="6987" y="1494"/>
                      </a:lnTo>
                      <a:lnTo>
                        <a:pt x="6939" y="1494"/>
                      </a:lnTo>
                      <a:lnTo>
                        <a:pt x="6891" y="1400"/>
                      </a:lnTo>
                      <a:lnTo>
                        <a:pt x="6746" y="1400"/>
                      </a:lnTo>
                      <a:lnTo>
                        <a:pt x="6698" y="1400"/>
                      </a:lnTo>
                      <a:lnTo>
                        <a:pt x="6650" y="1307"/>
                      </a:lnTo>
                      <a:lnTo>
                        <a:pt x="6554" y="1307"/>
                      </a:lnTo>
                      <a:lnTo>
                        <a:pt x="6409" y="1260"/>
                      </a:lnTo>
                      <a:lnTo>
                        <a:pt x="6264" y="1214"/>
                      </a:lnTo>
                      <a:lnTo>
                        <a:pt x="6024" y="1074"/>
                      </a:lnTo>
                      <a:lnTo>
                        <a:pt x="5879" y="980"/>
                      </a:lnTo>
                      <a:lnTo>
                        <a:pt x="5831" y="1027"/>
                      </a:lnTo>
                      <a:lnTo>
                        <a:pt x="5783" y="1074"/>
                      </a:lnTo>
                      <a:lnTo>
                        <a:pt x="5686" y="1120"/>
                      </a:lnTo>
                      <a:lnTo>
                        <a:pt x="5590" y="1167"/>
                      </a:lnTo>
                      <a:lnTo>
                        <a:pt x="5493" y="1214"/>
                      </a:lnTo>
                      <a:lnTo>
                        <a:pt x="5445" y="1307"/>
                      </a:lnTo>
                      <a:lnTo>
                        <a:pt x="5301" y="1260"/>
                      </a:lnTo>
                      <a:lnTo>
                        <a:pt x="5349" y="1120"/>
                      </a:lnTo>
                      <a:lnTo>
                        <a:pt x="5493" y="980"/>
                      </a:lnTo>
                      <a:lnTo>
                        <a:pt x="5493" y="934"/>
                      </a:lnTo>
                      <a:lnTo>
                        <a:pt x="5445" y="747"/>
                      </a:lnTo>
                      <a:lnTo>
                        <a:pt x="5542" y="560"/>
                      </a:lnTo>
                      <a:lnTo>
                        <a:pt x="5638" y="420"/>
                      </a:lnTo>
                      <a:lnTo>
                        <a:pt x="5686" y="327"/>
                      </a:lnTo>
                      <a:lnTo>
                        <a:pt x="5686" y="187"/>
                      </a:lnTo>
                      <a:lnTo>
                        <a:pt x="5686" y="93"/>
                      </a:lnTo>
                      <a:lnTo>
                        <a:pt x="5542" y="93"/>
                      </a:lnTo>
                      <a:lnTo>
                        <a:pt x="5493" y="47"/>
                      </a:lnTo>
                      <a:lnTo>
                        <a:pt x="5445" y="0"/>
                      </a:lnTo>
                      <a:lnTo>
                        <a:pt x="5349" y="0"/>
                      </a:lnTo>
                      <a:lnTo>
                        <a:pt x="5253" y="93"/>
                      </a:lnTo>
                      <a:lnTo>
                        <a:pt x="5108" y="93"/>
                      </a:lnTo>
                      <a:lnTo>
                        <a:pt x="4963" y="233"/>
                      </a:lnTo>
                      <a:lnTo>
                        <a:pt x="4578" y="420"/>
                      </a:lnTo>
                      <a:lnTo>
                        <a:pt x="4482" y="373"/>
                      </a:lnTo>
                      <a:lnTo>
                        <a:pt x="4385" y="420"/>
                      </a:lnTo>
                      <a:lnTo>
                        <a:pt x="4192" y="560"/>
                      </a:lnTo>
                      <a:lnTo>
                        <a:pt x="4048" y="653"/>
                      </a:lnTo>
                      <a:lnTo>
                        <a:pt x="3903" y="747"/>
                      </a:lnTo>
                      <a:lnTo>
                        <a:pt x="3759" y="794"/>
                      </a:lnTo>
                      <a:lnTo>
                        <a:pt x="3566" y="840"/>
                      </a:lnTo>
                      <a:lnTo>
                        <a:pt x="3373" y="840"/>
                      </a:lnTo>
                      <a:lnTo>
                        <a:pt x="3229" y="934"/>
                      </a:lnTo>
                      <a:lnTo>
                        <a:pt x="2988" y="1027"/>
                      </a:lnTo>
                      <a:lnTo>
                        <a:pt x="2891" y="1074"/>
                      </a:lnTo>
                      <a:lnTo>
                        <a:pt x="2699" y="1074"/>
                      </a:lnTo>
                      <a:lnTo>
                        <a:pt x="2602" y="1120"/>
                      </a:lnTo>
                      <a:lnTo>
                        <a:pt x="2458" y="1074"/>
                      </a:lnTo>
                      <a:lnTo>
                        <a:pt x="2409" y="1074"/>
                      </a:lnTo>
                      <a:lnTo>
                        <a:pt x="2265" y="980"/>
                      </a:lnTo>
                      <a:lnTo>
                        <a:pt x="2168" y="934"/>
                      </a:lnTo>
                      <a:lnTo>
                        <a:pt x="2120" y="887"/>
                      </a:lnTo>
                      <a:lnTo>
                        <a:pt x="2072" y="934"/>
                      </a:lnTo>
                      <a:lnTo>
                        <a:pt x="2024" y="1074"/>
                      </a:lnTo>
                      <a:lnTo>
                        <a:pt x="1928" y="1074"/>
                      </a:lnTo>
                      <a:lnTo>
                        <a:pt x="1976" y="887"/>
                      </a:lnTo>
                      <a:lnTo>
                        <a:pt x="1831" y="980"/>
                      </a:lnTo>
                      <a:lnTo>
                        <a:pt x="1783" y="1167"/>
                      </a:lnTo>
                      <a:lnTo>
                        <a:pt x="1687" y="1167"/>
                      </a:lnTo>
                      <a:lnTo>
                        <a:pt x="1590" y="1214"/>
                      </a:lnTo>
                      <a:lnTo>
                        <a:pt x="1638" y="2054"/>
                      </a:lnTo>
                      <a:lnTo>
                        <a:pt x="1687" y="3034"/>
                      </a:lnTo>
                      <a:lnTo>
                        <a:pt x="1638" y="3361"/>
                      </a:lnTo>
                      <a:lnTo>
                        <a:pt x="1590" y="3407"/>
                      </a:lnTo>
                      <a:lnTo>
                        <a:pt x="1494" y="3548"/>
                      </a:lnTo>
                      <a:lnTo>
                        <a:pt x="1301" y="3548"/>
                      </a:lnTo>
                      <a:lnTo>
                        <a:pt x="1205" y="3688"/>
                      </a:lnTo>
                      <a:lnTo>
                        <a:pt x="1060" y="3734"/>
                      </a:lnTo>
                      <a:lnTo>
                        <a:pt x="916" y="3828"/>
                      </a:lnTo>
                      <a:lnTo>
                        <a:pt x="626" y="3968"/>
                      </a:lnTo>
                      <a:lnTo>
                        <a:pt x="530" y="4061"/>
                      </a:lnTo>
                      <a:lnTo>
                        <a:pt x="482" y="4154"/>
                      </a:lnTo>
                      <a:lnTo>
                        <a:pt x="434" y="4248"/>
                      </a:lnTo>
                      <a:lnTo>
                        <a:pt x="386" y="4481"/>
                      </a:lnTo>
                      <a:lnTo>
                        <a:pt x="337" y="4574"/>
                      </a:lnTo>
                      <a:lnTo>
                        <a:pt x="241" y="4668"/>
                      </a:lnTo>
                      <a:lnTo>
                        <a:pt x="145" y="4761"/>
                      </a:lnTo>
                      <a:lnTo>
                        <a:pt x="96" y="4995"/>
                      </a:lnTo>
                      <a:lnTo>
                        <a:pt x="0" y="5088"/>
                      </a:lnTo>
                      <a:lnTo>
                        <a:pt x="96" y="5228"/>
                      </a:lnTo>
                      <a:lnTo>
                        <a:pt x="434" y="5275"/>
                      </a:lnTo>
                      <a:lnTo>
                        <a:pt x="530" y="5461"/>
                      </a:lnTo>
                      <a:lnTo>
                        <a:pt x="723" y="5648"/>
                      </a:lnTo>
                      <a:lnTo>
                        <a:pt x="771" y="5741"/>
                      </a:lnTo>
                      <a:lnTo>
                        <a:pt x="723" y="5835"/>
                      </a:lnTo>
                      <a:lnTo>
                        <a:pt x="578" y="5975"/>
                      </a:lnTo>
                      <a:lnTo>
                        <a:pt x="530" y="6115"/>
                      </a:lnTo>
                      <a:lnTo>
                        <a:pt x="530" y="6255"/>
                      </a:lnTo>
                      <a:lnTo>
                        <a:pt x="482" y="6302"/>
                      </a:lnTo>
                      <a:lnTo>
                        <a:pt x="530" y="6582"/>
                      </a:lnTo>
                      <a:lnTo>
                        <a:pt x="482" y="6628"/>
                      </a:lnTo>
                      <a:lnTo>
                        <a:pt x="482" y="6862"/>
                      </a:lnTo>
                      <a:lnTo>
                        <a:pt x="434" y="7095"/>
                      </a:lnTo>
                      <a:lnTo>
                        <a:pt x="482" y="7188"/>
                      </a:lnTo>
                      <a:lnTo>
                        <a:pt x="578" y="7515"/>
                      </a:lnTo>
                      <a:lnTo>
                        <a:pt x="530" y="7702"/>
                      </a:lnTo>
                      <a:lnTo>
                        <a:pt x="578" y="7842"/>
                      </a:lnTo>
                      <a:lnTo>
                        <a:pt x="482" y="7982"/>
                      </a:lnTo>
                      <a:lnTo>
                        <a:pt x="482" y="8262"/>
                      </a:lnTo>
                      <a:lnTo>
                        <a:pt x="675" y="8449"/>
                      </a:lnTo>
                      <a:lnTo>
                        <a:pt x="819" y="8495"/>
                      </a:lnTo>
                      <a:lnTo>
                        <a:pt x="964" y="8635"/>
                      </a:lnTo>
                      <a:lnTo>
                        <a:pt x="1060" y="8822"/>
                      </a:lnTo>
                      <a:lnTo>
                        <a:pt x="1253" y="8916"/>
                      </a:lnTo>
                      <a:lnTo>
                        <a:pt x="1494" y="8916"/>
                      </a:lnTo>
                      <a:lnTo>
                        <a:pt x="1735" y="8962"/>
                      </a:lnTo>
                      <a:lnTo>
                        <a:pt x="1783" y="9009"/>
                      </a:lnTo>
                      <a:lnTo>
                        <a:pt x="1831" y="9102"/>
                      </a:lnTo>
                      <a:lnTo>
                        <a:pt x="1928" y="9242"/>
                      </a:lnTo>
                      <a:lnTo>
                        <a:pt x="2024" y="9336"/>
                      </a:lnTo>
                      <a:lnTo>
                        <a:pt x="2458" y="9429"/>
                      </a:lnTo>
                      <a:lnTo>
                        <a:pt x="2699" y="9522"/>
                      </a:lnTo>
                      <a:lnTo>
                        <a:pt x="2891" y="9662"/>
                      </a:lnTo>
                      <a:lnTo>
                        <a:pt x="3036" y="9802"/>
                      </a:lnTo>
                      <a:lnTo>
                        <a:pt x="3084" y="9989"/>
                      </a:lnTo>
                      <a:lnTo>
                        <a:pt x="3132" y="10129"/>
                      </a:lnTo>
                      <a:lnTo>
                        <a:pt x="3229" y="10269"/>
                      </a:lnTo>
                      <a:lnTo>
                        <a:pt x="3325" y="10316"/>
                      </a:lnTo>
                      <a:lnTo>
                        <a:pt x="3566" y="10456"/>
                      </a:lnTo>
                      <a:lnTo>
                        <a:pt x="3710" y="10596"/>
                      </a:lnTo>
                      <a:lnTo>
                        <a:pt x="3903" y="10689"/>
                      </a:lnTo>
                      <a:lnTo>
                        <a:pt x="4048" y="10829"/>
                      </a:lnTo>
                      <a:lnTo>
                        <a:pt x="4192" y="10923"/>
                      </a:lnTo>
                      <a:lnTo>
                        <a:pt x="4337" y="10969"/>
                      </a:lnTo>
                      <a:lnTo>
                        <a:pt x="4482" y="11063"/>
                      </a:lnTo>
                      <a:lnTo>
                        <a:pt x="4626" y="11203"/>
                      </a:lnTo>
                      <a:lnTo>
                        <a:pt x="4722" y="11343"/>
                      </a:lnTo>
                      <a:lnTo>
                        <a:pt x="4819" y="11436"/>
                      </a:lnTo>
                      <a:lnTo>
                        <a:pt x="4867" y="11529"/>
                      </a:lnTo>
                      <a:lnTo>
                        <a:pt x="4963" y="11670"/>
                      </a:lnTo>
                      <a:lnTo>
                        <a:pt x="4963" y="11716"/>
                      </a:lnTo>
                      <a:lnTo>
                        <a:pt x="4915" y="11903"/>
                      </a:lnTo>
                      <a:lnTo>
                        <a:pt x="4867" y="12043"/>
                      </a:lnTo>
                      <a:lnTo>
                        <a:pt x="5012" y="12276"/>
                      </a:lnTo>
                      <a:lnTo>
                        <a:pt x="4963" y="12416"/>
                      </a:lnTo>
                      <a:lnTo>
                        <a:pt x="4963" y="12556"/>
                      </a:lnTo>
                      <a:lnTo>
                        <a:pt x="5060" y="12743"/>
                      </a:lnTo>
                      <a:lnTo>
                        <a:pt x="5060" y="12696"/>
                      </a:lnTo>
                      <a:lnTo>
                        <a:pt x="5060" y="12790"/>
                      </a:lnTo>
                      <a:lnTo>
                        <a:pt x="5060" y="12977"/>
                      </a:lnTo>
                      <a:lnTo>
                        <a:pt x="5108" y="13023"/>
                      </a:lnTo>
                      <a:close/>
                    </a:path>
                  </a:pathLst>
                </a:custGeom>
                <a:solidFill>
                  <a:srgbClr val="0070C0"/>
                </a:solidFill>
                <a:ln w="9525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defTabSz="121917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67" name="Wyoming">
                  <a:extLst>
                    <a:ext uri="{FF2B5EF4-FFF2-40B4-BE49-F238E27FC236}">
                      <a16:creationId xmlns:a16="http://schemas.microsoft.com/office/drawing/2014/main" id="{0965BCD8-AB0B-C4C2-2A4A-B291E9F134D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448550" y="4038600"/>
                  <a:ext cx="4171950" cy="3276600"/>
                </a:xfrm>
                <a:custGeom>
                  <a:avLst/>
                  <a:gdLst>
                    <a:gd name="T0" fmla="*/ 2147483647 w 16384"/>
                    <a:gd name="T1" fmla="*/ 2147483647 h 16384"/>
                    <a:gd name="T2" fmla="*/ 2147483647 w 16384"/>
                    <a:gd name="T3" fmla="*/ 2147483647 h 16384"/>
                    <a:gd name="T4" fmla="*/ 2147483647 w 16384"/>
                    <a:gd name="T5" fmla="*/ 2147483647 h 16384"/>
                    <a:gd name="T6" fmla="*/ 2147483647 w 16384"/>
                    <a:gd name="T7" fmla="*/ 2147483647 h 16384"/>
                    <a:gd name="T8" fmla="*/ 2147483647 w 16384"/>
                    <a:gd name="T9" fmla="*/ 2147483647 h 16384"/>
                    <a:gd name="T10" fmla="*/ 2147483647 w 16384"/>
                    <a:gd name="T11" fmla="*/ 2147483647 h 16384"/>
                    <a:gd name="T12" fmla="*/ 2147483647 w 16384"/>
                    <a:gd name="T13" fmla="*/ 2147483647 h 16384"/>
                    <a:gd name="T14" fmla="*/ 2147483647 w 16384"/>
                    <a:gd name="T15" fmla="*/ 2147483647 h 16384"/>
                    <a:gd name="T16" fmla="*/ 2147483647 w 16384"/>
                    <a:gd name="T17" fmla="*/ 2147483647 h 16384"/>
                    <a:gd name="T18" fmla="*/ 2147483647 w 16384"/>
                    <a:gd name="T19" fmla="*/ 2147483647 h 16384"/>
                    <a:gd name="T20" fmla="*/ 2147483647 w 16384"/>
                    <a:gd name="T21" fmla="*/ 2147483647 h 16384"/>
                    <a:gd name="T22" fmla="*/ 2147483647 w 16384"/>
                    <a:gd name="T23" fmla="*/ 2147483647 h 16384"/>
                    <a:gd name="T24" fmla="*/ 2147483647 w 16384"/>
                    <a:gd name="T25" fmla="*/ 2147483647 h 16384"/>
                    <a:gd name="T26" fmla="*/ 2147483647 w 16384"/>
                    <a:gd name="T27" fmla="*/ 2147483647 h 16384"/>
                    <a:gd name="T28" fmla="*/ 2147483647 w 16384"/>
                    <a:gd name="T29" fmla="*/ 2147483647 h 16384"/>
                    <a:gd name="T30" fmla="*/ 2147483647 w 16384"/>
                    <a:gd name="T31" fmla="*/ 2147483647 h 16384"/>
                    <a:gd name="T32" fmla="*/ 2147483647 w 16384"/>
                    <a:gd name="T33" fmla="*/ 2147483647 h 16384"/>
                    <a:gd name="T34" fmla="*/ 2147483647 w 16384"/>
                    <a:gd name="T35" fmla="*/ 2147483647 h 16384"/>
                    <a:gd name="T36" fmla="*/ 2147483647 w 16384"/>
                    <a:gd name="T37" fmla="*/ 2147483647 h 16384"/>
                    <a:gd name="T38" fmla="*/ 2147483647 w 16384"/>
                    <a:gd name="T39" fmla="*/ 2147483647 h 16384"/>
                    <a:gd name="T40" fmla="*/ 2147483647 w 16384"/>
                    <a:gd name="T41" fmla="*/ 2147483647 h 16384"/>
                    <a:gd name="T42" fmla="*/ 2147483647 w 16384"/>
                    <a:gd name="T43" fmla="*/ 2147483647 h 16384"/>
                    <a:gd name="T44" fmla="*/ 2147483647 w 16384"/>
                    <a:gd name="T45" fmla="*/ 2147483647 h 16384"/>
                    <a:gd name="T46" fmla="*/ 2147483647 w 16384"/>
                    <a:gd name="T47" fmla="*/ 0 h 16384"/>
                    <a:gd name="T48" fmla="*/ 2147483647 w 16384"/>
                    <a:gd name="T49" fmla="*/ 2147483647 h 16384"/>
                    <a:gd name="T50" fmla="*/ 2147483647 w 16384"/>
                    <a:gd name="T51" fmla="*/ 2147483647 h 16384"/>
                    <a:gd name="T52" fmla="*/ 2147483647 w 16384"/>
                    <a:gd name="T53" fmla="*/ 2147483647 h 16384"/>
                    <a:gd name="T54" fmla="*/ 2147483647 w 16384"/>
                    <a:gd name="T55" fmla="*/ 2147483647 h 16384"/>
                    <a:gd name="T56" fmla="*/ 2147483647 w 16384"/>
                    <a:gd name="T57" fmla="*/ 2147483647 h 16384"/>
                    <a:gd name="T58" fmla="*/ 2147483647 w 16384"/>
                    <a:gd name="T59" fmla="*/ 2147483647 h 16384"/>
                    <a:gd name="T60" fmla="*/ 2147483647 w 16384"/>
                    <a:gd name="T61" fmla="*/ 2147483647 h 16384"/>
                    <a:gd name="T62" fmla="*/ 2147483647 w 16384"/>
                    <a:gd name="T63" fmla="*/ 2147483647 h 16384"/>
                    <a:gd name="T64" fmla="*/ 2147483647 w 16384"/>
                    <a:gd name="T65" fmla="*/ 2147483647 h 16384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w 16384"/>
                    <a:gd name="T100" fmla="*/ 0 h 16384"/>
                    <a:gd name="T101" fmla="*/ 16384 w 16384"/>
                    <a:gd name="T102" fmla="*/ 16384 h 16384"/>
                  </a:gdLst>
                  <a:ahLst/>
                  <a:cxnLst>
                    <a:cxn ang="T66">
                      <a:pos x="T0" y="T1"/>
                    </a:cxn>
                    <a:cxn ang="T67">
                      <a:pos x="T2" y="T3"/>
                    </a:cxn>
                    <a:cxn ang="T68">
                      <a:pos x="T4" y="T5"/>
                    </a:cxn>
                    <a:cxn ang="T69">
                      <a:pos x="T6" y="T7"/>
                    </a:cxn>
                    <a:cxn ang="T70">
                      <a:pos x="T8" y="T9"/>
                    </a:cxn>
                    <a:cxn ang="T71">
                      <a:pos x="T10" y="T11"/>
                    </a:cxn>
                    <a:cxn ang="T72">
                      <a:pos x="T12" y="T13"/>
                    </a:cxn>
                    <a:cxn ang="T73">
                      <a:pos x="T14" y="T15"/>
                    </a:cxn>
                    <a:cxn ang="T74">
                      <a:pos x="T16" y="T17"/>
                    </a:cxn>
                    <a:cxn ang="T75">
                      <a:pos x="T18" y="T19"/>
                    </a:cxn>
                    <a:cxn ang="T76">
                      <a:pos x="T20" y="T21"/>
                    </a:cxn>
                    <a:cxn ang="T77">
                      <a:pos x="T22" y="T23"/>
                    </a:cxn>
                    <a:cxn ang="T78">
                      <a:pos x="T24" y="T25"/>
                    </a:cxn>
                    <a:cxn ang="T79">
                      <a:pos x="T26" y="T27"/>
                    </a:cxn>
                    <a:cxn ang="T80">
                      <a:pos x="T28" y="T29"/>
                    </a:cxn>
                    <a:cxn ang="T81">
                      <a:pos x="T30" y="T31"/>
                    </a:cxn>
                    <a:cxn ang="T82">
                      <a:pos x="T32" y="T33"/>
                    </a:cxn>
                    <a:cxn ang="T83">
                      <a:pos x="T34" y="T35"/>
                    </a:cxn>
                    <a:cxn ang="T84">
                      <a:pos x="T36" y="T37"/>
                    </a:cxn>
                    <a:cxn ang="T85">
                      <a:pos x="T38" y="T39"/>
                    </a:cxn>
                    <a:cxn ang="T86">
                      <a:pos x="T40" y="T41"/>
                    </a:cxn>
                    <a:cxn ang="T87">
                      <a:pos x="T42" y="T43"/>
                    </a:cxn>
                    <a:cxn ang="T88">
                      <a:pos x="T44" y="T45"/>
                    </a:cxn>
                    <a:cxn ang="T89">
                      <a:pos x="T46" y="T47"/>
                    </a:cxn>
                    <a:cxn ang="T90">
                      <a:pos x="T48" y="T49"/>
                    </a:cxn>
                    <a:cxn ang="T91">
                      <a:pos x="T50" y="T51"/>
                    </a:cxn>
                    <a:cxn ang="T92">
                      <a:pos x="T52" y="T53"/>
                    </a:cxn>
                    <a:cxn ang="T93">
                      <a:pos x="T54" y="T55"/>
                    </a:cxn>
                    <a:cxn ang="T94">
                      <a:pos x="T56" y="T57"/>
                    </a:cxn>
                    <a:cxn ang="T95">
                      <a:pos x="T58" y="T59"/>
                    </a:cxn>
                    <a:cxn ang="T96">
                      <a:pos x="T60" y="T61"/>
                    </a:cxn>
                    <a:cxn ang="T97">
                      <a:pos x="T62" y="T63"/>
                    </a:cxn>
                    <a:cxn ang="T98">
                      <a:pos x="T64" y="T65"/>
                    </a:cxn>
                  </a:cxnLst>
                  <a:rect l="T99" t="T100" r="T101" b="T102"/>
                  <a:pathLst>
                    <a:path w="16384" h="16384">
                      <a:moveTo>
                        <a:pt x="10336" y="15757"/>
                      </a:moveTo>
                      <a:lnTo>
                        <a:pt x="10629" y="15802"/>
                      </a:lnTo>
                      <a:lnTo>
                        <a:pt x="12645" y="16071"/>
                      </a:lnTo>
                      <a:lnTo>
                        <a:pt x="13378" y="16160"/>
                      </a:lnTo>
                      <a:lnTo>
                        <a:pt x="15321" y="16384"/>
                      </a:lnTo>
                      <a:lnTo>
                        <a:pt x="15431" y="14996"/>
                      </a:lnTo>
                      <a:lnTo>
                        <a:pt x="15468" y="14414"/>
                      </a:lnTo>
                      <a:lnTo>
                        <a:pt x="15504" y="13877"/>
                      </a:lnTo>
                      <a:lnTo>
                        <a:pt x="15614" y="12848"/>
                      </a:lnTo>
                      <a:lnTo>
                        <a:pt x="15724" y="10654"/>
                      </a:lnTo>
                      <a:lnTo>
                        <a:pt x="15834" y="9266"/>
                      </a:lnTo>
                      <a:lnTo>
                        <a:pt x="15944" y="7565"/>
                      </a:lnTo>
                      <a:lnTo>
                        <a:pt x="15981" y="7476"/>
                      </a:lnTo>
                      <a:lnTo>
                        <a:pt x="16054" y="6222"/>
                      </a:lnTo>
                      <a:lnTo>
                        <a:pt x="16127" y="5238"/>
                      </a:lnTo>
                      <a:lnTo>
                        <a:pt x="16164" y="5058"/>
                      </a:lnTo>
                      <a:lnTo>
                        <a:pt x="16274" y="3626"/>
                      </a:lnTo>
                      <a:lnTo>
                        <a:pt x="16384" y="2149"/>
                      </a:lnTo>
                      <a:lnTo>
                        <a:pt x="16164" y="2104"/>
                      </a:lnTo>
                      <a:lnTo>
                        <a:pt x="15761" y="2059"/>
                      </a:lnTo>
                      <a:lnTo>
                        <a:pt x="15284" y="2014"/>
                      </a:lnTo>
                      <a:lnTo>
                        <a:pt x="14845" y="1970"/>
                      </a:lnTo>
                      <a:lnTo>
                        <a:pt x="14551" y="1925"/>
                      </a:lnTo>
                      <a:lnTo>
                        <a:pt x="14331" y="1880"/>
                      </a:lnTo>
                      <a:lnTo>
                        <a:pt x="14221" y="1925"/>
                      </a:lnTo>
                      <a:lnTo>
                        <a:pt x="14002" y="1880"/>
                      </a:lnTo>
                      <a:lnTo>
                        <a:pt x="13635" y="1835"/>
                      </a:lnTo>
                      <a:lnTo>
                        <a:pt x="12975" y="1746"/>
                      </a:lnTo>
                      <a:lnTo>
                        <a:pt x="12499" y="1656"/>
                      </a:lnTo>
                      <a:lnTo>
                        <a:pt x="12279" y="1656"/>
                      </a:lnTo>
                      <a:lnTo>
                        <a:pt x="11839" y="1567"/>
                      </a:lnTo>
                      <a:lnTo>
                        <a:pt x="11582" y="1567"/>
                      </a:lnTo>
                      <a:lnTo>
                        <a:pt x="10886" y="1477"/>
                      </a:lnTo>
                      <a:lnTo>
                        <a:pt x="10190" y="1388"/>
                      </a:lnTo>
                      <a:lnTo>
                        <a:pt x="9566" y="1253"/>
                      </a:lnTo>
                      <a:lnTo>
                        <a:pt x="9017" y="1209"/>
                      </a:lnTo>
                      <a:lnTo>
                        <a:pt x="8614" y="1119"/>
                      </a:lnTo>
                      <a:lnTo>
                        <a:pt x="8357" y="1119"/>
                      </a:lnTo>
                      <a:lnTo>
                        <a:pt x="7587" y="985"/>
                      </a:lnTo>
                      <a:lnTo>
                        <a:pt x="6891" y="895"/>
                      </a:lnTo>
                      <a:lnTo>
                        <a:pt x="6524" y="806"/>
                      </a:lnTo>
                      <a:lnTo>
                        <a:pt x="6121" y="761"/>
                      </a:lnTo>
                      <a:lnTo>
                        <a:pt x="5535" y="627"/>
                      </a:lnTo>
                      <a:lnTo>
                        <a:pt x="5095" y="582"/>
                      </a:lnTo>
                      <a:lnTo>
                        <a:pt x="4582" y="448"/>
                      </a:lnTo>
                      <a:lnTo>
                        <a:pt x="4435" y="448"/>
                      </a:lnTo>
                      <a:lnTo>
                        <a:pt x="4032" y="403"/>
                      </a:lnTo>
                      <a:lnTo>
                        <a:pt x="1869" y="0"/>
                      </a:lnTo>
                      <a:lnTo>
                        <a:pt x="1613" y="1746"/>
                      </a:lnTo>
                      <a:lnTo>
                        <a:pt x="1429" y="2954"/>
                      </a:lnTo>
                      <a:lnTo>
                        <a:pt x="1393" y="3492"/>
                      </a:lnTo>
                      <a:lnTo>
                        <a:pt x="1136" y="5193"/>
                      </a:lnTo>
                      <a:lnTo>
                        <a:pt x="1063" y="5954"/>
                      </a:lnTo>
                      <a:lnTo>
                        <a:pt x="916" y="6894"/>
                      </a:lnTo>
                      <a:lnTo>
                        <a:pt x="696" y="8684"/>
                      </a:lnTo>
                      <a:lnTo>
                        <a:pt x="440" y="10520"/>
                      </a:lnTo>
                      <a:lnTo>
                        <a:pt x="257" y="11997"/>
                      </a:lnTo>
                      <a:lnTo>
                        <a:pt x="73" y="13250"/>
                      </a:lnTo>
                      <a:lnTo>
                        <a:pt x="0" y="14101"/>
                      </a:lnTo>
                      <a:lnTo>
                        <a:pt x="2163" y="14504"/>
                      </a:lnTo>
                      <a:lnTo>
                        <a:pt x="2273" y="14504"/>
                      </a:lnTo>
                      <a:lnTo>
                        <a:pt x="4362" y="14907"/>
                      </a:lnTo>
                      <a:lnTo>
                        <a:pt x="6854" y="15220"/>
                      </a:lnTo>
                      <a:lnTo>
                        <a:pt x="8174" y="15444"/>
                      </a:lnTo>
                      <a:lnTo>
                        <a:pt x="9163" y="15578"/>
                      </a:lnTo>
                      <a:lnTo>
                        <a:pt x="10336" y="15757"/>
                      </a:lnTo>
                      <a:close/>
                    </a:path>
                  </a:pathLst>
                </a:custGeom>
                <a:solidFill>
                  <a:srgbClr val="00B050"/>
                </a:solidFill>
                <a:ln w="9525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defTabSz="121917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</a:endParaRPr>
                </a:p>
              </p:txBody>
            </p:sp>
            <p:grpSp>
              <p:nvGrpSpPr>
                <p:cNvPr id="68" name="Virginia">
                  <a:extLst>
                    <a:ext uri="{FF2B5EF4-FFF2-40B4-BE49-F238E27FC236}">
                      <a16:creationId xmlns:a16="http://schemas.microsoft.com/office/drawing/2014/main" id="{C2A24640-B55C-7A8E-74E5-9F6C1E6110BE}"/>
                    </a:ext>
                  </a:extLst>
                </p:cNvPr>
                <p:cNvGrpSpPr>
                  <a:grpSpLocks/>
                </p:cNvGrpSpPr>
                <p:nvPr/>
              </p:nvGrpSpPr>
              <p:grpSpPr bwMode="auto">
                <a:xfrm>
                  <a:off x="23241000" y="7744435"/>
                  <a:ext cx="4733929" cy="2495548"/>
                  <a:chOff x="23241000" y="7744435"/>
                  <a:chExt cx="19773" cy="278"/>
                </a:xfrm>
              </p:grpSpPr>
              <p:sp>
                <p:nvSpPr>
                  <p:cNvPr id="145" name="D51">
                    <a:extLst>
                      <a:ext uri="{FF2B5EF4-FFF2-40B4-BE49-F238E27FC236}">
                        <a16:creationId xmlns:a16="http://schemas.microsoft.com/office/drawing/2014/main" id="{DC6B15EA-1C87-FEE2-48ED-932002389A2F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23259369" y="7744511"/>
                    <a:ext cx="1092" cy="78"/>
                  </a:xfrm>
                  <a:custGeom>
                    <a:avLst/>
                    <a:gdLst>
                      <a:gd name="T0" fmla="*/ 0 w 16384"/>
                      <a:gd name="T1" fmla="*/ 0 h 16384"/>
                      <a:gd name="T2" fmla="*/ 0 w 16384"/>
                      <a:gd name="T3" fmla="*/ 0 h 16384"/>
                      <a:gd name="T4" fmla="*/ 0 w 16384"/>
                      <a:gd name="T5" fmla="*/ 0 h 16384"/>
                      <a:gd name="T6" fmla="*/ 0 w 16384"/>
                      <a:gd name="T7" fmla="*/ 0 h 16384"/>
                      <a:gd name="T8" fmla="*/ 0 w 16384"/>
                      <a:gd name="T9" fmla="*/ 0 h 16384"/>
                      <a:gd name="T10" fmla="*/ 0 w 16384"/>
                      <a:gd name="T11" fmla="*/ 0 h 16384"/>
                      <a:gd name="T12" fmla="*/ 0 w 16384"/>
                      <a:gd name="T13" fmla="*/ 0 h 16384"/>
                      <a:gd name="T14" fmla="*/ 0 w 16384"/>
                      <a:gd name="T15" fmla="*/ 0 h 16384"/>
                      <a:gd name="T16" fmla="*/ 0 w 16384"/>
                      <a:gd name="T17" fmla="*/ 0 h 16384"/>
                      <a:gd name="T18" fmla="*/ 0 w 16384"/>
                      <a:gd name="T19" fmla="*/ 0 h 16384"/>
                      <a:gd name="T20" fmla="*/ 0 w 16384"/>
                      <a:gd name="T21" fmla="*/ 0 h 16384"/>
                      <a:gd name="T22" fmla="*/ 0 w 16384"/>
                      <a:gd name="T23" fmla="*/ 0 h 16384"/>
                      <a:gd name="T24" fmla="*/ 0 w 16384"/>
                      <a:gd name="T25" fmla="*/ 0 h 16384"/>
                      <a:gd name="T26" fmla="*/ 0 w 16384"/>
                      <a:gd name="T27" fmla="*/ 0 h 16384"/>
                      <a:gd name="T28" fmla="*/ 0 w 16384"/>
                      <a:gd name="T29" fmla="*/ 0 h 16384"/>
                      <a:gd name="T30" fmla="*/ 0 w 16384"/>
                      <a:gd name="T31" fmla="*/ 0 h 16384"/>
                      <a:gd name="T32" fmla="*/ 0 w 16384"/>
                      <a:gd name="T33" fmla="*/ 0 h 16384"/>
                      <a:gd name="T34" fmla="*/ 0 w 16384"/>
                      <a:gd name="T35" fmla="*/ 0 h 16384"/>
                      <a:gd name="T36" fmla="*/ 0 w 16384"/>
                      <a:gd name="T37" fmla="*/ 0 h 16384"/>
                      <a:gd name="T38" fmla="*/ 0 w 16384"/>
                      <a:gd name="T39" fmla="*/ 0 h 16384"/>
                      <a:gd name="T40" fmla="*/ 0 w 16384"/>
                      <a:gd name="T41" fmla="*/ 0 h 16384"/>
                      <a:gd name="T42" fmla="*/ 0 w 16384"/>
                      <a:gd name="T43" fmla="*/ 0 h 16384"/>
                      <a:gd name="T44" fmla="*/ 0 w 16384"/>
                      <a:gd name="T45" fmla="*/ 0 h 16384"/>
                      <a:gd name="T46" fmla="*/ 0 w 16384"/>
                      <a:gd name="T47" fmla="*/ 0 h 16384"/>
                      <a:gd name="T48" fmla="*/ 0 w 16384"/>
                      <a:gd name="T49" fmla="*/ 0 h 16384"/>
                      <a:gd name="T50" fmla="*/ 0 w 16384"/>
                      <a:gd name="T51" fmla="*/ 0 h 16384"/>
                      <a:gd name="T52" fmla="*/ 0 w 16384"/>
                      <a:gd name="T53" fmla="*/ 0 h 16384"/>
                      <a:gd name="T54" fmla="*/ 0 w 16384"/>
                      <a:gd name="T55" fmla="*/ 0 h 16384"/>
                      <a:gd name="T56" fmla="*/ 0 w 16384"/>
                      <a:gd name="T57" fmla="*/ 0 h 16384"/>
                      <a:gd name="T58" fmla="*/ 0 w 16384"/>
                      <a:gd name="T59" fmla="*/ 0 h 16384"/>
                      <a:gd name="T60" fmla="*/ 0 w 16384"/>
                      <a:gd name="T61" fmla="*/ 0 h 16384"/>
                      <a:gd name="T62" fmla="*/ 0 w 16384"/>
                      <a:gd name="T63" fmla="*/ 0 h 16384"/>
                      <a:gd name="T64" fmla="*/ 0 w 16384"/>
                      <a:gd name="T65" fmla="*/ 0 h 16384"/>
                      <a:gd name="T66" fmla="*/ 0 w 16384"/>
                      <a:gd name="T67" fmla="*/ 0 h 16384"/>
                      <a:gd name="T68" fmla="*/ 0 w 16384"/>
                      <a:gd name="T69" fmla="*/ 0 h 16384"/>
                      <a:gd name="T70" fmla="*/ 0 w 16384"/>
                      <a:gd name="T71" fmla="*/ 0 h 16384"/>
                      <a:gd name="T72" fmla="*/ 0 w 16384"/>
                      <a:gd name="T73" fmla="*/ 0 h 16384"/>
                      <a:gd name="T74" fmla="*/ 0 w 16384"/>
                      <a:gd name="T75" fmla="*/ 0 h 16384"/>
                      <a:gd name="T76" fmla="*/ 0 w 16384"/>
                      <a:gd name="T77" fmla="*/ 0 h 16384"/>
                      <a:gd name="T78" fmla="*/ 0 w 16384"/>
                      <a:gd name="T79" fmla="*/ 0 h 16384"/>
                      <a:gd name="T80" fmla="*/ 0 w 16384"/>
                      <a:gd name="T81" fmla="*/ 0 h 16384"/>
                      <a:gd name="T82" fmla="*/ 0 w 16384"/>
                      <a:gd name="T83" fmla="*/ 0 h 16384"/>
                      <a:gd name="T84" fmla="*/ 0 w 16384"/>
                      <a:gd name="T85" fmla="*/ 0 h 16384"/>
                      <a:gd name="T86" fmla="*/ 0 w 16384"/>
                      <a:gd name="T87" fmla="*/ 0 h 16384"/>
                      <a:gd name="T88" fmla="*/ 0 w 16384"/>
                      <a:gd name="T89" fmla="*/ 0 h 16384"/>
                      <a:gd name="T90" fmla="*/ 0 w 16384"/>
                      <a:gd name="T91" fmla="*/ 0 h 16384"/>
                      <a:gd name="T92" fmla="*/ 0 w 16384"/>
                      <a:gd name="T93" fmla="*/ 0 h 16384"/>
                      <a:gd name="T94" fmla="*/ 0 w 16384"/>
                      <a:gd name="T95" fmla="*/ 0 h 16384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60000 65536"/>
                      <a:gd name="T130" fmla="*/ 0 60000 65536"/>
                      <a:gd name="T131" fmla="*/ 0 60000 65536"/>
                      <a:gd name="T132" fmla="*/ 0 60000 65536"/>
                      <a:gd name="T133" fmla="*/ 0 60000 65536"/>
                      <a:gd name="T134" fmla="*/ 0 60000 65536"/>
                      <a:gd name="T135" fmla="*/ 0 60000 65536"/>
                      <a:gd name="T136" fmla="*/ 0 60000 65536"/>
                      <a:gd name="T137" fmla="*/ 0 60000 65536"/>
                      <a:gd name="T138" fmla="*/ 0 60000 65536"/>
                      <a:gd name="T139" fmla="*/ 0 60000 65536"/>
                      <a:gd name="T140" fmla="*/ 0 60000 65536"/>
                      <a:gd name="T141" fmla="*/ 0 60000 65536"/>
                      <a:gd name="T142" fmla="*/ 0 60000 65536"/>
                      <a:gd name="T143" fmla="*/ 0 60000 65536"/>
                      <a:gd name="T144" fmla="*/ 0 w 16384"/>
                      <a:gd name="T145" fmla="*/ 0 h 16384"/>
                      <a:gd name="T146" fmla="*/ 16384 w 16384"/>
                      <a:gd name="T147" fmla="*/ 16384 h 16384"/>
                    </a:gdLst>
                    <a:ahLst/>
                    <a:cxnLst>
                      <a:cxn ang="T96">
                        <a:pos x="T0" y="T1"/>
                      </a:cxn>
                      <a:cxn ang="T97">
                        <a:pos x="T2" y="T3"/>
                      </a:cxn>
                      <a:cxn ang="T98">
                        <a:pos x="T4" y="T5"/>
                      </a:cxn>
                      <a:cxn ang="T99">
                        <a:pos x="T6" y="T7"/>
                      </a:cxn>
                      <a:cxn ang="T100">
                        <a:pos x="T8" y="T9"/>
                      </a:cxn>
                      <a:cxn ang="T101">
                        <a:pos x="T10" y="T11"/>
                      </a:cxn>
                      <a:cxn ang="T102">
                        <a:pos x="T12" y="T13"/>
                      </a:cxn>
                      <a:cxn ang="T103">
                        <a:pos x="T14" y="T15"/>
                      </a:cxn>
                      <a:cxn ang="T104">
                        <a:pos x="T16" y="T17"/>
                      </a:cxn>
                      <a:cxn ang="T105">
                        <a:pos x="T18" y="T19"/>
                      </a:cxn>
                      <a:cxn ang="T106">
                        <a:pos x="T20" y="T21"/>
                      </a:cxn>
                      <a:cxn ang="T107">
                        <a:pos x="T22" y="T23"/>
                      </a:cxn>
                      <a:cxn ang="T108">
                        <a:pos x="T24" y="T25"/>
                      </a:cxn>
                      <a:cxn ang="T109">
                        <a:pos x="T26" y="T27"/>
                      </a:cxn>
                      <a:cxn ang="T110">
                        <a:pos x="T28" y="T29"/>
                      </a:cxn>
                      <a:cxn ang="T111">
                        <a:pos x="T30" y="T31"/>
                      </a:cxn>
                      <a:cxn ang="T112">
                        <a:pos x="T32" y="T33"/>
                      </a:cxn>
                      <a:cxn ang="T113">
                        <a:pos x="T34" y="T35"/>
                      </a:cxn>
                      <a:cxn ang="T114">
                        <a:pos x="T36" y="T37"/>
                      </a:cxn>
                      <a:cxn ang="T115">
                        <a:pos x="T38" y="T39"/>
                      </a:cxn>
                      <a:cxn ang="T116">
                        <a:pos x="T40" y="T41"/>
                      </a:cxn>
                      <a:cxn ang="T117">
                        <a:pos x="T42" y="T43"/>
                      </a:cxn>
                      <a:cxn ang="T118">
                        <a:pos x="T44" y="T45"/>
                      </a:cxn>
                      <a:cxn ang="T119">
                        <a:pos x="T46" y="T47"/>
                      </a:cxn>
                      <a:cxn ang="T120">
                        <a:pos x="T48" y="T49"/>
                      </a:cxn>
                      <a:cxn ang="T121">
                        <a:pos x="T50" y="T51"/>
                      </a:cxn>
                      <a:cxn ang="T122">
                        <a:pos x="T52" y="T53"/>
                      </a:cxn>
                      <a:cxn ang="T123">
                        <a:pos x="T54" y="T55"/>
                      </a:cxn>
                      <a:cxn ang="T124">
                        <a:pos x="T56" y="T57"/>
                      </a:cxn>
                      <a:cxn ang="T125">
                        <a:pos x="T58" y="T59"/>
                      </a:cxn>
                      <a:cxn ang="T126">
                        <a:pos x="T60" y="T61"/>
                      </a:cxn>
                      <a:cxn ang="T127">
                        <a:pos x="T62" y="T63"/>
                      </a:cxn>
                      <a:cxn ang="T128">
                        <a:pos x="T64" y="T65"/>
                      </a:cxn>
                      <a:cxn ang="T129">
                        <a:pos x="T66" y="T67"/>
                      </a:cxn>
                      <a:cxn ang="T130">
                        <a:pos x="T68" y="T69"/>
                      </a:cxn>
                      <a:cxn ang="T131">
                        <a:pos x="T70" y="T71"/>
                      </a:cxn>
                      <a:cxn ang="T132">
                        <a:pos x="T72" y="T73"/>
                      </a:cxn>
                      <a:cxn ang="T133">
                        <a:pos x="T74" y="T75"/>
                      </a:cxn>
                      <a:cxn ang="T134">
                        <a:pos x="T76" y="T77"/>
                      </a:cxn>
                      <a:cxn ang="T135">
                        <a:pos x="T78" y="T79"/>
                      </a:cxn>
                      <a:cxn ang="T136">
                        <a:pos x="T80" y="T81"/>
                      </a:cxn>
                      <a:cxn ang="T137">
                        <a:pos x="T82" y="T83"/>
                      </a:cxn>
                      <a:cxn ang="T138">
                        <a:pos x="T84" y="T85"/>
                      </a:cxn>
                      <a:cxn ang="T139">
                        <a:pos x="T86" y="T87"/>
                      </a:cxn>
                      <a:cxn ang="T140">
                        <a:pos x="T88" y="T89"/>
                      </a:cxn>
                      <a:cxn ang="T141">
                        <a:pos x="T90" y="T91"/>
                      </a:cxn>
                      <a:cxn ang="T142">
                        <a:pos x="T92" y="T93"/>
                      </a:cxn>
                      <a:cxn ang="T143">
                        <a:pos x="T94" y="T95"/>
                      </a:cxn>
                    </a:cxnLst>
                    <a:rect l="T144" t="T145" r="T146" b="T147"/>
                    <a:pathLst>
                      <a:path w="16384" h="16384">
                        <a:moveTo>
                          <a:pt x="6437" y="10162"/>
                        </a:moveTo>
                        <a:lnTo>
                          <a:pt x="7022" y="9955"/>
                        </a:lnTo>
                        <a:lnTo>
                          <a:pt x="7607" y="9747"/>
                        </a:lnTo>
                        <a:lnTo>
                          <a:pt x="8777" y="9747"/>
                        </a:lnTo>
                        <a:lnTo>
                          <a:pt x="8777" y="9540"/>
                        </a:lnTo>
                        <a:lnTo>
                          <a:pt x="9362" y="9125"/>
                        </a:lnTo>
                        <a:lnTo>
                          <a:pt x="9947" y="9125"/>
                        </a:lnTo>
                        <a:lnTo>
                          <a:pt x="9947" y="8503"/>
                        </a:lnTo>
                        <a:lnTo>
                          <a:pt x="9947" y="8088"/>
                        </a:lnTo>
                        <a:lnTo>
                          <a:pt x="10533" y="7881"/>
                        </a:lnTo>
                        <a:lnTo>
                          <a:pt x="11118" y="7881"/>
                        </a:lnTo>
                        <a:lnTo>
                          <a:pt x="11703" y="7674"/>
                        </a:lnTo>
                        <a:lnTo>
                          <a:pt x="11703" y="7259"/>
                        </a:lnTo>
                        <a:lnTo>
                          <a:pt x="11118" y="6844"/>
                        </a:lnTo>
                        <a:lnTo>
                          <a:pt x="11703" y="6222"/>
                        </a:lnTo>
                        <a:lnTo>
                          <a:pt x="11703" y="5807"/>
                        </a:lnTo>
                        <a:lnTo>
                          <a:pt x="11703" y="5392"/>
                        </a:lnTo>
                        <a:lnTo>
                          <a:pt x="12873" y="4770"/>
                        </a:lnTo>
                        <a:lnTo>
                          <a:pt x="13458" y="4148"/>
                        </a:lnTo>
                        <a:lnTo>
                          <a:pt x="13458" y="3733"/>
                        </a:lnTo>
                        <a:lnTo>
                          <a:pt x="14629" y="2903"/>
                        </a:lnTo>
                        <a:lnTo>
                          <a:pt x="14629" y="2696"/>
                        </a:lnTo>
                        <a:lnTo>
                          <a:pt x="14043" y="2489"/>
                        </a:lnTo>
                        <a:lnTo>
                          <a:pt x="14629" y="2074"/>
                        </a:lnTo>
                        <a:lnTo>
                          <a:pt x="14629" y="1659"/>
                        </a:lnTo>
                        <a:lnTo>
                          <a:pt x="14629" y="1452"/>
                        </a:lnTo>
                        <a:lnTo>
                          <a:pt x="14629" y="1037"/>
                        </a:lnTo>
                        <a:lnTo>
                          <a:pt x="15214" y="622"/>
                        </a:lnTo>
                        <a:lnTo>
                          <a:pt x="16384" y="0"/>
                        </a:lnTo>
                        <a:lnTo>
                          <a:pt x="7022" y="1244"/>
                        </a:lnTo>
                        <a:lnTo>
                          <a:pt x="6437" y="1659"/>
                        </a:lnTo>
                        <a:lnTo>
                          <a:pt x="7022" y="2074"/>
                        </a:lnTo>
                        <a:lnTo>
                          <a:pt x="6437" y="2281"/>
                        </a:lnTo>
                        <a:lnTo>
                          <a:pt x="4681" y="2489"/>
                        </a:lnTo>
                        <a:lnTo>
                          <a:pt x="4096" y="2903"/>
                        </a:lnTo>
                        <a:lnTo>
                          <a:pt x="4096" y="3111"/>
                        </a:lnTo>
                        <a:lnTo>
                          <a:pt x="5266" y="3111"/>
                        </a:lnTo>
                        <a:lnTo>
                          <a:pt x="5851" y="3526"/>
                        </a:lnTo>
                        <a:lnTo>
                          <a:pt x="6437" y="3940"/>
                        </a:lnTo>
                        <a:lnTo>
                          <a:pt x="6437" y="4148"/>
                        </a:lnTo>
                        <a:lnTo>
                          <a:pt x="5851" y="4148"/>
                        </a:lnTo>
                        <a:lnTo>
                          <a:pt x="5266" y="4563"/>
                        </a:lnTo>
                        <a:lnTo>
                          <a:pt x="5851" y="4977"/>
                        </a:lnTo>
                        <a:lnTo>
                          <a:pt x="5266" y="5185"/>
                        </a:lnTo>
                        <a:lnTo>
                          <a:pt x="4096" y="5185"/>
                        </a:lnTo>
                        <a:lnTo>
                          <a:pt x="3511" y="5185"/>
                        </a:lnTo>
                        <a:lnTo>
                          <a:pt x="2341" y="5185"/>
                        </a:lnTo>
                        <a:lnTo>
                          <a:pt x="2926" y="5807"/>
                        </a:lnTo>
                        <a:lnTo>
                          <a:pt x="2926" y="6222"/>
                        </a:lnTo>
                        <a:lnTo>
                          <a:pt x="2341" y="6429"/>
                        </a:lnTo>
                        <a:lnTo>
                          <a:pt x="2341" y="6637"/>
                        </a:lnTo>
                        <a:lnTo>
                          <a:pt x="2341" y="7051"/>
                        </a:lnTo>
                        <a:lnTo>
                          <a:pt x="1755" y="7051"/>
                        </a:lnTo>
                        <a:lnTo>
                          <a:pt x="1755" y="7466"/>
                        </a:lnTo>
                        <a:lnTo>
                          <a:pt x="1170" y="7674"/>
                        </a:lnTo>
                        <a:lnTo>
                          <a:pt x="1170" y="7881"/>
                        </a:lnTo>
                        <a:lnTo>
                          <a:pt x="1755" y="8088"/>
                        </a:lnTo>
                        <a:lnTo>
                          <a:pt x="1755" y="8296"/>
                        </a:lnTo>
                        <a:lnTo>
                          <a:pt x="585" y="8503"/>
                        </a:lnTo>
                        <a:lnTo>
                          <a:pt x="585" y="8918"/>
                        </a:lnTo>
                        <a:lnTo>
                          <a:pt x="0" y="9125"/>
                        </a:lnTo>
                        <a:lnTo>
                          <a:pt x="585" y="9333"/>
                        </a:lnTo>
                        <a:lnTo>
                          <a:pt x="585" y="9747"/>
                        </a:lnTo>
                        <a:lnTo>
                          <a:pt x="0" y="10370"/>
                        </a:lnTo>
                        <a:lnTo>
                          <a:pt x="585" y="10784"/>
                        </a:lnTo>
                        <a:lnTo>
                          <a:pt x="0" y="11407"/>
                        </a:lnTo>
                        <a:lnTo>
                          <a:pt x="0" y="11614"/>
                        </a:lnTo>
                        <a:lnTo>
                          <a:pt x="585" y="11821"/>
                        </a:lnTo>
                        <a:lnTo>
                          <a:pt x="1170" y="12029"/>
                        </a:lnTo>
                        <a:lnTo>
                          <a:pt x="585" y="12236"/>
                        </a:lnTo>
                        <a:lnTo>
                          <a:pt x="0" y="12651"/>
                        </a:lnTo>
                        <a:lnTo>
                          <a:pt x="0" y="13066"/>
                        </a:lnTo>
                        <a:lnTo>
                          <a:pt x="585" y="13481"/>
                        </a:lnTo>
                        <a:lnTo>
                          <a:pt x="0" y="13688"/>
                        </a:lnTo>
                        <a:lnTo>
                          <a:pt x="0" y="14310"/>
                        </a:lnTo>
                        <a:lnTo>
                          <a:pt x="1170" y="14517"/>
                        </a:lnTo>
                        <a:lnTo>
                          <a:pt x="1170" y="14932"/>
                        </a:lnTo>
                        <a:lnTo>
                          <a:pt x="585" y="15140"/>
                        </a:lnTo>
                        <a:lnTo>
                          <a:pt x="2926" y="16177"/>
                        </a:lnTo>
                        <a:lnTo>
                          <a:pt x="3511" y="16384"/>
                        </a:lnTo>
                        <a:lnTo>
                          <a:pt x="4096" y="16177"/>
                        </a:lnTo>
                        <a:lnTo>
                          <a:pt x="4096" y="15969"/>
                        </a:lnTo>
                        <a:lnTo>
                          <a:pt x="4096" y="15554"/>
                        </a:lnTo>
                        <a:lnTo>
                          <a:pt x="3511" y="15347"/>
                        </a:lnTo>
                        <a:lnTo>
                          <a:pt x="4096" y="14517"/>
                        </a:lnTo>
                        <a:lnTo>
                          <a:pt x="4681" y="14103"/>
                        </a:lnTo>
                        <a:lnTo>
                          <a:pt x="4681" y="13895"/>
                        </a:lnTo>
                        <a:lnTo>
                          <a:pt x="4681" y="13481"/>
                        </a:lnTo>
                        <a:lnTo>
                          <a:pt x="4681" y="12858"/>
                        </a:lnTo>
                        <a:lnTo>
                          <a:pt x="5266" y="12444"/>
                        </a:lnTo>
                        <a:lnTo>
                          <a:pt x="5851" y="12236"/>
                        </a:lnTo>
                        <a:lnTo>
                          <a:pt x="6437" y="12029"/>
                        </a:lnTo>
                        <a:lnTo>
                          <a:pt x="7022" y="11821"/>
                        </a:lnTo>
                        <a:lnTo>
                          <a:pt x="6437" y="11407"/>
                        </a:lnTo>
                        <a:lnTo>
                          <a:pt x="5851" y="10784"/>
                        </a:lnTo>
                        <a:lnTo>
                          <a:pt x="6437" y="10162"/>
                        </a:lnTo>
                        <a:close/>
                      </a:path>
                    </a:pathLst>
                  </a:custGeom>
                  <a:solidFill>
                    <a:sysClr val="window" lastClr="FFFFFF"/>
                  </a:solidFill>
                  <a:ln w="952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marL="0" marR="0" lvl="0" indent="0" defTabSz="121917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146" name="D52">
                    <a:extLst>
                      <a:ext uri="{FF2B5EF4-FFF2-40B4-BE49-F238E27FC236}">
                        <a16:creationId xmlns:a16="http://schemas.microsoft.com/office/drawing/2014/main" id="{62A3F7D2-3B50-3714-367A-CFE4780A261D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23260500" y="7744507"/>
                    <a:ext cx="273" cy="16"/>
                  </a:xfrm>
                  <a:custGeom>
                    <a:avLst/>
                    <a:gdLst>
                      <a:gd name="T0" fmla="*/ 0 w 16384"/>
                      <a:gd name="T1" fmla="*/ 0 h 16384"/>
                      <a:gd name="T2" fmla="*/ 0 w 16384"/>
                      <a:gd name="T3" fmla="*/ 0 h 16384"/>
                      <a:gd name="T4" fmla="*/ 0 w 16384"/>
                      <a:gd name="T5" fmla="*/ 0 h 16384"/>
                      <a:gd name="T6" fmla="*/ 0 w 16384"/>
                      <a:gd name="T7" fmla="*/ 0 h 16384"/>
                      <a:gd name="T8" fmla="*/ 0 w 16384"/>
                      <a:gd name="T9" fmla="*/ 0 h 16384"/>
                      <a:gd name="T10" fmla="*/ 0 w 16384"/>
                      <a:gd name="T11" fmla="*/ 0 h 16384"/>
                      <a:gd name="T12" fmla="*/ 0 w 16384"/>
                      <a:gd name="T13" fmla="*/ 0 h 16384"/>
                      <a:gd name="T14" fmla="*/ 0 w 16384"/>
                      <a:gd name="T15" fmla="*/ 0 h 16384"/>
                      <a:gd name="T16" fmla="*/ 0 w 16384"/>
                      <a:gd name="T17" fmla="*/ 0 h 16384"/>
                      <a:gd name="T18" fmla="*/ 0 w 16384"/>
                      <a:gd name="T19" fmla="*/ 0 h 16384"/>
                      <a:gd name="T20" fmla="*/ 0 w 16384"/>
                      <a:gd name="T21" fmla="*/ 0 h 16384"/>
                      <a:gd name="T22" fmla="*/ 0 w 16384"/>
                      <a:gd name="T23" fmla="*/ 0 h 16384"/>
                      <a:gd name="T24" fmla="*/ 0 w 16384"/>
                      <a:gd name="T25" fmla="*/ 0 h 16384"/>
                      <a:gd name="T26" fmla="*/ 0 w 16384"/>
                      <a:gd name="T27" fmla="*/ 0 h 16384"/>
                      <a:gd name="T28" fmla="*/ 0 w 16384"/>
                      <a:gd name="T29" fmla="*/ 0 h 16384"/>
                      <a:gd name="T30" fmla="*/ 0 60000 65536"/>
                      <a:gd name="T31" fmla="*/ 0 60000 65536"/>
                      <a:gd name="T32" fmla="*/ 0 60000 65536"/>
                      <a:gd name="T33" fmla="*/ 0 60000 65536"/>
                      <a:gd name="T34" fmla="*/ 0 60000 65536"/>
                      <a:gd name="T35" fmla="*/ 0 60000 65536"/>
                      <a:gd name="T36" fmla="*/ 0 60000 65536"/>
                      <a:gd name="T37" fmla="*/ 0 60000 65536"/>
                      <a:gd name="T38" fmla="*/ 0 60000 65536"/>
                      <a:gd name="T39" fmla="*/ 0 60000 65536"/>
                      <a:gd name="T40" fmla="*/ 0 60000 65536"/>
                      <a:gd name="T41" fmla="*/ 0 60000 65536"/>
                      <a:gd name="T42" fmla="*/ 0 60000 65536"/>
                      <a:gd name="T43" fmla="*/ 0 60000 65536"/>
                      <a:gd name="T44" fmla="*/ 0 60000 65536"/>
                      <a:gd name="T45" fmla="*/ 0 w 16384"/>
                      <a:gd name="T46" fmla="*/ 0 h 16384"/>
                      <a:gd name="T47" fmla="*/ 16384 w 16384"/>
                      <a:gd name="T48" fmla="*/ 16384 h 16384"/>
                    </a:gdLst>
                    <a:ahLst/>
                    <a:cxnLst>
                      <a:cxn ang="T30">
                        <a:pos x="T0" y="T1"/>
                      </a:cxn>
                      <a:cxn ang="T31">
                        <a:pos x="T2" y="T3"/>
                      </a:cxn>
                      <a:cxn ang="T32">
                        <a:pos x="T4" y="T5"/>
                      </a:cxn>
                      <a:cxn ang="T33">
                        <a:pos x="T6" y="T7"/>
                      </a:cxn>
                      <a:cxn ang="T34">
                        <a:pos x="T8" y="T9"/>
                      </a:cxn>
                      <a:cxn ang="T35">
                        <a:pos x="T10" y="T11"/>
                      </a:cxn>
                      <a:cxn ang="T36">
                        <a:pos x="T12" y="T13"/>
                      </a:cxn>
                      <a:cxn ang="T37">
                        <a:pos x="T14" y="T15"/>
                      </a:cxn>
                      <a:cxn ang="T38">
                        <a:pos x="T16" y="T17"/>
                      </a:cxn>
                      <a:cxn ang="T39">
                        <a:pos x="T18" y="T19"/>
                      </a:cxn>
                      <a:cxn ang="T40">
                        <a:pos x="T20" y="T21"/>
                      </a:cxn>
                      <a:cxn ang="T41">
                        <a:pos x="T22" y="T23"/>
                      </a:cxn>
                      <a:cxn ang="T42">
                        <a:pos x="T24" y="T25"/>
                      </a:cxn>
                      <a:cxn ang="T43">
                        <a:pos x="T26" y="T27"/>
                      </a:cxn>
                      <a:cxn ang="T44">
                        <a:pos x="T28" y="T29"/>
                      </a:cxn>
                    </a:cxnLst>
                    <a:rect l="T45" t="T46" r="T47" b="T48"/>
                    <a:pathLst>
                      <a:path w="16384" h="16384">
                        <a:moveTo>
                          <a:pt x="16384" y="0"/>
                        </a:moveTo>
                        <a:lnTo>
                          <a:pt x="9362" y="1024"/>
                        </a:lnTo>
                        <a:lnTo>
                          <a:pt x="7022" y="4096"/>
                        </a:lnTo>
                        <a:lnTo>
                          <a:pt x="4681" y="6144"/>
                        </a:lnTo>
                        <a:lnTo>
                          <a:pt x="2341" y="9216"/>
                        </a:lnTo>
                        <a:lnTo>
                          <a:pt x="0" y="11264"/>
                        </a:lnTo>
                        <a:lnTo>
                          <a:pt x="0" y="13312"/>
                        </a:lnTo>
                        <a:lnTo>
                          <a:pt x="2341" y="15360"/>
                        </a:lnTo>
                        <a:lnTo>
                          <a:pt x="4681" y="16384"/>
                        </a:lnTo>
                        <a:lnTo>
                          <a:pt x="7022" y="16384"/>
                        </a:lnTo>
                        <a:lnTo>
                          <a:pt x="7022" y="15360"/>
                        </a:lnTo>
                        <a:lnTo>
                          <a:pt x="7022" y="10240"/>
                        </a:lnTo>
                        <a:lnTo>
                          <a:pt x="9362" y="9216"/>
                        </a:lnTo>
                        <a:lnTo>
                          <a:pt x="14043" y="4096"/>
                        </a:lnTo>
                        <a:lnTo>
                          <a:pt x="16384" y="0"/>
                        </a:lnTo>
                        <a:close/>
                      </a:path>
                    </a:pathLst>
                  </a:custGeom>
                  <a:solidFill>
                    <a:srgbClr val="FFFF99"/>
                  </a:solidFill>
                  <a:ln w="952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marL="0" marR="0" lvl="0" indent="0" defTabSz="121917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147" name="Drawing 49">
                    <a:extLst>
                      <a:ext uri="{FF2B5EF4-FFF2-40B4-BE49-F238E27FC236}">
                        <a16:creationId xmlns:a16="http://schemas.microsoft.com/office/drawing/2014/main" id="{FCD7AC4D-098D-051A-7474-DE9AECDAF3C6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23241000" y="7744435"/>
                    <a:ext cx="19227" cy="278"/>
                  </a:xfrm>
                  <a:custGeom>
                    <a:avLst/>
                    <a:gdLst>
                      <a:gd name="T0" fmla="*/ 1677157793 w 16384"/>
                      <a:gd name="T1" fmla="*/ 0 h 16384"/>
                      <a:gd name="T2" fmla="*/ 1602573892 w 16384"/>
                      <a:gd name="T3" fmla="*/ 0 h 16384"/>
                      <a:gd name="T4" fmla="*/ 1505872943 w 16384"/>
                      <a:gd name="T5" fmla="*/ 0 h 16384"/>
                      <a:gd name="T6" fmla="*/ 1475815148 w 16384"/>
                      <a:gd name="T7" fmla="*/ 0 h 16384"/>
                      <a:gd name="T8" fmla="*/ 1378966392 w 16384"/>
                      <a:gd name="T9" fmla="*/ 0 h 16384"/>
                      <a:gd name="T10" fmla="*/ 1192795946 w 16384"/>
                      <a:gd name="T11" fmla="*/ 0 h 16384"/>
                      <a:gd name="T12" fmla="*/ 1013589576 w 16384"/>
                      <a:gd name="T13" fmla="*/ 0 h 16384"/>
                      <a:gd name="T14" fmla="*/ 879835212 w 16384"/>
                      <a:gd name="T15" fmla="*/ 0 h 16384"/>
                      <a:gd name="T16" fmla="*/ 738060789 w 16384"/>
                      <a:gd name="T17" fmla="*/ 0 h 16384"/>
                      <a:gd name="T18" fmla="*/ 603868260 w 16384"/>
                      <a:gd name="T19" fmla="*/ 0 h 16384"/>
                      <a:gd name="T20" fmla="*/ 402436690 w 16384"/>
                      <a:gd name="T21" fmla="*/ 0 h 16384"/>
                      <a:gd name="T22" fmla="*/ 350363690 w 16384"/>
                      <a:gd name="T23" fmla="*/ 0 h 16384"/>
                      <a:gd name="T24" fmla="*/ 201249739 w 16384"/>
                      <a:gd name="T25" fmla="*/ 0 h 16384"/>
                      <a:gd name="T26" fmla="*/ 387734952 w 16384"/>
                      <a:gd name="T27" fmla="*/ 0 h 16384"/>
                      <a:gd name="T28" fmla="*/ 1334315311 w 16384"/>
                      <a:gd name="T29" fmla="*/ 0 h 16384"/>
                      <a:gd name="T30" fmla="*/ 2147483647 w 16384"/>
                      <a:gd name="T31" fmla="*/ 0 h 16384"/>
                      <a:gd name="T32" fmla="*/ 2147483647 w 16384"/>
                      <a:gd name="T33" fmla="*/ 0 h 16384"/>
                      <a:gd name="T34" fmla="*/ 2147483647 w 16384"/>
                      <a:gd name="T35" fmla="*/ 0 h 16384"/>
                      <a:gd name="T36" fmla="*/ 2147483647 w 16384"/>
                      <a:gd name="T37" fmla="*/ 0 h 16384"/>
                      <a:gd name="T38" fmla="*/ 2147483647 w 16384"/>
                      <a:gd name="T39" fmla="*/ 0 h 16384"/>
                      <a:gd name="T40" fmla="*/ 2147483647 w 16384"/>
                      <a:gd name="T41" fmla="*/ 0 h 16384"/>
                      <a:gd name="T42" fmla="*/ 2147483647 w 16384"/>
                      <a:gd name="T43" fmla="*/ 0 h 16384"/>
                      <a:gd name="T44" fmla="*/ 2147483647 w 16384"/>
                      <a:gd name="T45" fmla="*/ 0 h 16384"/>
                      <a:gd name="T46" fmla="*/ 2147483647 w 16384"/>
                      <a:gd name="T47" fmla="*/ 0 h 16384"/>
                      <a:gd name="T48" fmla="*/ 2147483647 w 16384"/>
                      <a:gd name="T49" fmla="*/ 0 h 16384"/>
                      <a:gd name="T50" fmla="*/ 2147483647 w 16384"/>
                      <a:gd name="T51" fmla="*/ 0 h 16384"/>
                      <a:gd name="T52" fmla="*/ 2147483647 w 16384"/>
                      <a:gd name="T53" fmla="*/ 0 h 16384"/>
                      <a:gd name="T54" fmla="*/ 2147483647 w 16384"/>
                      <a:gd name="T55" fmla="*/ 0 h 16384"/>
                      <a:gd name="T56" fmla="*/ 2147483647 w 16384"/>
                      <a:gd name="T57" fmla="*/ 0 h 16384"/>
                      <a:gd name="T58" fmla="*/ 2147483647 w 16384"/>
                      <a:gd name="T59" fmla="*/ 0 h 16384"/>
                      <a:gd name="T60" fmla="*/ 2147483647 w 16384"/>
                      <a:gd name="T61" fmla="*/ 0 h 16384"/>
                      <a:gd name="T62" fmla="*/ 2147483647 w 16384"/>
                      <a:gd name="T63" fmla="*/ 0 h 16384"/>
                      <a:gd name="T64" fmla="*/ 2147483647 w 16384"/>
                      <a:gd name="T65" fmla="*/ 0 h 16384"/>
                      <a:gd name="T66" fmla="*/ 2147483647 w 16384"/>
                      <a:gd name="T67" fmla="*/ 0 h 16384"/>
                      <a:gd name="T68" fmla="*/ 2147483647 w 16384"/>
                      <a:gd name="T69" fmla="*/ 0 h 16384"/>
                      <a:gd name="T70" fmla="*/ 2147483647 w 16384"/>
                      <a:gd name="T71" fmla="*/ 0 h 16384"/>
                      <a:gd name="T72" fmla="*/ 2147483647 w 16384"/>
                      <a:gd name="T73" fmla="*/ 0 h 16384"/>
                      <a:gd name="T74" fmla="*/ 2147483647 w 16384"/>
                      <a:gd name="T75" fmla="*/ 0 h 16384"/>
                      <a:gd name="T76" fmla="*/ 2147483647 w 16384"/>
                      <a:gd name="T77" fmla="*/ 0 h 16384"/>
                      <a:gd name="T78" fmla="*/ 2147483647 w 16384"/>
                      <a:gd name="T79" fmla="*/ 0 h 16384"/>
                      <a:gd name="T80" fmla="*/ 2147483647 w 16384"/>
                      <a:gd name="T81" fmla="*/ 0 h 16384"/>
                      <a:gd name="T82" fmla="*/ 2147483647 w 16384"/>
                      <a:gd name="T83" fmla="*/ 0 h 16384"/>
                      <a:gd name="T84" fmla="*/ 2147483647 w 16384"/>
                      <a:gd name="T85" fmla="*/ 0 h 16384"/>
                      <a:gd name="T86" fmla="*/ 2147483647 w 16384"/>
                      <a:gd name="T87" fmla="*/ 0 h 16384"/>
                      <a:gd name="T88" fmla="*/ 2147483647 w 16384"/>
                      <a:gd name="T89" fmla="*/ 0 h 16384"/>
                      <a:gd name="T90" fmla="*/ 2147483647 w 16384"/>
                      <a:gd name="T91" fmla="*/ 0 h 16384"/>
                      <a:gd name="T92" fmla="*/ 2147483647 w 16384"/>
                      <a:gd name="T93" fmla="*/ 0 h 16384"/>
                      <a:gd name="T94" fmla="*/ 2147483647 w 16384"/>
                      <a:gd name="T95" fmla="*/ 0 h 16384"/>
                      <a:gd name="T96" fmla="*/ 2147483647 w 16384"/>
                      <a:gd name="T97" fmla="*/ 0 h 16384"/>
                      <a:gd name="T98" fmla="*/ 2147483647 w 16384"/>
                      <a:gd name="T99" fmla="*/ 0 h 16384"/>
                      <a:gd name="T100" fmla="*/ 2147483647 w 16384"/>
                      <a:gd name="T101" fmla="*/ 0 h 16384"/>
                      <a:gd name="T102" fmla="*/ 2147483647 w 16384"/>
                      <a:gd name="T103" fmla="*/ 0 h 16384"/>
                      <a:gd name="T104" fmla="*/ 2147483647 w 16384"/>
                      <a:gd name="T105" fmla="*/ 0 h 16384"/>
                      <a:gd name="T106" fmla="*/ 2147483647 w 16384"/>
                      <a:gd name="T107" fmla="*/ 0 h 16384"/>
                      <a:gd name="T108" fmla="*/ 2147483647 w 16384"/>
                      <a:gd name="T109" fmla="*/ 0 h 16384"/>
                      <a:gd name="T110" fmla="*/ 2147483647 w 16384"/>
                      <a:gd name="T111" fmla="*/ 0 h 16384"/>
                      <a:gd name="T112" fmla="*/ 2147483647 w 16384"/>
                      <a:gd name="T113" fmla="*/ 0 h 16384"/>
                      <a:gd name="T114" fmla="*/ 2147483647 w 16384"/>
                      <a:gd name="T115" fmla="*/ 0 h 16384"/>
                      <a:gd name="T116" fmla="*/ 2102027424 w 16384"/>
                      <a:gd name="T117" fmla="*/ 0 h 16384"/>
                      <a:gd name="T118" fmla="*/ 1938189429 w 16384"/>
                      <a:gd name="T119" fmla="*/ 0 h 16384"/>
                      <a:gd name="T120" fmla="*/ 1893466246 w 16384"/>
                      <a:gd name="T121" fmla="*/ 0 h 16384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60000 65536"/>
                      <a:gd name="T130" fmla="*/ 0 60000 65536"/>
                      <a:gd name="T131" fmla="*/ 0 60000 65536"/>
                      <a:gd name="T132" fmla="*/ 0 60000 65536"/>
                      <a:gd name="T133" fmla="*/ 0 60000 65536"/>
                      <a:gd name="T134" fmla="*/ 0 60000 65536"/>
                      <a:gd name="T135" fmla="*/ 0 60000 65536"/>
                      <a:gd name="T136" fmla="*/ 0 60000 65536"/>
                      <a:gd name="T137" fmla="*/ 0 60000 65536"/>
                      <a:gd name="T138" fmla="*/ 0 60000 65536"/>
                      <a:gd name="T139" fmla="*/ 0 60000 65536"/>
                      <a:gd name="T140" fmla="*/ 0 60000 65536"/>
                      <a:gd name="T141" fmla="*/ 0 60000 65536"/>
                      <a:gd name="T142" fmla="*/ 0 60000 65536"/>
                      <a:gd name="T143" fmla="*/ 0 60000 65536"/>
                      <a:gd name="T144" fmla="*/ 0 60000 65536"/>
                      <a:gd name="T145" fmla="*/ 0 60000 65536"/>
                      <a:gd name="T146" fmla="*/ 0 60000 65536"/>
                      <a:gd name="T147" fmla="*/ 0 60000 65536"/>
                      <a:gd name="T148" fmla="*/ 0 60000 65536"/>
                      <a:gd name="T149" fmla="*/ 0 60000 65536"/>
                      <a:gd name="T150" fmla="*/ 0 60000 65536"/>
                      <a:gd name="T151" fmla="*/ 0 60000 65536"/>
                      <a:gd name="T152" fmla="*/ 0 60000 65536"/>
                      <a:gd name="T153" fmla="*/ 0 60000 65536"/>
                      <a:gd name="T154" fmla="*/ 0 60000 65536"/>
                      <a:gd name="T155" fmla="*/ 0 60000 65536"/>
                      <a:gd name="T156" fmla="*/ 0 60000 65536"/>
                      <a:gd name="T157" fmla="*/ 0 60000 65536"/>
                      <a:gd name="T158" fmla="*/ 0 60000 65536"/>
                      <a:gd name="T159" fmla="*/ 0 60000 65536"/>
                      <a:gd name="T160" fmla="*/ 0 60000 65536"/>
                      <a:gd name="T161" fmla="*/ 0 60000 65536"/>
                      <a:gd name="T162" fmla="*/ 0 60000 65536"/>
                      <a:gd name="T163" fmla="*/ 0 60000 65536"/>
                      <a:gd name="T164" fmla="*/ 0 60000 65536"/>
                      <a:gd name="T165" fmla="*/ 0 60000 65536"/>
                      <a:gd name="T166" fmla="*/ 0 60000 65536"/>
                      <a:gd name="T167" fmla="*/ 0 60000 65536"/>
                      <a:gd name="T168" fmla="*/ 0 60000 65536"/>
                      <a:gd name="T169" fmla="*/ 0 60000 65536"/>
                      <a:gd name="T170" fmla="*/ 0 60000 65536"/>
                      <a:gd name="T171" fmla="*/ 0 60000 65536"/>
                      <a:gd name="T172" fmla="*/ 0 60000 65536"/>
                      <a:gd name="T173" fmla="*/ 0 60000 65536"/>
                      <a:gd name="T174" fmla="*/ 0 60000 65536"/>
                      <a:gd name="T175" fmla="*/ 0 60000 65536"/>
                      <a:gd name="T176" fmla="*/ 0 60000 65536"/>
                      <a:gd name="T177" fmla="*/ 0 60000 65536"/>
                      <a:gd name="T178" fmla="*/ 0 60000 65536"/>
                      <a:gd name="T179" fmla="*/ 0 60000 65536"/>
                      <a:gd name="T180" fmla="*/ 0 60000 65536"/>
                      <a:gd name="T181" fmla="*/ 0 60000 65536"/>
                      <a:gd name="T182" fmla="*/ 0 60000 65536"/>
                      <a:gd name="T183" fmla="*/ 0 w 16384"/>
                      <a:gd name="T184" fmla="*/ 0 h 16384"/>
                      <a:gd name="T185" fmla="*/ 16384 w 16384"/>
                      <a:gd name="T186" fmla="*/ 16384 h 16384"/>
                    </a:gdLst>
                    <a:ahLst/>
                    <a:cxnLst>
                      <a:cxn ang="T122">
                        <a:pos x="T0" y="T1"/>
                      </a:cxn>
                      <a:cxn ang="T123">
                        <a:pos x="T2" y="T3"/>
                      </a:cxn>
                      <a:cxn ang="T124">
                        <a:pos x="T4" y="T5"/>
                      </a:cxn>
                      <a:cxn ang="T125">
                        <a:pos x="T6" y="T7"/>
                      </a:cxn>
                      <a:cxn ang="T126">
                        <a:pos x="T8" y="T9"/>
                      </a:cxn>
                      <a:cxn ang="T127">
                        <a:pos x="T10" y="T11"/>
                      </a:cxn>
                      <a:cxn ang="T128">
                        <a:pos x="T12" y="T13"/>
                      </a:cxn>
                      <a:cxn ang="T129">
                        <a:pos x="T14" y="T15"/>
                      </a:cxn>
                      <a:cxn ang="T130">
                        <a:pos x="T16" y="T17"/>
                      </a:cxn>
                      <a:cxn ang="T131">
                        <a:pos x="T18" y="T19"/>
                      </a:cxn>
                      <a:cxn ang="T132">
                        <a:pos x="T20" y="T21"/>
                      </a:cxn>
                      <a:cxn ang="T133">
                        <a:pos x="T22" y="T23"/>
                      </a:cxn>
                      <a:cxn ang="T134">
                        <a:pos x="T24" y="T25"/>
                      </a:cxn>
                      <a:cxn ang="T135">
                        <a:pos x="T26" y="T27"/>
                      </a:cxn>
                      <a:cxn ang="T136">
                        <a:pos x="T28" y="T29"/>
                      </a:cxn>
                      <a:cxn ang="T137">
                        <a:pos x="T30" y="T31"/>
                      </a:cxn>
                      <a:cxn ang="T138">
                        <a:pos x="T32" y="T33"/>
                      </a:cxn>
                      <a:cxn ang="T139">
                        <a:pos x="T34" y="T35"/>
                      </a:cxn>
                      <a:cxn ang="T140">
                        <a:pos x="T36" y="T37"/>
                      </a:cxn>
                      <a:cxn ang="T141">
                        <a:pos x="T38" y="T39"/>
                      </a:cxn>
                      <a:cxn ang="T142">
                        <a:pos x="T40" y="T41"/>
                      </a:cxn>
                      <a:cxn ang="T143">
                        <a:pos x="T42" y="T43"/>
                      </a:cxn>
                      <a:cxn ang="T144">
                        <a:pos x="T44" y="T45"/>
                      </a:cxn>
                      <a:cxn ang="T145">
                        <a:pos x="T46" y="T47"/>
                      </a:cxn>
                      <a:cxn ang="T146">
                        <a:pos x="T48" y="T49"/>
                      </a:cxn>
                      <a:cxn ang="T147">
                        <a:pos x="T50" y="T51"/>
                      </a:cxn>
                      <a:cxn ang="T148">
                        <a:pos x="T52" y="T53"/>
                      </a:cxn>
                      <a:cxn ang="T149">
                        <a:pos x="T54" y="T55"/>
                      </a:cxn>
                      <a:cxn ang="T150">
                        <a:pos x="T56" y="T57"/>
                      </a:cxn>
                      <a:cxn ang="T151">
                        <a:pos x="T58" y="T59"/>
                      </a:cxn>
                      <a:cxn ang="T152">
                        <a:pos x="T60" y="T61"/>
                      </a:cxn>
                      <a:cxn ang="T153">
                        <a:pos x="T62" y="T63"/>
                      </a:cxn>
                      <a:cxn ang="T154">
                        <a:pos x="T64" y="T65"/>
                      </a:cxn>
                      <a:cxn ang="T155">
                        <a:pos x="T66" y="T67"/>
                      </a:cxn>
                      <a:cxn ang="T156">
                        <a:pos x="T68" y="T69"/>
                      </a:cxn>
                      <a:cxn ang="T157">
                        <a:pos x="T70" y="T71"/>
                      </a:cxn>
                      <a:cxn ang="T158">
                        <a:pos x="T72" y="T73"/>
                      </a:cxn>
                      <a:cxn ang="T159">
                        <a:pos x="T74" y="T75"/>
                      </a:cxn>
                      <a:cxn ang="T160">
                        <a:pos x="T76" y="T77"/>
                      </a:cxn>
                      <a:cxn ang="T161">
                        <a:pos x="T78" y="T79"/>
                      </a:cxn>
                      <a:cxn ang="T162">
                        <a:pos x="T80" y="T81"/>
                      </a:cxn>
                      <a:cxn ang="T163">
                        <a:pos x="T82" y="T83"/>
                      </a:cxn>
                      <a:cxn ang="T164">
                        <a:pos x="T84" y="T85"/>
                      </a:cxn>
                      <a:cxn ang="T165">
                        <a:pos x="T86" y="T87"/>
                      </a:cxn>
                      <a:cxn ang="T166">
                        <a:pos x="T88" y="T89"/>
                      </a:cxn>
                      <a:cxn ang="T167">
                        <a:pos x="T90" y="T91"/>
                      </a:cxn>
                      <a:cxn ang="T168">
                        <a:pos x="T92" y="T93"/>
                      </a:cxn>
                      <a:cxn ang="T169">
                        <a:pos x="T94" y="T95"/>
                      </a:cxn>
                      <a:cxn ang="T170">
                        <a:pos x="T96" y="T97"/>
                      </a:cxn>
                      <a:cxn ang="T171">
                        <a:pos x="T98" y="T99"/>
                      </a:cxn>
                      <a:cxn ang="T172">
                        <a:pos x="T100" y="T101"/>
                      </a:cxn>
                      <a:cxn ang="T173">
                        <a:pos x="T102" y="T103"/>
                      </a:cxn>
                      <a:cxn ang="T174">
                        <a:pos x="T104" y="T105"/>
                      </a:cxn>
                      <a:cxn ang="T175">
                        <a:pos x="T106" y="T107"/>
                      </a:cxn>
                      <a:cxn ang="T176">
                        <a:pos x="T108" y="T109"/>
                      </a:cxn>
                      <a:cxn ang="T177">
                        <a:pos x="T110" y="T111"/>
                      </a:cxn>
                      <a:cxn ang="T178">
                        <a:pos x="T112" y="T113"/>
                      </a:cxn>
                      <a:cxn ang="T179">
                        <a:pos x="T114" y="T115"/>
                      </a:cxn>
                      <a:cxn ang="T180">
                        <a:pos x="T116" y="T117"/>
                      </a:cxn>
                      <a:cxn ang="T181">
                        <a:pos x="T118" y="T119"/>
                      </a:cxn>
                      <a:cxn ang="T182">
                        <a:pos x="T120" y="T121"/>
                      </a:cxn>
                    </a:cxnLst>
                    <a:rect l="T183" t="T184" r="T185" b="T186"/>
                    <a:pathLst>
                      <a:path w="16384" h="16384">
                        <a:moveTo>
                          <a:pt x="8275" y="5481"/>
                        </a:moveTo>
                        <a:lnTo>
                          <a:pt x="8142" y="5481"/>
                        </a:lnTo>
                        <a:lnTo>
                          <a:pt x="7943" y="5481"/>
                        </a:lnTo>
                        <a:lnTo>
                          <a:pt x="7910" y="5422"/>
                        </a:lnTo>
                        <a:lnTo>
                          <a:pt x="7876" y="5363"/>
                        </a:lnTo>
                        <a:lnTo>
                          <a:pt x="7777" y="5068"/>
                        </a:lnTo>
                        <a:lnTo>
                          <a:pt x="7544" y="4833"/>
                        </a:lnTo>
                        <a:lnTo>
                          <a:pt x="7477" y="4951"/>
                        </a:lnTo>
                        <a:lnTo>
                          <a:pt x="7444" y="5245"/>
                        </a:lnTo>
                        <a:lnTo>
                          <a:pt x="7477" y="5658"/>
                        </a:lnTo>
                        <a:lnTo>
                          <a:pt x="7444" y="5894"/>
                        </a:lnTo>
                        <a:lnTo>
                          <a:pt x="7444" y="6011"/>
                        </a:lnTo>
                        <a:lnTo>
                          <a:pt x="7378" y="6070"/>
                        </a:lnTo>
                        <a:lnTo>
                          <a:pt x="7345" y="6188"/>
                        </a:lnTo>
                        <a:lnTo>
                          <a:pt x="7311" y="6306"/>
                        </a:lnTo>
                        <a:lnTo>
                          <a:pt x="7311" y="6365"/>
                        </a:lnTo>
                        <a:lnTo>
                          <a:pt x="7378" y="6483"/>
                        </a:lnTo>
                        <a:lnTo>
                          <a:pt x="7311" y="6542"/>
                        </a:lnTo>
                        <a:lnTo>
                          <a:pt x="7178" y="6836"/>
                        </a:lnTo>
                        <a:lnTo>
                          <a:pt x="7145" y="7013"/>
                        </a:lnTo>
                        <a:lnTo>
                          <a:pt x="7145" y="7190"/>
                        </a:lnTo>
                        <a:lnTo>
                          <a:pt x="7145" y="7367"/>
                        </a:lnTo>
                        <a:lnTo>
                          <a:pt x="7112" y="7544"/>
                        </a:lnTo>
                        <a:lnTo>
                          <a:pt x="7079" y="7721"/>
                        </a:lnTo>
                        <a:lnTo>
                          <a:pt x="7045" y="7956"/>
                        </a:lnTo>
                        <a:lnTo>
                          <a:pt x="6979" y="8133"/>
                        </a:lnTo>
                        <a:lnTo>
                          <a:pt x="6946" y="8192"/>
                        </a:lnTo>
                        <a:lnTo>
                          <a:pt x="6879" y="8310"/>
                        </a:lnTo>
                        <a:lnTo>
                          <a:pt x="6813" y="8546"/>
                        </a:lnTo>
                        <a:lnTo>
                          <a:pt x="6713" y="8840"/>
                        </a:lnTo>
                        <a:lnTo>
                          <a:pt x="6680" y="9076"/>
                        </a:lnTo>
                        <a:lnTo>
                          <a:pt x="6647" y="9194"/>
                        </a:lnTo>
                        <a:lnTo>
                          <a:pt x="6647" y="9312"/>
                        </a:lnTo>
                        <a:lnTo>
                          <a:pt x="6613" y="9430"/>
                        </a:lnTo>
                        <a:lnTo>
                          <a:pt x="6580" y="9430"/>
                        </a:lnTo>
                        <a:lnTo>
                          <a:pt x="6613" y="9548"/>
                        </a:lnTo>
                        <a:lnTo>
                          <a:pt x="6647" y="9724"/>
                        </a:lnTo>
                        <a:lnTo>
                          <a:pt x="6813" y="9842"/>
                        </a:lnTo>
                        <a:lnTo>
                          <a:pt x="6580" y="10078"/>
                        </a:lnTo>
                        <a:lnTo>
                          <a:pt x="6580" y="10137"/>
                        </a:lnTo>
                        <a:lnTo>
                          <a:pt x="6580" y="10196"/>
                        </a:lnTo>
                        <a:lnTo>
                          <a:pt x="6680" y="10255"/>
                        </a:lnTo>
                        <a:lnTo>
                          <a:pt x="6647" y="10314"/>
                        </a:lnTo>
                        <a:lnTo>
                          <a:pt x="6547" y="10432"/>
                        </a:lnTo>
                        <a:lnTo>
                          <a:pt x="6414" y="10726"/>
                        </a:lnTo>
                        <a:lnTo>
                          <a:pt x="6381" y="10844"/>
                        </a:lnTo>
                        <a:lnTo>
                          <a:pt x="6314" y="10785"/>
                        </a:lnTo>
                        <a:lnTo>
                          <a:pt x="6281" y="10667"/>
                        </a:lnTo>
                        <a:lnTo>
                          <a:pt x="6215" y="10667"/>
                        </a:lnTo>
                        <a:lnTo>
                          <a:pt x="6148" y="10726"/>
                        </a:lnTo>
                        <a:lnTo>
                          <a:pt x="5749" y="11257"/>
                        </a:lnTo>
                        <a:lnTo>
                          <a:pt x="5683" y="11080"/>
                        </a:lnTo>
                        <a:lnTo>
                          <a:pt x="5550" y="11080"/>
                        </a:lnTo>
                        <a:lnTo>
                          <a:pt x="5483" y="11257"/>
                        </a:lnTo>
                        <a:lnTo>
                          <a:pt x="5517" y="11316"/>
                        </a:lnTo>
                        <a:lnTo>
                          <a:pt x="5583" y="11433"/>
                        </a:lnTo>
                        <a:lnTo>
                          <a:pt x="5550" y="11551"/>
                        </a:lnTo>
                        <a:lnTo>
                          <a:pt x="5384" y="11787"/>
                        </a:lnTo>
                        <a:lnTo>
                          <a:pt x="5351" y="11669"/>
                        </a:lnTo>
                        <a:lnTo>
                          <a:pt x="5317" y="11728"/>
                        </a:lnTo>
                        <a:lnTo>
                          <a:pt x="5284" y="11787"/>
                        </a:lnTo>
                        <a:lnTo>
                          <a:pt x="5151" y="11846"/>
                        </a:lnTo>
                        <a:lnTo>
                          <a:pt x="5051" y="11905"/>
                        </a:lnTo>
                        <a:lnTo>
                          <a:pt x="4952" y="12023"/>
                        </a:lnTo>
                        <a:lnTo>
                          <a:pt x="4852" y="12141"/>
                        </a:lnTo>
                        <a:lnTo>
                          <a:pt x="4819" y="12141"/>
                        </a:lnTo>
                        <a:lnTo>
                          <a:pt x="4752" y="12141"/>
                        </a:lnTo>
                        <a:lnTo>
                          <a:pt x="4653" y="11964"/>
                        </a:lnTo>
                        <a:lnTo>
                          <a:pt x="4553" y="11846"/>
                        </a:lnTo>
                        <a:lnTo>
                          <a:pt x="4520" y="11787"/>
                        </a:lnTo>
                        <a:lnTo>
                          <a:pt x="4486" y="11787"/>
                        </a:lnTo>
                        <a:lnTo>
                          <a:pt x="4453" y="11905"/>
                        </a:lnTo>
                        <a:lnTo>
                          <a:pt x="4420" y="12082"/>
                        </a:lnTo>
                        <a:lnTo>
                          <a:pt x="4354" y="12200"/>
                        </a:lnTo>
                        <a:lnTo>
                          <a:pt x="4287" y="12259"/>
                        </a:lnTo>
                        <a:lnTo>
                          <a:pt x="4254" y="12259"/>
                        </a:lnTo>
                        <a:lnTo>
                          <a:pt x="4221" y="12376"/>
                        </a:lnTo>
                        <a:lnTo>
                          <a:pt x="4154" y="12494"/>
                        </a:lnTo>
                        <a:lnTo>
                          <a:pt x="4054" y="12553"/>
                        </a:lnTo>
                        <a:lnTo>
                          <a:pt x="3922" y="12553"/>
                        </a:lnTo>
                        <a:lnTo>
                          <a:pt x="3855" y="12494"/>
                        </a:lnTo>
                        <a:lnTo>
                          <a:pt x="3789" y="12435"/>
                        </a:lnTo>
                        <a:lnTo>
                          <a:pt x="3755" y="12376"/>
                        </a:lnTo>
                        <a:lnTo>
                          <a:pt x="3689" y="12259"/>
                        </a:lnTo>
                        <a:lnTo>
                          <a:pt x="3622" y="12259"/>
                        </a:lnTo>
                        <a:lnTo>
                          <a:pt x="3523" y="12259"/>
                        </a:lnTo>
                        <a:lnTo>
                          <a:pt x="3456" y="12141"/>
                        </a:lnTo>
                        <a:lnTo>
                          <a:pt x="3390" y="12082"/>
                        </a:lnTo>
                        <a:lnTo>
                          <a:pt x="3357" y="11964"/>
                        </a:lnTo>
                        <a:lnTo>
                          <a:pt x="3290" y="11846"/>
                        </a:lnTo>
                        <a:lnTo>
                          <a:pt x="3257" y="11669"/>
                        </a:lnTo>
                        <a:lnTo>
                          <a:pt x="3224" y="11610"/>
                        </a:lnTo>
                        <a:lnTo>
                          <a:pt x="3190" y="11551"/>
                        </a:lnTo>
                        <a:lnTo>
                          <a:pt x="3157" y="11492"/>
                        </a:lnTo>
                        <a:lnTo>
                          <a:pt x="3190" y="11433"/>
                        </a:lnTo>
                        <a:lnTo>
                          <a:pt x="3257" y="11316"/>
                        </a:lnTo>
                        <a:lnTo>
                          <a:pt x="3257" y="11257"/>
                        </a:lnTo>
                        <a:lnTo>
                          <a:pt x="3190" y="11139"/>
                        </a:lnTo>
                        <a:lnTo>
                          <a:pt x="2825" y="11905"/>
                        </a:lnTo>
                        <a:lnTo>
                          <a:pt x="2692" y="12200"/>
                        </a:lnTo>
                        <a:lnTo>
                          <a:pt x="2592" y="12435"/>
                        </a:lnTo>
                        <a:lnTo>
                          <a:pt x="2559" y="12553"/>
                        </a:lnTo>
                        <a:lnTo>
                          <a:pt x="2492" y="12671"/>
                        </a:lnTo>
                        <a:lnTo>
                          <a:pt x="2360" y="12730"/>
                        </a:lnTo>
                        <a:lnTo>
                          <a:pt x="2227" y="12848"/>
                        </a:lnTo>
                        <a:lnTo>
                          <a:pt x="2127" y="12966"/>
                        </a:lnTo>
                        <a:lnTo>
                          <a:pt x="2094" y="13084"/>
                        </a:lnTo>
                        <a:lnTo>
                          <a:pt x="1828" y="13437"/>
                        </a:lnTo>
                        <a:lnTo>
                          <a:pt x="1795" y="13496"/>
                        </a:lnTo>
                        <a:lnTo>
                          <a:pt x="1795" y="13555"/>
                        </a:lnTo>
                        <a:lnTo>
                          <a:pt x="1828" y="13850"/>
                        </a:lnTo>
                        <a:lnTo>
                          <a:pt x="1761" y="13850"/>
                        </a:lnTo>
                        <a:lnTo>
                          <a:pt x="1728" y="13968"/>
                        </a:lnTo>
                        <a:lnTo>
                          <a:pt x="1728" y="14027"/>
                        </a:lnTo>
                        <a:lnTo>
                          <a:pt x="1628" y="14086"/>
                        </a:lnTo>
                        <a:lnTo>
                          <a:pt x="1562" y="14144"/>
                        </a:lnTo>
                        <a:lnTo>
                          <a:pt x="1529" y="14262"/>
                        </a:lnTo>
                        <a:lnTo>
                          <a:pt x="1562" y="14321"/>
                        </a:lnTo>
                        <a:lnTo>
                          <a:pt x="1562" y="14439"/>
                        </a:lnTo>
                        <a:lnTo>
                          <a:pt x="1562" y="14557"/>
                        </a:lnTo>
                        <a:lnTo>
                          <a:pt x="1529" y="14616"/>
                        </a:lnTo>
                        <a:lnTo>
                          <a:pt x="1495" y="14675"/>
                        </a:lnTo>
                        <a:lnTo>
                          <a:pt x="1363" y="14852"/>
                        </a:lnTo>
                        <a:lnTo>
                          <a:pt x="1263" y="14911"/>
                        </a:lnTo>
                        <a:lnTo>
                          <a:pt x="1196" y="14911"/>
                        </a:lnTo>
                        <a:lnTo>
                          <a:pt x="1097" y="15028"/>
                        </a:lnTo>
                        <a:lnTo>
                          <a:pt x="1063" y="15382"/>
                        </a:lnTo>
                        <a:lnTo>
                          <a:pt x="1063" y="15441"/>
                        </a:lnTo>
                        <a:lnTo>
                          <a:pt x="1030" y="15500"/>
                        </a:lnTo>
                        <a:lnTo>
                          <a:pt x="897" y="15559"/>
                        </a:lnTo>
                        <a:lnTo>
                          <a:pt x="532" y="15913"/>
                        </a:lnTo>
                        <a:lnTo>
                          <a:pt x="399" y="16030"/>
                        </a:lnTo>
                        <a:lnTo>
                          <a:pt x="299" y="16089"/>
                        </a:lnTo>
                        <a:lnTo>
                          <a:pt x="166" y="16207"/>
                        </a:lnTo>
                        <a:lnTo>
                          <a:pt x="66" y="16325"/>
                        </a:lnTo>
                        <a:lnTo>
                          <a:pt x="0" y="16384"/>
                        </a:lnTo>
                        <a:lnTo>
                          <a:pt x="33" y="16384"/>
                        </a:lnTo>
                        <a:lnTo>
                          <a:pt x="366" y="16384"/>
                        </a:lnTo>
                        <a:lnTo>
                          <a:pt x="1396" y="16089"/>
                        </a:lnTo>
                        <a:lnTo>
                          <a:pt x="1728" y="16030"/>
                        </a:lnTo>
                        <a:lnTo>
                          <a:pt x="2227" y="15913"/>
                        </a:lnTo>
                        <a:lnTo>
                          <a:pt x="2858" y="15736"/>
                        </a:lnTo>
                        <a:lnTo>
                          <a:pt x="3622" y="15559"/>
                        </a:lnTo>
                        <a:lnTo>
                          <a:pt x="3656" y="15441"/>
                        </a:lnTo>
                        <a:lnTo>
                          <a:pt x="3855" y="15382"/>
                        </a:lnTo>
                        <a:lnTo>
                          <a:pt x="4187" y="15264"/>
                        </a:lnTo>
                        <a:lnTo>
                          <a:pt x="4221" y="15382"/>
                        </a:lnTo>
                        <a:lnTo>
                          <a:pt x="4819" y="15323"/>
                        </a:lnTo>
                        <a:lnTo>
                          <a:pt x="5849" y="15087"/>
                        </a:lnTo>
                        <a:lnTo>
                          <a:pt x="5949" y="15087"/>
                        </a:lnTo>
                        <a:lnTo>
                          <a:pt x="6447" y="14970"/>
                        </a:lnTo>
                        <a:lnTo>
                          <a:pt x="6746" y="14852"/>
                        </a:lnTo>
                        <a:lnTo>
                          <a:pt x="7511" y="14675"/>
                        </a:lnTo>
                        <a:lnTo>
                          <a:pt x="7644" y="14675"/>
                        </a:lnTo>
                        <a:lnTo>
                          <a:pt x="8308" y="14439"/>
                        </a:lnTo>
                        <a:lnTo>
                          <a:pt x="8774" y="14321"/>
                        </a:lnTo>
                        <a:lnTo>
                          <a:pt x="9372" y="14144"/>
                        </a:lnTo>
                        <a:lnTo>
                          <a:pt x="9538" y="14086"/>
                        </a:lnTo>
                        <a:lnTo>
                          <a:pt x="10236" y="13909"/>
                        </a:lnTo>
                        <a:lnTo>
                          <a:pt x="10402" y="13850"/>
                        </a:lnTo>
                        <a:lnTo>
                          <a:pt x="11000" y="13673"/>
                        </a:lnTo>
                        <a:lnTo>
                          <a:pt x="11266" y="13555"/>
                        </a:lnTo>
                        <a:lnTo>
                          <a:pt x="11831" y="13378"/>
                        </a:lnTo>
                        <a:lnTo>
                          <a:pt x="12130" y="13260"/>
                        </a:lnTo>
                        <a:lnTo>
                          <a:pt x="12396" y="13143"/>
                        </a:lnTo>
                        <a:lnTo>
                          <a:pt x="13293" y="12848"/>
                        </a:lnTo>
                        <a:lnTo>
                          <a:pt x="13659" y="12730"/>
                        </a:lnTo>
                        <a:lnTo>
                          <a:pt x="14157" y="12553"/>
                        </a:lnTo>
                        <a:lnTo>
                          <a:pt x="14988" y="12259"/>
                        </a:lnTo>
                        <a:lnTo>
                          <a:pt x="15055" y="12200"/>
                        </a:lnTo>
                        <a:lnTo>
                          <a:pt x="15387" y="12082"/>
                        </a:lnTo>
                        <a:lnTo>
                          <a:pt x="15852" y="11905"/>
                        </a:lnTo>
                        <a:lnTo>
                          <a:pt x="15985" y="11846"/>
                        </a:lnTo>
                        <a:lnTo>
                          <a:pt x="15952" y="11728"/>
                        </a:lnTo>
                        <a:lnTo>
                          <a:pt x="15952" y="11669"/>
                        </a:lnTo>
                        <a:lnTo>
                          <a:pt x="15985" y="11669"/>
                        </a:lnTo>
                        <a:lnTo>
                          <a:pt x="16018" y="11669"/>
                        </a:lnTo>
                        <a:lnTo>
                          <a:pt x="16018" y="11728"/>
                        </a:lnTo>
                        <a:lnTo>
                          <a:pt x="16085" y="11787"/>
                        </a:lnTo>
                        <a:lnTo>
                          <a:pt x="16218" y="11728"/>
                        </a:lnTo>
                        <a:lnTo>
                          <a:pt x="16151" y="11728"/>
                        </a:lnTo>
                        <a:lnTo>
                          <a:pt x="16118" y="11728"/>
                        </a:lnTo>
                        <a:lnTo>
                          <a:pt x="16118" y="11610"/>
                        </a:lnTo>
                        <a:lnTo>
                          <a:pt x="16085" y="11433"/>
                        </a:lnTo>
                        <a:lnTo>
                          <a:pt x="16085" y="11375"/>
                        </a:lnTo>
                        <a:lnTo>
                          <a:pt x="16118" y="11316"/>
                        </a:lnTo>
                        <a:lnTo>
                          <a:pt x="16185" y="11316"/>
                        </a:lnTo>
                        <a:lnTo>
                          <a:pt x="16251" y="11375"/>
                        </a:lnTo>
                        <a:lnTo>
                          <a:pt x="16284" y="11492"/>
                        </a:lnTo>
                        <a:lnTo>
                          <a:pt x="16284" y="11610"/>
                        </a:lnTo>
                        <a:lnTo>
                          <a:pt x="16318" y="11728"/>
                        </a:lnTo>
                        <a:lnTo>
                          <a:pt x="16384" y="11669"/>
                        </a:lnTo>
                        <a:lnTo>
                          <a:pt x="16351" y="11492"/>
                        </a:lnTo>
                        <a:lnTo>
                          <a:pt x="16218" y="11139"/>
                        </a:lnTo>
                        <a:lnTo>
                          <a:pt x="16151" y="10903"/>
                        </a:lnTo>
                        <a:lnTo>
                          <a:pt x="16085" y="10785"/>
                        </a:lnTo>
                        <a:lnTo>
                          <a:pt x="16018" y="10490"/>
                        </a:lnTo>
                        <a:lnTo>
                          <a:pt x="15952" y="10314"/>
                        </a:lnTo>
                        <a:lnTo>
                          <a:pt x="15919" y="10196"/>
                        </a:lnTo>
                        <a:lnTo>
                          <a:pt x="15886" y="10137"/>
                        </a:lnTo>
                        <a:lnTo>
                          <a:pt x="15852" y="10137"/>
                        </a:lnTo>
                        <a:lnTo>
                          <a:pt x="15819" y="10137"/>
                        </a:lnTo>
                        <a:lnTo>
                          <a:pt x="15786" y="10137"/>
                        </a:lnTo>
                        <a:lnTo>
                          <a:pt x="15753" y="10196"/>
                        </a:lnTo>
                        <a:lnTo>
                          <a:pt x="15719" y="10314"/>
                        </a:lnTo>
                        <a:lnTo>
                          <a:pt x="15686" y="10314"/>
                        </a:lnTo>
                        <a:lnTo>
                          <a:pt x="15586" y="10196"/>
                        </a:lnTo>
                        <a:lnTo>
                          <a:pt x="15553" y="10196"/>
                        </a:lnTo>
                        <a:lnTo>
                          <a:pt x="15487" y="10196"/>
                        </a:lnTo>
                        <a:lnTo>
                          <a:pt x="15453" y="10196"/>
                        </a:lnTo>
                        <a:lnTo>
                          <a:pt x="15387" y="10196"/>
                        </a:lnTo>
                        <a:lnTo>
                          <a:pt x="15321" y="10137"/>
                        </a:lnTo>
                        <a:lnTo>
                          <a:pt x="15287" y="10137"/>
                        </a:lnTo>
                        <a:lnTo>
                          <a:pt x="15221" y="10137"/>
                        </a:lnTo>
                        <a:lnTo>
                          <a:pt x="15221" y="10255"/>
                        </a:lnTo>
                        <a:lnTo>
                          <a:pt x="15221" y="10314"/>
                        </a:lnTo>
                        <a:lnTo>
                          <a:pt x="15254" y="10432"/>
                        </a:lnTo>
                        <a:lnTo>
                          <a:pt x="15221" y="10490"/>
                        </a:lnTo>
                        <a:lnTo>
                          <a:pt x="15021" y="10490"/>
                        </a:lnTo>
                        <a:lnTo>
                          <a:pt x="14988" y="10549"/>
                        </a:lnTo>
                        <a:lnTo>
                          <a:pt x="14955" y="10549"/>
                        </a:lnTo>
                        <a:lnTo>
                          <a:pt x="14922" y="10667"/>
                        </a:lnTo>
                        <a:lnTo>
                          <a:pt x="14889" y="10608"/>
                        </a:lnTo>
                        <a:lnTo>
                          <a:pt x="14889" y="10490"/>
                        </a:lnTo>
                        <a:lnTo>
                          <a:pt x="14855" y="10373"/>
                        </a:lnTo>
                        <a:lnTo>
                          <a:pt x="14855" y="10314"/>
                        </a:lnTo>
                        <a:lnTo>
                          <a:pt x="14822" y="10314"/>
                        </a:lnTo>
                        <a:lnTo>
                          <a:pt x="14789" y="10314"/>
                        </a:lnTo>
                        <a:lnTo>
                          <a:pt x="14722" y="10255"/>
                        </a:lnTo>
                        <a:lnTo>
                          <a:pt x="14656" y="10255"/>
                        </a:lnTo>
                        <a:lnTo>
                          <a:pt x="14623" y="10255"/>
                        </a:lnTo>
                        <a:lnTo>
                          <a:pt x="14589" y="10196"/>
                        </a:lnTo>
                        <a:lnTo>
                          <a:pt x="14589" y="10137"/>
                        </a:lnTo>
                        <a:lnTo>
                          <a:pt x="14523" y="10137"/>
                        </a:lnTo>
                        <a:lnTo>
                          <a:pt x="14456" y="10078"/>
                        </a:lnTo>
                        <a:lnTo>
                          <a:pt x="14423" y="10019"/>
                        </a:lnTo>
                        <a:lnTo>
                          <a:pt x="14390" y="9960"/>
                        </a:lnTo>
                        <a:lnTo>
                          <a:pt x="14390" y="9783"/>
                        </a:lnTo>
                        <a:lnTo>
                          <a:pt x="14357" y="9665"/>
                        </a:lnTo>
                        <a:lnTo>
                          <a:pt x="14357" y="9548"/>
                        </a:lnTo>
                        <a:lnTo>
                          <a:pt x="14324" y="9489"/>
                        </a:lnTo>
                        <a:lnTo>
                          <a:pt x="14290" y="9489"/>
                        </a:lnTo>
                        <a:lnTo>
                          <a:pt x="14257" y="9548"/>
                        </a:lnTo>
                        <a:lnTo>
                          <a:pt x="14224" y="9606"/>
                        </a:lnTo>
                        <a:lnTo>
                          <a:pt x="14157" y="9606"/>
                        </a:lnTo>
                        <a:lnTo>
                          <a:pt x="14124" y="9548"/>
                        </a:lnTo>
                        <a:lnTo>
                          <a:pt x="14058" y="9430"/>
                        </a:lnTo>
                        <a:lnTo>
                          <a:pt x="13991" y="9430"/>
                        </a:lnTo>
                        <a:lnTo>
                          <a:pt x="13925" y="9489"/>
                        </a:lnTo>
                        <a:lnTo>
                          <a:pt x="13892" y="9489"/>
                        </a:lnTo>
                        <a:lnTo>
                          <a:pt x="13858" y="9489"/>
                        </a:lnTo>
                        <a:lnTo>
                          <a:pt x="13792" y="9430"/>
                        </a:lnTo>
                        <a:lnTo>
                          <a:pt x="13725" y="9430"/>
                        </a:lnTo>
                        <a:lnTo>
                          <a:pt x="13692" y="9430"/>
                        </a:lnTo>
                        <a:lnTo>
                          <a:pt x="13659" y="9371"/>
                        </a:lnTo>
                        <a:lnTo>
                          <a:pt x="13659" y="9312"/>
                        </a:lnTo>
                        <a:lnTo>
                          <a:pt x="13725" y="9312"/>
                        </a:lnTo>
                        <a:lnTo>
                          <a:pt x="13792" y="9253"/>
                        </a:lnTo>
                        <a:lnTo>
                          <a:pt x="13825" y="9253"/>
                        </a:lnTo>
                        <a:lnTo>
                          <a:pt x="13825" y="9135"/>
                        </a:lnTo>
                        <a:lnTo>
                          <a:pt x="13825" y="9017"/>
                        </a:lnTo>
                        <a:lnTo>
                          <a:pt x="13825" y="8958"/>
                        </a:lnTo>
                        <a:lnTo>
                          <a:pt x="13892" y="8958"/>
                        </a:lnTo>
                        <a:lnTo>
                          <a:pt x="13892" y="9076"/>
                        </a:lnTo>
                        <a:lnTo>
                          <a:pt x="13892" y="9253"/>
                        </a:lnTo>
                        <a:lnTo>
                          <a:pt x="13925" y="9253"/>
                        </a:lnTo>
                        <a:lnTo>
                          <a:pt x="13958" y="9253"/>
                        </a:lnTo>
                        <a:lnTo>
                          <a:pt x="14024" y="9253"/>
                        </a:lnTo>
                        <a:lnTo>
                          <a:pt x="14058" y="9253"/>
                        </a:lnTo>
                        <a:lnTo>
                          <a:pt x="14091" y="9312"/>
                        </a:lnTo>
                        <a:lnTo>
                          <a:pt x="14191" y="9312"/>
                        </a:lnTo>
                        <a:lnTo>
                          <a:pt x="14257" y="9253"/>
                        </a:lnTo>
                        <a:lnTo>
                          <a:pt x="14357" y="9253"/>
                        </a:lnTo>
                        <a:lnTo>
                          <a:pt x="14390" y="9253"/>
                        </a:lnTo>
                        <a:lnTo>
                          <a:pt x="14456" y="9312"/>
                        </a:lnTo>
                        <a:lnTo>
                          <a:pt x="14490" y="9371"/>
                        </a:lnTo>
                        <a:lnTo>
                          <a:pt x="14490" y="9430"/>
                        </a:lnTo>
                        <a:lnTo>
                          <a:pt x="14490" y="9548"/>
                        </a:lnTo>
                        <a:lnTo>
                          <a:pt x="14490" y="9665"/>
                        </a:lnTo>
                        <a:lnTo>
                          <a:pt x="14589" y="9783"/>
                        </a:lnTo>
                        <a:lnTo>
                          <a:pt x="14656" y="9724"/>
                        </a:lnTo>
                        <a:lnTo>
                          <a:pt x="14722" y="9901"/>
                        </a:lnTo>
                        <a:lnTo>
                          <a:pt x="14756" y="9901"/>
                        </a:lnTo>
                        <a:lnTo>
                          <a:pt x="14822" y="9901"/>
                        </a:lnTo>
                        <a:lnTo>
                          <a:pt x="14855" y="9960"/>
                        </a:lnTo>
                        <a:lnTo>
                          <a:pt x="14955" y="10196"/>
                        </a:lnTo>
                        <a:lnTo>
                          <a:pt x="14988" y="10137"/>
                        </a:lnTo>
                        <a:lnTo>
                          <a:pt x="15021" y="10078"/>
                        </a:lnTo>
                        <a:lnTo>
                          <a:pt x="15088" y="9960"/>
                        </a:lnTo>
                        <a:lnTo>
                          <a:pt x="15121" y="9901"/>
                        </a:lnTo>
                        <a:lnTo>
                          <a:pt x="15188" y="9901"/>
                        </a:lnTo>
                        <a:lnTo>
                          <a:pt x="15221" y="9901"/>
                        </a:lnTo>
                        <a:lnTo>
                          <a:pt x="15221" y="9842"/>
                        </a:lnTo>
                        <a:lnTo>
                          <a:pt x="15254" y="9724"/>
                        </a:lnTo>
                        <a:lnTo>
                          <a:pt x="15254" y="9665"/>
                        </a:lnTo>
                        <a:lnTo>
                          <a:pt x="15221" y="9606"/>
                        </a:lnTo>
                        <a:lnTo>
                          <a:pt x="15188" y="9548"/>
                        </a:lnTo>
                        <a:lnTo>
                          <a:pt x="15154" y="9548"/>
                        </a:lnTo>
                        <a:lnTo>
                          <a:pt x="15121" y="9548"/>
                        </a:lnTo>
                        <a:lnTo>
                          <a:pt x="15088" y="9548"/>
                        </a:lnTo>
                        <a:lnTo>
                          <a:pt x="15055" y="9548"/>
                        </a:lnTo>
                        <a:lnTo>
                          <a:pt x="15088" y="9430"/>
                        </a:lnTo>
                        <a:lnTo>
                          <a:pt x="15088" y="9371"/>
                        </a:lnTo>
                        <a:lnTo>
                          <a:pt x="15088" y="9312"/>
                        </a:lnTo>
                        <a:lnTo>
                          <a:pt x="15021" y="9253"/>
                        </a:lnTo>
                        <a:lnTo>
                          <a:pt x="14988" y="9253"/>
                        </a:lnTo>
                        <a:lnTo>
                          <a:pt x="14955" y="9312"/>
                        </a:lnTo>
                        <a:lnTo>
                          <a:pt x="14922" y="9312"/>
                        </a:lnTo>
                        <a:lnTo>
                          <a:pt x="14889" y="9253"/>
                        </a:lnTo>
                        <a:lnTo>
                          <a:pt x="14855" y="9135"/>
                        </a:lnTo>
                        <a:lnTo>
                          <a:pt x="14822" y="9135"/>
                        </a:lnTo>
                        <a:lnTo>
                          <a:pt x="14822" y="9076"/>
                        </a:lnTo>
                        <a:lnTo>
                          <a:pt x="14756" y="9135"/>
                        </a:lnTo>
                        <a:lnTo>
                          <a:pt x="14689" y="9135"/>
                        </a:lnTo>
                        <a:lnTo>
                          <a:pt x="14589" y="9076"/>
                        </a:lnTo>
                        <a:lnTo>
                          <a:pt x="14490" y="8958"/>
                        </a:lnTo>
                        <a:lnTo>
                          <a:pt x="14423" y="8899"/>
                        </a:lnTo>
                        <a:lnTo>
                          <a:pt x="14257" y="8663"/>
                        </a:lnTo>
                        <a:lnTo>
                          <a:pt x="14191" y="8605"/>
                        </a:lnTo>
                        <a:lnTo>
                          <a:pt x="14124" y="8369"/>
                        </a:lnTo>
                        <a:lnTo>
                          <a:pt x="14058" y="8369"/>
                        </a:lnTo>
                        <a:lnTo>
                          <a:pt x="13991" y="8251"/>
                        </a:lnTo>
                        <a:lnTo>
                          <a:pt x="13958" y="8133"/>
                        </a:lnTo>
                        <a:lnTo>
                          <a:pt x="13925" y="8133"/>
                        </a:lnTo>
                        <a:lnTo>
                          <a:pt x="13892" y="8074"/>
                        </a:lnTo>
                        <a:lnTo>
                          <a:pt x="13892" y="7956"/>
                        </a:lnTo>
                        <a:lnTo>
                          <a:pt x="13892" y="7897"/>
                        </a:lnTo>
                        <a:lnTo>
                          <a:pt x="13925" y="7897"/>
                        </a:lnTo>
                        <a:lnTo>
                          <a:pt x="13958" y="7897"/>
                        </a:lnTo>
                        <a:lnTo>
                          <a:pt x="14091" y="8133"/>
                        </a:lnTo>
                        <a:lnTo>
                          <a:pt x="14124" y="8192"/>
                        </a:lnTo>
                        <a:lnTo>
                          <a:pt x="14157" y="8310"/>
                        </a:lnTo>
                        <a:lnTo>
                          <a:pt x="14290" y="8428"/>
                        </a:lnTo>
                        <a:lnTo>
                          <a:pt x="14490" y="8722"/>
                        </a:lnTo>
                        <a:lnTo>
                          <a:pt x="14556" y="8840"/>
                        </a:lnTo>
                        <a:lnTo>
                          <a:pt x="14623" y="8840"/>
                        </a:lnTo>
                        <a:lnTo>
                          <a:pt x="14689" y="8899"/>
                        </a:lnTo>
                        <a:lnTo>
                          <a:pt x="14756" y="8899"/>
                        </a:lnTo>
                        <a:lnTo>
                          <a:pt x="14789" y="8899"/>
                        </a:lnTo>
                        <a:lnTo>
                          <a:pt x="14855" y="8899"/>
                        </a:lnTo>
                        <a:lnTo>
                          <a:pt x="14922" y="8840"/>
                        </a:lnTo>
                        <a:lnTo>
                          <a:pt x="14922" y="8722"/>
                        </a:lnTo>
                        <a:lnTo>
                          <a:pt x="14889" y="8663"/>
                        </a:lnTo>
                        <a:lnTo>
                          <a:pt x="14855" y="8663"/>
                        </a:lnTo>
                        <a:lnTo>
                          <a:pt x="14822" y="8663"/>
                        </a:lnTo>
                        <a:lnTo>
                          <a:pt x="14756" y="8722"/>
                        </a:lnTo>
                        <a:lnTo>
                          <a:pt x="14689" y="8722"/>
                        </a:lnTo>
                        <a:lnTo>
                          <a:pt x="14689" y="8663"/>
                        </a:lnTo>
                        <a:lnTo>
                          <a:pt x="14689" y="8605"/>
                        </a:lnTo>
                        <a:lnTo>
                          <a:pt x="14756" y="8546"/>
                        </a:lnTo>
                        <a:lnTo>
                          <a:pt x="14756" y="8487"/>
                        </a:lnTo>
                        <a:lnTo>
                          <a:pt x="14722" y="8428"/>
                        </a:lnTo>
                        <a:lnTo>
                          <a:pt x="14689" y="8428"/>
                        </a:lnTo>
                        <a:lnTo>
                          <a:pt x="14656" y="8428"/>
                        </a:lnTo>
                        <a:lnTo>
                          <a:pt x="14656" y="8369"/>
                        </a:lnTo>
                        <a:lnTo>
                          <a:pt x="14689" y="8310"/>
                        </a:lnTo>
                        <a:lnTo>
                          <a:pt x="14722" y="8251"/>
                        </a:lnTo>
                        <a:lnTo>
                          <a:pt x="14689" y="8192"/>
                        </a:lnTo>
                        <a:lnTo>
                          <a:pt x="14722" y="8133"/>
                        </a:lnTo>
                        <a:lnTo>
                          <a:pt x="14789" y="8133"/>
                        </a:lnTo>
                        <a:lnTo>
                          <a:pt x="14822" y="8192"/>
                        </a:lnTo>
                        <a:lnTo>
                          <a:pt x="14855" y="8251"/>
                        </a:lnTo>
                        <a:lnTo>
                          <a:pt x="14889" y="8192"/>
                        </a:lnTo>
                        <a:lnTo>
                          <a:pt x="14922" y="8192"/>
                        </a:lnTo>
                        <a:lnTo>
                          <a:pt x="14955" y="8251"/>
                        </a:lnTo>
                        <a:lnTo>
                          <a:pt x="14988" y="8369"/>
                        </a:lnTo>
                        <a:lnTo>
                          <a:pt x="15021" y="8369"/>
                        </a:lnTo>
                        <a:lnTo>
                          <a:pt x="15055" y="8487"/>
                        </a:lnTo>
                        <a:lnTo>
                          <a:pt x="15088" y="8487"/>
                        </a:lnTo>
                        <a:lnTo>
                          <a:pt x="15088" y="8369"/>
                        </a:lnTo>
                        <a:lnTo>
                          <a:pt x="15055" y="8310"/>
                        </a:lnTo>
                        <a:lnTo>
                          <a:pt x="15088" y="8192"/>
                        </a:lnTo>
                        <a:lnTo>
                          <a:pt x="15088" y="8133"/>
                        </a:lnTo>
                        <a:lnTo>
                          <a:pt x="15088" y="8074"/>
                        </a:lnTo>
                        <a:lnTo>
                          <a:pt x="15088" y="8015"/>
                        </a:lnTo>
                        <a:lnTo>
                          <a:pt x="15055" y="7897"/>
                        </a:lnTo>
                        <a:lnTo>
                          <a:pt x="15021" y="7897"/>
                        </a:lnTo>
                        <a:lnTo>
                          <a:pt x="14955" y="7897"/>
                        </a:lnTo>
                        <a:lnTo>
                          <a:pt x="14922" y="7838"/>
                        </a:lnTo>
                        <a:lnTo>
                          <a:pt x="14889" y="7779"/>
                        </a:lnTo>
                        <a:lnTo>
                          <a:pt x="14822" y="7721"/>
                        </a:lnTo>
                        <a:lnTo>
                          <a:pt x="14756" y="7721"/>
                        </a:lnTo>
                        <a:lnTo>
                          <a:pt x="14689" y="7721"/>
                        </a:lnTo>
                        <a:lnTo>
                          <a:pt x="14656" y="7779"/>
                        </a:lnTo>
                        <a:lnTo>
                          <a:pt x="14623" y="7721"/>
                        </a:lnTo>
                        <a:lnTo>
                          <a:pt x="14589" y="7662"/>
                        </a:lnTo>
                        <a:lnTo>
                          <a:pt x="14623" y="7603"/>
                        </a:lnTo>
                        <a:lnTo>
                          <a:pt x="14656" y="7603"/>
                        </a:lnTo>
                        <a:lnTo>
                          <a:pt x="14756" y="7544"/>
                        </a:lnTo>
                        <a:lnTo>
                          <a:pt x="14855" y="7544"/>
                        </a:lnTo>
                        <a:lnTo>
                          <a:pt x="14889" y="7485"/>
                        </a:lnTo>
                        <a:lnTo>
                          <a:pt x="14889" y="7426"/>
                        </a:lnTo>
                        <a:lnTo>
                          <a:pt x="14889" y="7367"/>
                        </a:lnTo>
                        <a:lnTo>
                          <a:pt x="14855" y="7367"/>
                        </a:lnTo>
                        <a:lnTo>
                          <a:pt x="14822" y="7367"/>
                        </a:lnTo>
                        <a:lnTo>
                          <a:pt x="14722" y="7426"/>
                        </a:lnTo>
                        <a:lnTo>
                          <a:pt x="14656" y="7367"/>
                        </a:lnTo>
                        <a:lnTo>
                          <a:pt x="14589" y="7308"/>
                        </a:lnTo>
                        <a:lnTo>
                          <a:pt x="14556" y="7308"/>
                        </a:lnTo>
                        <a:lnTo>
                          <a:pt x="14490" y="7308"/>
                        </a:lnTo>
                        <a:lnTo>
                          <a:pt x="14390" y="7367"/>
                        </a:lnTo>
                        <a:lnTo>
                          <a:pt x="14357" y="7367"/>
                        </a:lnTo>
                        <a:lnTo>
                          <a:pt x="14324" y="7249"/>
                        </a:lnTo>
                        <a:lnTo>
                          <a:pt x="14257" y="7190"/>
                        </a:lnTo>
                        <a:lnTo>
                          <a:pt x="14257" y="7072"/>
                        </a:lnTo>
                        <a:lnTo>
                          <a:pt x="14224" y="6954"/>
                        </a:lnTo>
                        <a:lnTo>
                          <a:pt x="14157" y="6895"/>
                        </a:lnTo>
                        <a:lnTo>
                          <a:pt x="14058" y="6778"/>
                        </a:lnTo>
                        <a:lnTo>
                          <a:pt x="13991" y="6719"/>
                        </a:lnTo>
                        <a:lnTo>
                          <a:pt x="13925" y="6601"/>
                        </a:lnTo>
                        <a:lnTo>
                          <a:pt x="13892" y="6542"/>
                        </a:lnTo>
                        <a:lnTo>
                          <a:pt x="13858" y="6542"/>
                        </a:lnTo>
                        <a:lnTo>
                          <a:pt x="13792" y="6483"/>
                        </a:lnTo>
                        <a:lnTo>
                          <a:pt x="13759" y="6365"/>
                        </a:lnTo>
                        <a:lnTo>
                          <a:pt x="13692" y="6247"/>
                        </a:lnTo>
                        <a:lnTo>
                          <a:pt x="13626" y="6188"/>
                        </a:lnTo>
                        <a:lnTo>
                          <a:pt x="13592" y="6188"/>
                        </a:lnTo>
                        <a:lnTo>
                          <a:pt x="13526" y="6070"/>
                        </a:lnTo>
                        <a:lnTo>
                          <a:pt x="13393" y="5835"/>
                        </a:lnTo>
                        <a:lnTo>
                          <a:pt x="13360" y="5717"/>
                        </a:lnTo>
                        <a:lnTo>
                          <a:pt x="13327" y="5658"/>
                        </a:lnTo>
                        <a:lnTo>
                          <a:pt x="13360" y="5658"/>
                        </a:lnTo>
                        <a:lnTo>
                          <a:pt x="13393" y="5658"/>
                        </a:lnTo>
                        <a:lnTo>
                          <a:pt x="13559" y="5894"/>
                        </a:lnTo>
                        <a:lnTo>
                          <a:pt x="13592" y="6011"/>
                        </a:lnTo>
                        <a:lnTo>
                          <a:pt x="13659" y="6070"/>
                        </a:lnTo>
                        <a:lnTo>
                          <a:pt x="13725" y="6129"/>
                        </a:lnTo>
                        <a:lnTo>
                          <a:pt x="13825" y="6188"/>
                        </a:lnTo>
                        <a:lnTo>
                          <a:pt x="13858" y="6306"/>
                        </a:lnTo>
                        <a:lnTo>
                          <a:pt x="13925" y="6424"/>
                        </a:lnTo>
                        <a:lnTo>
                          <a:pt x="13991" y="6483"/>
                        </a:lnTo>
                        <a:lnTo>
                          <a:pt x="14091" y="6542"/>
                        </a:lnTo>
                        <a:lnTo>
                          <a:pt x="14124" y="6601"/>
                        </a:lnTo>
                        <a:lnTo>
                          <a:pt x="14191" y="6660"/>
                        </a:lnTo>
                        <a:lnTo>
                          <a:pt x="14257" y="6719"/>
                        </a:lnTo>
                        <a:lnTo>
                          <a:pt x="14324" y="6778"/>
                        </a:lnTo>
                        <a:lnTo>
                          <a:pt x="14357" y="6895"/>
                        </a:lnTo>
                        <a:lnTo>
                          <a:pt x="14390" y="7072"/>
                        </a:lnTo>
                        <a:lnTo>
                          <a:pt x="14423" y="7072"/>
                        </a:lnTo>
                        <a:lnTo>
                          <a:pt x="14456" y="7013"/>
                        </a:lnTo>
                        <a:lnTo>
                          <a:pt x="14490" y="6954"/>
                        </a:lnTo>
                        <a:lnTo>
                          <a:pt x="14523" y="6954"/>
                        </a:lnTo>
                        <a:lnTo>
                          <a:pt x="14589" y="7072"/>
                        </a:lnTo>
                        <a:lnTo>
                          <a:pt x="14656" y="7072"/>
                        </a:lnTo>
                        <a:lnTo>
                          <a:pt x="14756" y="7131"/>
                        </a:lnTo>
                        <a:lnTo>
                          <a:pt x="14789" y="7072"/>
                        </a:lnTo>
                        <a:lnTo>
                          <a:pt x="14789" y="6954"/>
                        </a:lnTo>
                        <a:lnTo>
                          <a:pt x="14756" y="6895"/>
                        </a:lnTo>
                        <a:lnTo>
                          <a:pt x="14722" y="6836"/>
                        </a:lnTo>
                        <a:lnTo>
                          <a:pt x="14722" y="6778"/>
                        </a:lnTo>
                        <a:lnTo>
                          <a:pt x="14756" y="6660"/>
                        </a:lnTo>
                        <a:lnTo>
                          <a:pt x="14756" y="6601"/>
                        </a:lnTo>
                        <a:lnTo>
                          <a:pt x="14756" y="6483"/>
                        </a:lnTo>
                        <a:lnTo>
                          <a:pt x="14789" y="6483"/>
                        </a:lnTo>
                        <a:lnTo>
                          <a:pt x="14756" y="6365"/>
                        </a:lnTo>
                        <a:lnTo>
                          <a:pt x="14722" y="6365"/>
                        </a:lnTo>
                        <a:lnTo>
                          <a:pt x="14722" y="6306"/>
                        </a:lnTo>
                        <a:lnTo>
                          <a:pt x="14722" y="6188"/>
                        </a:lnTo>
                        <a:lnTo>
                          <a:pt x="14656" y="6129"/>
                        </a:lnTo>
                        <a:lnTo>
                          <a:pt x="14656" y="6070"/>
                        </a:lnTo>
                        <a:lnTo>
                          <a:pt x="14689" y="6070"/>
                        </a:lnTo>
                        <a:lnTo>
                          <a:pt x="14756" y="6129"/>
                        </a:lnTo>
                        <a:lnTo>
                          <a:pt x="14822" y="6070"/>
                        </a:lnTo>
                        <a:lnTo>
                          <a:pt x="14855" y="6129"/>
                        </a:lnTo>
                        <a:lnTo>
                          <a:pt x="14855" y="6070"/>
                        </a:lnTo>
                        <a:lnTo>
                          <a:pt x="14889" y="5952"/>
                        </a:lnTo>
                        <a:lnTo>
                          <a:pt x="14855" y="5835"/>
                        </a:lnTo>
                        <a:lnTo>
                          <a:pt x="14822" y="5717"/>
                        </a:lnTo>
                        <a:lnTo>
                          <a:pt x="14789" y="5717"/>
                        </a:lnTo>
                        <a:lnTo>
                          <a:pt x="14689" y="5658"/>
                        </a:lnTo>
                        <a:lnTo>
                          <a:pt x="14589" y="5658"/>
                        </a:lnTo>
                        <a:lnTo>
                          <a:pt x="14523" y="5599"/>
                        </a:lnTo>
                        <a:lnTo>
                          <a:pt x="14390" y="5481"/>
                        </a:lnTo>
                        <a:lnTo>
                          <a:pt x="14290" y="5599"/>
                        </a:lnTo>
                        <a:lnTo>
                          <a:pt x="14257" y="5540"/>
                        </a:lnTo>
                        <a:lnTo>
                          <a:pt x="14224" y="5422"/>
                        </a:lnTo>
                        <a:lnTo>
                          <a:pt x="14157" y="5422"/>
                        </a:lnTo>
                        <a:lnTo>
                          <a:pt x="14124" y="5422"/>
                        </a:lnTo>
                        <a:lnTo>
                          <a:pt x="14124" y="5304"/>
                        </a:lnTo>
                        <a:lnTo>
                          <a:pt x="14091" y="5245"/>
                        </a:lnTo>
                        <a:lnTo>
                          <a:pt x="14024" y="5127"/>
                        </a:lnTo>
                        <a:lnTo>
                          <a:pt x="13958" y="5068"/>
                        </a:lnTo>
                        <a:lnTo>
                          <a:pt x="13925" y="5009"/>
                        </a:lnTo>
                        <a:lnTo>
                          <a:pt x="13892" y="5009"/>
                        </a:lnTo>
                        <a:lnTo>
                          <a:pt x="13892" y="5127"/>
                        </a:lnTo>
                        <a:lnTo>
                          <a:pt x="13858" y="5127"/>
                        </a:lnTo>
                        <a:lnTo>
                          <a:pt x="13825" y="5068"/>
                        </a:lnTo>
                        <a:lnTo>
                          <a:pt x="13792" y="5009"/>
                        </a:lnTo>
                        <a:lnTo>
                          <a:pt x="13792" y="4951"/>
                        </a:lnTo>
                        <a:lnTo>
                          <a:pt x="13759" y="4951"/>
                        </a:lnTo>
                        <a:lnTo>
                          <a:pt x="13725" y="5068"/>
                        </a:lnTo>
                        <a:lnTo>
                          <a:pt x="13692" y="5068"/>
                        </a:lnTo>
                        <a:lnTo>
                          <a:pt x="13659" y="5068"/>
                        </a:lnTo>
                        <a:lnTo>
                          <a:pt x="13592" y="5009"/>
                        </a:lnTo>
                        <a:lnTo>
                          <a:pt x="13526" y="5009"/>
                        </a:lnTo>
                        <a:lnTo>
                          <a:pt x="13459" y="5009"/>
                        </a:lnTo>
                        <a:lnTo>
                          <a:pt x="13360" y="4951"/>
                        </a:lnTo>
                        <a:lnTo>
                          <a:pt x="13260" y="4892"/>
                        </a:lnTo>
                        <a:lnTo>
                          <a:pt x="13227" y="4892"/>
                        </a:lnTo>
                        <a:lnTo>
                          <a:pt x="13194" y="4833"/>
                        </a:lnTo>
                        <a:lnTo>
                          <a:pt x="13194" y="4715"/>
                        </a:lnTo>
                        <a:lnTo>
                          <a:pt x="13127" y="4656"/>
                        </a:lnTo>
                        <a:lnTo>
                          <a:pt x="13061" y="4597"/>
                        </a:lnTo>
                        <a:lnTo>
                          <a:pt x="12994" y="4479"/>
                        </a:lnTo>
                        <a:lnTo>
                          <a:pt x="12994" y="4420"/>
                        </a:lnTo>
                        <a:lnTo>
                          <a:pt x="12961" y="4420"/>
                        </a:lnTo>
                        <a:lnTo>
                          <a:pt x="12994" y="4243"/>
                        </a:lnTo>
                        <a:lnTo>
                          <a:pt x="12961" y="4125"/>
                        </a:lnTo>
                        <a:lnTo>
                          <a:pt x="12928" y="4067"/>
                        </a:lnTo>
                        <a:lnTo>
                          <a:pt x="12895" y="4125"/>
                        </a:lnTo>
                        <a:lnTo>
                          <a:pt x="12828" y="4243"/>
                        </a:lnTo>
                        <a:lnTo>
                          <a:pt x="12728" y="4302"/>
                        </a:lnTo>
                        <a:lnTo>
                          <a:pt x="12595" y="4479"/>
                        </a:lnTo>
                        <a:lnTo>
                          <a:pt x="12562" y="4538"/>
                        </a:lnTo>
                        <a:lnTo>
                          <a:pt x="12496" y="4538"/>
                        </a:lnTo>
                        <a:lnTo>
                          <a:pt x="12462" y="4420"/>
                        </a:lnTo>
                        <a:lnTo>
                          <a:pt x="12396" y="4361"/>
                        </a:lnTo>
                        <a:lnTo>
                          <a:pt x="12330" y="4184"/>
                        </a:lnTo>
                        <a:lnTo>
                          <a:pt x="12330" y="4067"/>
                        </a:lnTo>
                        <a:lnTo>
                          <a:pt x="12330" y="3890"/>
                        </a:lnTo>
                        <a:lnTo>
                          <a:pt x="12330" y="3713"/>
                        </a:lnTo>
                        <a:lnTo>
                          <a:pt x="12363" y="3595"/>
                        </a:lnTo>
                        <a:lnTo>
                          <a:pt x="12363" y="3477"/>
                        </a:lnTo>
                        <a:lnTo>
                          <a:pt x="12396" y="3359"/>
                        </a:lnTo>
                        <a:lnTo>
                          <a:pt x="12429" y="3241"/>
                        </a:lnTo>
                        <a:lnTo>
                          <a:pt x="12462" y="3183"/>
                        </a:lnTo>
                        <a:lnTo>
                          <a:pt x="12562" y="3065"/>
                        </a:lnTo>
                        <a:lnTo>
                          <a:pt x="12595" y="3006"/>
                        </a:lnTo>
                        <a:lnTo>
                          <a:pt x="12595" y="2829"/>
                        </a:lnTo>
                        <a:lnTo>
                          <a:pt x="12595" y="2770"/>
                        </a:lnTo>
                        <a:lnTo>
                          <a:pt x="12662" y="2652"/>
                        </a:lnTo>
                        <a:lnTo>
                          <a:pt x="12695" y="2652"/>
                        </a:lnTo>
                        <a:lnTo>
                          <a:pt x="12728" y="2534"/>
                        </a:lnTo>
                        <a:lnTo>
                          <a:pt x="12728" y="2475"/>
                        </a:lnTo>
                        <a:lnTo>
                          <a:pt x="12695" y="2298"/>
                        </a:lnTo>
                        <a:lnTo>
                          <a:pt x="12695" y="2122"/>
                        </a:lnTo>
                        <a:lnTo>
                          <a:pt x="12695" y="2063"/>
                        </a:lnTo>
                        <a:lnTo>
                          <a:pt x="12662" y="1886"/>
                        </a:lnTo>
                        <a:lnTo>
                          <a:pt x="12629" y="1768"/>
                        </a:lnTo>
                        <a:lnTo>
                          <a:pt x="12562" y="1709"/>
                        </a:lnTo>
                        <a:lnTo>
                          <a:pt x="12462" y="1591"/>
                        </a:lnTo>
                        <a:lnTo>
                          <a:pt x="12363" y="1473"/>
                        </a:lnTo>
                        <a:lnTo>
                          <a:pt x="12263" y="1473"/>
                        </a:lnTo>
                        <a:lnTo>
                          <a:pt x="12197" y="1473"/>
                        </a:lnTo>
                        <a:lnTo>
                          <a:pt x="12163" y="1414"/>
                        </a:lnTo>
                        <a:lnTo>
                          <a:pt x="12130" y="1238"/>
                        </a:lnTo>
                        <a:lnTo>
                          <a:pt x="11964" y="1179"/>
                        </a:lnTo>
                        <a:lnTo>
                          <a:pt x="11798" y="1179"/>
                        </a:lnTo>
                        <a:lnTo>
                          <a:pt x="11698" y="1120"/>
                        </a:lnTo>
                        <a:lnTo>
                          <a:pt x="11598" y="1061"/>
                        </a:lnTo>
                        <a:lnTo>
                          <a:pt x="11532" y="943"/>
                        </a:lnTo>
                        <a:lnTo>
                          <a:pt x="11532" y="884"/>
                        </a:lnTo>
                        <a:lnTo>
                          <a:pt x="11532" y="766"/>
                        </a:lnTo>
                        <a:lnTo>
                          <a:pt x="11598" y="648"/>
                        </a:lnTo>
                        <a:lnTo>
                          <a:pt x="11632" y="530"/>
                        </a:lnTo>
                        <a:lnTo>
                          <a:pt x="11632" y="471"/>
                        </a:lnTo>
                        <a:lnTo>
                          <a:pt x="11632" y="413"/>
                        </a:lnTo>
                        <a:lnTo>
                          <a:pt x="11565" y="354"/>
                        </a:lnTo>
                        <a:lnTo>
                          <a:pt x="11499" y="354"/>
                        </a:lnTo>
                        <a:lnTo>
                          <a:pt x="11432" y="295"/>
                        </a:lnTo>
                        <a:lnTo>
                          <a:pt x="11299" y="177"/>
                        </a:lnTo>
                        <a:lnTo>
                          <a:pt x="11266" y="236"/>
                        </a:lnTo>
                        <a:lnTo>
                          <a:pt x="11166" y="177"/>
                        </a:lnTo>
                        <a:lnTo>
                          <a:pt x="11100" y="177"/>
                        </a:lnTo>
                        <a:lnTo>
                          <a:pt x="11033" y="471"/>
                        </a:lnTo>
                        <a:lnTo>
                          <a:pt x="11000" y="648"/>
                        </a:lnTo>
                        <a:lnTo>
                          <a:pt x="10967" y="943"/>
                        </a:lnTo>
                        <a:lnTo>
                          <a:pt x="10967" y="1120"/>
                        </a:lnTo>
                        <a:lnTo>
                          <a:pt x="10934" y="1120"/>
                        </a:lnTo>
                        <a:lnTo>
                          <a:pt x="10468" y="648"/>
                        </a:lnTo>
                        <a:lnTo>
                          <a:pt x="10003" y="236"/>
                        </a:lnTo>
                        <a:lnTo>
                          <a:pt x="9771" y="0"/>
                        </a:lnTo>
                        <a:lnTo>
                          <a:pt x="9704" y="236"/>
                        </a:lnTo>
                        <a:lnTo>
                          <a:pt x="9771" y="236"/>
                        </a:lnTo>
                        <a:lnTo>
                          <a:pt x="9704" y="471"/>
                        </a:lnTo>
                        <a:lnTo>
                          <a:pt x="9771" y="471"/>
                        </a:lnTo>
                        <a:lnTo>
                          <a:pt x="9671" y="943"/>
                        </a:lnTo>
                        <a:lnTo>
                          <a:pt x="9704" y="1002"/>
                        </a:lnTo>
                        <a:lnTo>
                          <a:pt x="9671" y="1297"/>
                        </a:lnTo>
                        <a:lnTo>
                          <a:pt x="9737" y="1356"/>
                        </a:lnTo>
                        <a:lnTo>
                          <a:pt x="9737" y="1414"/>
                        </a:lnTo>
                        <a:lnTo>
                          <a:pt x="9704" y="1532"/>
                        </a:lnTo>
                        <a:lnTo>
                          <a:pt x="9604" y="1827"/>
                        </a:lnTo>
                        <a:lnTo>
                          <a:pt x="9505" y="2004"/>
                        </a:lnTo>
                        <a:lnTo>
                          <a:pt x="9505" y="2063"/>
                        </a:lnTo>
                        <a:lnTo>
                          <a:pt x="9505" y="2122"/>
                        </a:lnTo>
                        <a:lnTo>
                          <a:pt x="9538" y="2122"/>
                        </a:lnTo>
                        <a:lnTo>
                          <a:pt x="9471" y="2357"/>
                        </a:lnTo>
                        <a:lnTo>
                          <a:pt x="9405" y="2357"/>
                        </a:lnTo>
                        <a:lnTo>
                          <a:pt x="9372" y="2416"/>
                        </a:lnTo>
                        <a:lnTo>
                          <a:pt x="9305" y="2711"/>
                        </a:lnTo>
                        <a:lnTo>
                          <a:pt x="9239" y="2652"/>
                        </a:lnTo>
                        <a:lnTo>
                          <a:pt x="9206" y="2711"/>
                        </a:lnTo>
                        <a:lnTo>
                          <a:pt x="9172" y="2770"/>
                        </a:lnTo>
                        <a:lnTo>
                          <a:pt x="9073" y="3241"/>
                        </a:lnTo>
                        <a:lnTo>
                          <a:pt x="9039" y="3595"/>
                        </a:lnTo>
                        <a:lnTo>
                          <a:pt x="8740" y="3300"/>
                        </a:lnTo>
                        <a:lnTo>
                          <a:pt x="8740" y="3359"/>
                        </a:lnTo>
                        <a:lnTo>
                          <a:pt x="8674" y="3477"/>
                        </a:lnTo>
                        <a:lnTo>
                          <a:pt x="8641" y="3477"/>
                        </a:lnTo>
                        <a:lnTo>
                          <a:pt x="8641" y="3536"/>
                        </a:lnTo>
                        <a:lnTo>
                          <a:pt x="8641" y="3713"/>
                        </a:lnTo>
                        <a:lnTo>
                          <a:pt x="8607" y="3772"/>
                        </a:lnTo>
                        <a:lnTo>
                          <a:pt x="8607" y="3890"/>
                        </a:lnTo>
                        <a:lnTo>
                          <a:pt x="8607" y="4067"/>
                        </a:lnTo>
                        <a:lnTo>
                          <a:pt x="8574" y="4125"/>
                        </a:lnTo>
                        <a:lnTo>
                          <a:pt x="8541" y="4243"/>
                        </a:lnTo>
                        <a:lnTo>
                          <a:pt x="8508" y="4479"/>
                        </a:lnTo>
                        <a:lnTo>
                          <a:pt x="8474" y="4774"/>
                        </a:lnTo>
                        <a:lnTo>
                          <a:pt x="8441" y="5009"/>
                        </a:lnTo>
                        <a:lnTo>
                          <a:pt x="8441" y="5186"/>
                        </a:lnTo>
                        <a:lnTo>
                          <a:pt x="8408" y="5245"/>
                        </a:lnTo>
                        <a:lnTo>
                          <a:pt x="8342" y="5363"/>
                        </a:lnTo>
                        <a:lnTo>
                          <a:pt x="8308" y="5422"/>
                        </a:lnTo>
                        <a:lnTo>
                          <a:pt x="8275" y="5481"/>
                        </a:lnTo>
                        <a:close/>
                      </a:path>
                    </a:pathLst>
                  </a:custGeom>
                  <a:solidFill>
                    <a:srgbClr val="0070C0"/>
                  </a:solidFill>
                  <a:ln w="952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marL="0" marR="0" lvl="0" indent="0" defTabSz="121917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</a:endParaRPr>
                  </a:p>
                </p:txBody>
              </p:sp>
            </p:grpSp>
            <p:sp>
              <p:nvSpPr>
                <p:cNvPr id="69" name="Kentucky">
                  <a:extLst>
                    <a:ext uri="{FF2B5EF4-FFF2-40B4-BE49-F238E27FC236}">
                      <a16:creationId xmlns:a16="http://schemas.microsoft.com/office/drawing/2014/main" id="{D62B36B4-6762-C8D7-1E7D-67A7FF0BF25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9821525" y="8496300"/>
                  <a:ext cx="4314825" cy="2133600"/>
                </a:xfrm>
                <a:custGeom>
                  <a:avLst/>
                  <a:gdLst>
                    <a:gd name="T0" fmla="*/ 2147483647 w 16384"/>
                    <a:gd name="T1" fmla="*/ 2147483647 h 16384"/>
                    <a:gd name="T2" fmla="*/ 2147483647 w 16384"/>
                    <a:gd name="T3" fmla="*/ 2147483647 h 16384"/>
                    <a:gd name="T4" fmla="*/ 2147483647 w 16384"/>
                    <a:gd name="T5" fmla="*/ 2147483647 h 16384"/>
                    <a:gd name="T6" fmla="*/ 2147483647 w 16384"/>
                    <a:gd name="T7" fmla="*/ 2147483647 h 16384"/>
                    <a:gd name="T8" fmla="*/ 2147483647 w 16384"/>
                    <a:gd name="T9" fmla="*/ 2147483647 h 16384"/>
                    <a:gd name="T10" fmla="*/ 2147483647 w 16384"/>
                    <a:gd name="T11" fmla="*/ 2147483647 h 16384"/>
                    <a:gd name="T12" fmla="*/ 2147483647 w 16384"/>
                    <a:gd name="T13" fmla="*/ 2147483647 h 16384"/>
                    <a:gd name="T14" fmla="*/ 2147483647 w 16384"/>
                    <a:gd name="T15" fmla="*/ 2147483647 h 16384"/>
                    <a:gd name="T16" fmla="*/ 2147483647 w 16384"/>
                    <a:gd name="T17" fmla="*/ 2147483647 h 16384"/>
                    <a:gd name="T18" fmla="*/ 2147483647 w 16384"/>
                    <a:gd name="T19" fmla="*/ 2147483647 h 16384"/>
                    <a:gd name="T20" fmla="*/ 2147483647 w 16384"/>
                    <a:gd name="T21" fmla="*/ 2147483647 h 16384"/>
                    <a:gd name="T22" fmla="*/ 2147483647 w 16384"/>
                    <a:gd name="T23" fmla="*/ 2147483647 h 16384"/>
                    <a:gd name="T24" fmla="*/ 2147483647 w 16384"/>
                    <a:gd name="T25" fmla="*/ 2147483647 h 16384"/>
                    <a:gd name="T26" fmla="*/ 2147483647 w 16384"/>
                    <a:gd name="T27" fmla="*/ 2147483647 h 16384"/>
                    <a:gd name="T28" fmla="*/ 2147483647 w 16384"/>
                    <a:gd name="T29" fmla="*/ 2147483647 h 16384"/>
                    <a:gd name="T30" fmla="*/ 2147483647 w 16384"/>
                    <a:gd name="T31" fmla="*/ 2147483647 h 16384"/>
                    <a:gd name="T32" fmla="*/ 2147483647 w 16384"/>
                    <a:gd name="T33" fmla="*/ 2147483647 h 16384"/>
                    <a:gd name="T34" fmla="*/ 2147483647 w 16384"/>
                    <a:gd name="T35" fmla="*/ 2147483647 h 16384"/>
                    <a:gd name="T36" fmla="*/ 2147483647 w 16384"/>
                    <a:gd name="T37" fmla="*/ 2147483647 h 16384"/>
                    <a:gd name="T38" fmla="*/ 2147483647 w 16384"/>
                    <a:gd name="T39" fmla="*/ 2147483647 h 16384"/>
                    <a:gd name="T40" fmla="*/ 2147483647 w 16384"/>
                    <a:gd name="T41" fmla="*/ 2147483647 h 16384"/>
                    <a:gd name="T42" fmla="*/ 2147483647 w 16384"/>
                    <a:gd name="T43" fmla="*/ 2147483647 h 16384"/>
                    <a:gd name="T44" fmla="*/ 2147483647 w 16384"/>
                    <a:gd name="T45" fmla="*/ 2147483647 h 16384"/>
                    <a:gd name="T46" fmla="*/ 2147483647 w 16384"/>
                    <a:gd name="T47" fmla="*/ 2147483647 h 16384"/>
                    <a:gd name="T48" fmla="*/ 2147483647 w 16384"/>
                    <a:gd name="T49" fmla="*/ 2147483647 h 16384"/>
                    <a:gd name="T50" fmla="*/ 2147483647 w 16384"/>
                    <a:gd name="T51" fmla="*/ 2147483647 h 16384"/>
                    <a:gd name="T52" fmla="*/ 2147483647 w 16384"/>
                    <a:gd name="T53" fmla="*/ 2147483647 h 16384"/>
                    <a:gd name="T54" fmla="*/ 2147483647 w 16384"/>
                    <a:gd name="T55" fmla="*/ 2147483647 h 16384"/>
                    <a:gd name="T56" fmla="*/ 2147483647 w 16384"/>
                    <a:gd name="T57" fmla="*/ 2147483647 h 16384"/>
                    <a:gd name="T58" fmla="*/ 2147483647 w 16384"/>
                    <a:gd name="T59" fmla="*/ 2147483647 h 16384"/>
                    <a:gd name="T60" fmla="*/ 2147483647 w 16384"/>
                    <a:gd name="T61" fmla="*/ 2147483647 h 16384"/>
                    <a:gd name="T62" fmla="*/ 2147483647 w 16384"/>
                    <a:gd name="T63" fmla="*/ 2147483647 h 16384"/>
                    <a:gd name="T64" fmla="*/ 2147483647 w 16384"/>
                    <a:gd name="T65" fmla="*/ 2147483647 h 16384"/>
                    <a:gd name="T66" fmla="*/ 2147483647 w 16384"/>
                    <a:gd name="T67" fmla="*/ 2147483647 h 16384"/>
                    <a:gd name="T68" fmla="*/ 2147483647 w 16384"/>
                    <a:gd name="T69" fmla="*/ 2147483647 h 16384"/>
                    <a:gd name="T70" fmla="*/ 2147483647 w 16384"/>
                    <a:gd name="T71" fmla="*/ 2147483647 h 16384"/>
                    <a:gd name="T72" fmla="*/ 2147483647 w 16384"/>
                    <a:gd name="T73" fmla="*/ 2147483647 h 16384"/>
                    <a:gd name="T74" fmla="*/ 2147483647 w 16384"/>
                    <a:gd name="T75" fmla="*/ 2147483647 h 16384"/>
                    <a:gd name="T76" fmla="*/ 2147483647 w 16384"/>
                    <a:gd name="T77" fmla="*/ 2147483647 h 16384"/>
                    <a:gd name="T78" fmla="*/ 2147483647 w 16384"/>
                    <a:gd name="T79" fmla="*/ 2147483647 h 16384"/>
                    <a:gd name="T80" fmla="*/ 2147483647 w 16384"/>
                    <a:gd name="T81" fmla="*/ 2147483647 h 16384"/>
                    <a:gd name="T82" fmla="*/ 2147483647 w 16384"/>
                    <a:gd name="T83" fmla="*/ 2147483647 h 16384"/>
                    <a:gd name="T84" fmla="*/ 2147483647 w 16384"/>
                    <a:gd name="T85" fmla="*/ 2147483647 h 16384"/>
                    <a:gd name="T86" fmla="*/ 2147483647 w 16384"/>
                    <a:gd name="T87" fmla="*/ 2147483647 h 16384"/>
                    <a:gd name="T88" fmla="*/ 2147483647 w 16384"/>
                    <a:gd name="T89" fmla="*/ 2147483647 h 16384"/>
                    <a:gd name="T90" fmla="*/ 2147483647 w 16384"/>
                    <a:gd name="T91" fmla="*/ 2147483647 h 16384"/>
                    <a:gd name="T92" fmla="*/ 2147483647 w 16384"/>
                    <a:gd name="T93" fmla="*/ 2147483647 h 16384"/>
                    <a:gd name="T94" fmla="*/ 2147483647 w 16384"/>
                    <a:gd name="T95" fmla="*/ 2147483647 h 16384"/>
                    <a:gd name="T96" fmla="*/ 2147483647 w 16384"/>
                    <a:gd name="T97" fmla="*/ 2147483647 h 16384"/>
                    <a:gd name="T98" fmla="*/ 2147483647 w 16384"/>
                    <a:gd name="T99" fmla="*/ 2147483647 h 16384"/>
                    <a:gd name="T100" fmla="*/ 2147483647 w 16384"/>
                    <a:gd name="T101" fmla="*/ 2147483647 h 16384"/>
                    <a:gd name="T102" fmla="*/ 2147483647 w 16384"/>
                    <a:gd name="T103" fmla="*/ 2147483647 h 16384"/>
                    <a:gd name="T104" fmla="*/ 2147483647 w 16384"/>
                    <a:gd name="T105" fmla="*/ 2147483647 h 16384"/>
                    <a:gd name="T106" fmla="*/ 2147483647 w 16384"/>
                    <a:gd name="T107" fmla="*/ 2147483647 h 16384"/>
                    <a:gd name="T108" fmla="*/ 2147483647 w 16384"/>
                    <a:gd name="T109" fmla="*/ 2147483647 h 16384"/>
                    <a:gd name="T110" fmla="*/ 2147483647 w 16384"/>
                    <a:gd name="T111" fmla="*/ 2147483647 h 16384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w 16384"/>
                    <a:gd name="T169" fmla="*/ 0 h 16384"/>
                    <a:gd name="T170" fmla="*/ 16384 w 16384"/>
                    <a:gd name="T171" fmla="*/ 16384 h 16384"/>
                  </a:gdLst>
                  <a:ahLst/>
                  <a:cxnLst>
                    <a:cxn ang="T112">
                      <a:pos x="T0" y="T1"/>
                    </a:cxn>
                    <a:cxn ang="T113">
                      <a:pos x="T2" y="T3"/>
                    </a:cxn>
                    <a:cxn ang="T114">
                      <a:pos x="T4" y="T5"/>
                    </a:cxn>
                    <a:cxn ang="T115">
                      <a:pos x="T6" y="T7"/>
                    </a:cxn>
                    <a:cxn ang="T116">
                      <a:pos x="T8" y="T9"/>
                    </a:cxn>
                    <a:cxn ang="T117">
                      <a:pos x="T10" y="T11"/>
                    </a:cxn>
                    <a:cxn ang="T118">
                      <a:pos x="T12" y="T13"/>
                    </a:cxn>
                    <a:cxn ang="T119">
                      <a:pos x="T14" y="T15"/>
                    </a:cxn>
                    <a:cxn ang="T120">
                      <a:pos x="T16" y="T17"/>
                    </a:cxn>
                    <a:cxn ang="T121">
                      <a:pos x="T18" y="T19"/>
                    </a:cxn>
                    <a:cxn ang="T122">
                      <a:pos x="T20" y="T21"/>
                    </a:cxn>
                    <a:cxn ang="T123">
                      <a:pos x="T22" y="T23"/>
                    </a:cxn>
                    <a:cxn ang="T124">
                      <a:pos x="T24" y="T25"/>
                    </a:cxn>
                    <a:cxn ang="T125">
                      <a:pos x="T26" y="T27"/>
                    </a:cxn>
                    <a:cxn ang="T126">
                      <a:pos x="T28" y="T29"/>
                    </a:cxn>
                    <a:cxn ang="T127">
                      <a:pos x="T30" y="T31"/>
                    </a:cxn>
                    <a:cxn ang="T128">
                      <a:pos x="T32" y="T33"/>
                    </a:cxn>
                    <a:cxn ang="T129">
                      <a:pos x="T34" y="T35"/>
                    </a:cxn>
                    <a:cxn ang="T130">
                      <a:pos x="T36" y="T37"/>
                    </a:cxn>
                    <a:cxn ang="T131">
                      <a:pos x="T38" y="T39"/>
                    </a:cxn>
                    <a:cxn ang="T132">
                      <a:pos x="T40" y="T41"/>
                    </a:cxn>
                    <a:cxn ang="T133">
                      <a:pos x="T42" y="T43"/>
                    </a:cxn>
                    <a:cxn ang="T134">
                      <a:pos x="T44" y="T45"/>
                    </a:cxn>
                    <a:cxn ang="T135">
                      <a:pos x="T46" y="T47"/>
                    </a:cxn>
                    <a:cxn ang="T136">
                      <a:pos x="T48" y="T49"/>
                    </a:cxn>
                    <a:cxn ang="T137">
                      <a:pos x="T50" y="T51"/>
                    </a:cxn>
                    <a:cxn ang="T138">
                      <a:pos x="T52" y="T53"/>
                    </a:cxn>
                    <a:cxn ang="T139">
                      <a:pos x="T54" y="T55"/>
                    </a:cxn>
                    <a:cxn ang="T140">
                      <a:pos x="T56" y="T57"/>
                    </a:cxn>
                    <a:cxn ang="T141">
                      <a:pos x="T58" y="T59"/>
                    </a:cxn>
                    <a:cxn ang="T142">
                      <a:pos x="T60" y="T61"/>
                    </a:cxn>
                    <a:cxn ang="T143">
                      <a:pos x="T62" y="T63"/>
                    </a:cxn>
                    <a:cxn ang="T144">
                      <a:pos x="T64" y="T65"/>
                    </a:cxn>
                    <a:cxn ang="T145">
                      <a:pos x="T66" y="T67"/>
                    </a:cxn>
                    <a:cxn ang="T146">
                      <a:pos x="T68" y="T69"/>
                    </a:cxn>
                    <a:cxn ang="T147">
                      <a:pos x="T70" y="T71"/>
                    </a:cxn>
                    <a:cxn ang="T148">
                      <a:pos x="T72" y="T73"/>
                    </a:cxn>
                    <a:cxn ang="T149">
                      <a:pos x="T74" y="T75"/>
                    </a:cxn>
                    <a:cxn ang="T150">
                      <a:pos x="T76" y="T77"/>
                    </a:cxn>
                    <a:cxn ang="T151">
                      <a:pos x="T78" y="T79"/>
                    </a:cxn>
                    <a:cxn ang="T152">
                      <a:pos x="T80" y="T81"/>
                    </a:cxn>
                    <a:cxn ang="T153">
                      <a:pos x="T82" y="T83"/>
                    </a:cxn>
                    <a:cxn ang="T154">
                      <a:pos x="T84" y="T85"/>
                    </a:cxn>
                    <a:cxn ang="T155">
                      <a:pos x="T86" y="T87"/>
                    </a:cxn>
                    <a:cxn ang="T156">
                      <a:pos x="T88" y="T89"/>
                    </a:cxn>
                    <a:cxn ang="T157">
                      <a:pos x="T90" y="T91"/>
                    </a:cxn>
                    <a:cxn ang="T158">
                      <a:pos x="T92" y="T93"/>
                    </a:cxn>
                    <a:cxn ang="T159">
                      <a:pos x="T94" y="T95"/>
                    </a:cxn>
                    <a:cxn ang="T160">
                      <a:pos x="T96" y="T97"/>
                    </a:cxn>
                    <a:cxn ang="T161">
                      <a:pos x="T98" y="T99"/>
                    </a:cxn>
                    <a:cxn ang="T162">
                      <a:pos x="T100" y="T101"/>
                    </a:cxn>
                    <a:cxn ang="T163">
                      <a:pos x="T102" y="T103"/>
                    </a:cxn>
                    <a:cxn ang="T164">
                      <a:pos x="T104" y="T105"/>
                    </a:cxn>
                    <a:cxn ang="T165">
                      <a:pos x="T106" y="T107"/>
                    </a:cxn>
                    <a:cxn ang="T166">
                      <a:pos x="T108" y="T109"/>
                    </a:cxn>
                    <a:cxn ang="T167">
                      <a:pos x="T110" y="T111"/>
                    </a:cxn>
                  </a:cxnLst>
                  <a:rect l="T168" t="T169" r="T170" b="T171"/>
                  <a:pathLst>
                    <a:path w="16384" h="16384">
                      <a:moveTo>
                        <a:pt x="14756" y="3702"/>
                      </a:moveTo>
                      <a:lnTo>
                        <a:pt x="14756" y="3565"/>
                      </a:lnTo>
                      <a:lnTo>
                        <a:pt x="14721" y="3428"/>
                      </a:lnTo>
                      <a:lnTo>
                        <a:pt x="14721" y="3222"/>
                      </a:lnTo>
                      <a:lnTo>
                        <a:pt x="14685" y="3085"/>
                      </a:lnTo>
                      <a:lnTo>
                        <a:pt x="14650" y="2742"/>
                      </a:lnTo>
                      <a:lnTo>
                        <a:pt x="14685" y="2674"/>
                      </a:lnTo>
                      <a:lnTo>
                        <a:pt x="14685" y="2742"/>
                      </a:lnTo>
                      <a:lnTo>
                        <a:pt x="14685" y="2674"/>
                      </a:lnTo>
                      <a:lnTo>
                        <a:pt x="14650" y="2605"/>
                      </a:lnTo>
                      <a:lnTo>
                        <a:pt x="14579" y="2399"/>
                      </a:lnTo>
                      <a:lnTo>
                        <a:pt x="14473" y="2262"/>
                      </a:lnTo>
                      <a:lnTo>
                        <a:pt x="14332" y="2057"/>
                      </a:lnTo>
                      <a:lnTo>
                        <a:pt x="14119" y="1988"/>
                      </a:lnTo>
                      <a:lnTo>
                        <a:pt x="14013" y="1851"/>
                      </a:lnTo>
                      <a:lnTo>
                        <a:pt x="13978" y="1577"/>
                      </a:lnTo>
                      <a:lnTo>
                        <a:pt x="13942" y="1440"/>
                      </a:lnTo>
                      <a:lnTo>
                        <a:pt x="13872" y="1165"/>
                      </a:lnTo>
                      <a:lnTo>
                        <a:pt x="13801" y="1165"/>
                      </a:lnTo>
                      <a:lnTo>
                        <a:pt x="13588" y="1371"/>
                      </a:lnTo>
                      <a:lnTo>
                        <a:pt x="13412" y="1645"/>
                      </a:lnTo>
                      <a:lnTo>
                        <a:pt x="13376" y="1919"/>
                      </a:lnTo>
                      <a:lnTo>
                        <a:pt x="13235" y="1919"/>
                      </a:lnTo>
                      <a:lnTo>
                        <a:pt x="13128" y="1988"/>
                      </a:lnTo>
                      <a:lnTo>
                        <a:pt x="13022" y="2125"/>
                      </a:lnTo>
                      <a:lnTo>
                        <a:pt x="12951" y="1988"/>
                      </a:lnTo>
                      <a:lnTo>
                        <a:pt x="12845" y="1851"/>
                      </a:lnTo>
                      <a:lnTo>
                        <a:pt x="12668" y="1782"/>
                      </a:lnTo>
                      <a:lnTo>
                        <a:pt x="12491" y="1714"/>
                      </a:lnTo>
                      <a:lnTo>
                        <a:pt x="12279" y="1851"/>
                      </a:lnTo>
                      <a:lnTo>
                        <a:pt x="12244" y="2057"/>
                      </a:lnTo>
                      <a:lnTo>
                        <a:pt x="12208" y="2125"/>
                      </a:lnTo>
                      <a:lnTo>
                        <a:pt x="12102" y="2125"/>
                      </a:lnTo>
                      <a:lnTo>
                        <a:pt x="11996" y="2057"/>
                      </a:lnTo>
                      <a:lnTo>
                        <a:pt x="11819" y="1851"/>
                      </a:lnTo>
                      <a:lnTo>
                        <a:pt x="11713" y="1645"/>
                      </a:lnTo>
                      <a:lnTo>
                        <a:pt x="11642" y="1577"/>
                      </a:lnTo>
                      <a:lnTo>
                        <a:pt x="11607" y="1577"/>
                      </a:lnTo>
                      <a:lnTo>
                        <a:pt x="11501" y="1508"/>
                      </a:lnTo>
                      <a:lnTo>
                        <a:pt x="11324" y="1577"/>
                      </a:lnTo>
                      <a:lnTo>
                        <a:pt x="11218" y="1577"/>
                      </a:lnTo>
                      <a:lnTo>
                        <a:pt x="11076" y="1508"/>
                      </a:lnTo>
                      <a:lnTo>
                        <a:pt x="10899" y="1440"/>
                      </a:lnTo>
                      <a:lnTo>
                        <a:pt x="10899" y="1234"/>
                      </a:lnTo>
                      <a:lnTo>
                        <a:pt x="10899" y="1097"/>
                      </a:lnTo>
                      <a:lnTo>
                        <a:pt x="10828" y="891"/>
                      </a:lnTo>
                      <a:lnTo>
                        <a:pt x="10758" y="686"/>
                      </a:lnTo>
                      <a:lnTo>
                        <a:pt x="10687" y="548"/>
                      </a:lnTo>
                      <a:lnTo>
                        <a:pt x="10651" y="480"/>
                      </a:lnTo>
                      <a:lnTo>
                        <a:pt x="10581" y="343"/>
                      </a:lnTo>
                      <a:lnTo>
                        <a:pt x="10474" y="274"/>
                      </a:lnTo>
                      <a:lnTo>
                        <a:pt x="10404" y="206"/>
                      </a:lnTo>
                      <a:lnTo>
                        <a:pt x="10368" y="69"/>
                      </a:lnTo>
                      <a:lnTo>
                        <a:pt x="10333" y="0"/>
                      </a:lnTo>
                      <a:lnTo>
                        <a:pt x="10262" y="0"/>
                      </a:lnTo>
                      <a:lnTo>
                        <a:pt x="10191" y="137"/>
                      </a:lnTo>
                      <a:lnTo>
                        <a:pt x="10085" y="206"/>
                      </a:lnTo>
                      <a:lnTo>
                        <a:pt x="9944" y="274"/>
                      </a:lnTo>
                      <a:lnTo>
                        <a:pt x="9873" y="274"/>
                      </a:lnTo>
                      <a:lnTo>
                        <a:pt x="9767" y="206"/>
                      </a:lnTo>
                      <a:lnTo>
                        <a:pt x="9696" y="69"/>
                      </a:lnTo>
                      <a:lnTo>
                        <a:pt x="9625" y="69"/>
                      </a:lnTo>
                      <a:lnTo>
                        <a:pt x="9519" y="206"/>
                      </a:lnTo>
                      <a:lnTo>
                        <a:pt x="9413" y="411"/>
                      </a:lnTo>
                      <a:lnTo>
                        <a:pt x="9377" y="617"/>
                      </a:lnTo>
                      <a:lnTo>
                        <a:pt x="9413" y="686"/>
                      </a:lnTo>
                      <a:lnTo>
                        <a:pt x="9484" y="823"/>
                      </a:lnTo>
                      <a:lnTo>
                        <a:pt x="9484" y="891"/>
                      </a:lnTo>
                      <a:lnTo>
                        <a:pt x="9484" y="1097"/>
                      </a:lnTo>
                      <a:lnTo>
                        <a:pt x="9448" y="1234"/>
                      </a:lnTo>
                      <a:lnTo>
                        <a:pt x="9484" y="1371"/>
                      </a:lnTo>
                      <a:lnTo>
                        <a:pt x="9590" y="1371"/>
                      </a:lnTo>
                      <a:lnTo>
                        <a:pt x="9661" y="1508"/>
                      </a:lnTo>
                      <a:lnTo>
                        <a:pt x="9625" y="1577"/>
                      </a:lnTo>
                      <a:lnTo>
                        <a:pt x="9590" y="1645"/>
                      </a:lnTo>
                      <a:lnTo>
                        <a:pt x="9590" y="1714"/>
                      </a:lnTo>
                      <a:lnTo>
                        <a:pt x="9661" y="1919"/>
                      </a:lnTo>
                      <a:lnTo>
                        <a:pt x="9661" y="1988"/>
                      </a:lnTo>
                      <a:lnTo>
                        <a:pt x="9625" y="2057"/>
                      </a:lnTo>
                      <a:lnTo>
                        <a:pt x="9448" y="2057"/>
                      </a:lnTo>
                      <a:lnTo>
                        <a:pt x="9236" y="2125"/>
                      </a:lnTo>
                      <a:lnTo>
                        <a:pt x="9165" y="2262"/>
                      </a:lnTo>
                      <a:lnTo>
                        <a:pt x="9094" y="2331"/>
                      </a:lnTo>
                      <a:lnTo>
                        <a:pt x="8953" y="2674"/>
                      </a:lnTo>
                      <a:lnTo>
                        <a:pt x="8882" y="2742"/>
                      </a:lnTo>
                      <a:lnTo>
                        <a:pt x="8811" y="2674"/>
                      </a:lnTo>
                      <a:lnTo>
                        <a:pt x="8740" y="2674"/>
                      </a:lnTo>
                      <a:lnTo>
                        <a:pt x="8670" y="2468"/>
                      </a:lnTo>
                      <a:lnTo>
                        <a:pt x="8599" y="2468"/>
                      </a:lnTo>
                      <a:lnTo>
                        <a:pt x="8528" y="2468"/>
                      </a:lnTo>
                      <a:lnTo>
                        <a:pt x="8493" y="2536"/>
                      </a:lnTo>
                      <a:lnTo>
                        <a:pt x="8387" y="2536"/>
                      </a:lnTo>
                      <a:lnTo>
                        <a:pt x="8316" y="2674"/>
                      </a:lnTo>
                      <a:lnTo>
                        <a:pt x="8280" y="2879"/>
                      </a:lnTo>
                      <a:lnTo>
                        <a:pt x="8280" y="3085"/>
                      </a:lnTo>
                      <a:lnTo>
                        <a:pt x="8351" y="3428"/>
                      </a:lnTo>
                      <a:lnTo>
                        <a:pt x="8387" y="3565"/>
                      </a:lnTo>
                      <a:lnTo>
                        <a:pt x="8351" y="3702"/>
                      </a:lnTo>
                      <a:lnTo>
                        <a:pt x="8280" y="3839"/>
                      </a:lnTo>
                      <a:lnTo>
                        <a:pt x="8210" y="4113"/>
                      </a:lnTo>
                      <a:lnTo>
                        <a:pt x="8033" y="4182"/>
                      </a:lnTo>
                      <a:lnTo>
                        <a:pt x="7997" y="4319"/>
                      </a:lnTo>
                      <a:lnTo>
                        <a:pt x="7962" y="4524"/>
                      </a:lnTo>
                      <a:lnTo>
                        <a:pt x="7962" y="4662"/>
                      </a:lnTo>
                      <a:lnTo>
                        <a:pt x="7927" y="4936"/>
                      </a:lnTo>
                      <a:lnTo>
                        <a:pt x="7785" y="5210"/>
                      </a:lnTo>
                      <a:lnTo>
                        <a:pt x="7679" y="5141"/>
                      </a:lnTo>
                      <a:lnTo>
                        <a:pt x="7608" y="5210"/>
                      </a:lnTo>
                      <a:lnTo>
                        <a:pt x="7573" y="5416"/>
                      </a:lnTo>
                      <a:lnTo>
                        <a:pt x="7537" y="5621"/>
                      </a:lnTo>
                      <a:lnTo>
                        <a:pt x="7467" y="5827"/>
                      </a:lnTo>
                      <a:lnTo>
                        <a:pt x="7431" y="6033"/>
                      </a:lnTo>
                      <a:lnTo>
                        <a:pt x="7431" y="6307"/>
                      </a:lnTo>
                      <a:lnTo>
                        <a:pt x="7431" y="6375"/>
                      </a:lnTo>
                      <a:lnTo>
                        <a:pt x="7431" y="6650"/>
                      </a:lnTo>
                      <a:lnTo>
                        <a:pt x="7360" y="6787"/>
                      </a:lnTo>
                      <a:lnTo>
                        <a:pt x="7290" y="6787"/>
                      </a:lnTo>
                      <a:lnTo>
                        <a:pt x="7219" y="6787"/>
                      </a:lnTo>
                      <a:lnTo>
                        <a:pt x="7183" y="6924"/>
                      </a:lnTo>
                      <a:lnTo>
                        <a:pt x="7148" y="6992"/>
                      </a:lnTo>
                      <a:lnTo>
                        <a:pt x="7042" y="6855"/>
                      </a:lnTo>
                      <a:lnTo>
                        <a:pt x="6971" y="6855"/>
                      </a:lnTo>
                      <a:lnTo>
                        <a:pt x="6830" y="6787"/>
                      </a:lnTo>
                      <a:lnTo>
                        <a:pt x="6723" y="6718"/>
                      </a:lnTo>
                      <a:lnTo>
                        <a:pt x="6688" y="6650"/>
                      </a:lnTo>
                      <a:lnTo>
                        <a:pt x="6653" y="6444"/>
                      </a:lnTo>
                      <a:lnTo>
                        <a:pt x="6617" y="6170"/>
                      </a:lnTo>
                      <a:lnTo>
                        <a:pt x="6582" y="6033"/>
                      </a:lnTo>
                      <a:lnTo>
                        <a:pt x="6582" y="5895"/>
                      </a:lnTo>
                      <a:lnTo>
                        <a:pt x="6511" y="5895"/>
                      </a:lnTo>
                      <a:lnTo>
                        <a:pt x="6476" y="5895"/>
                      </a:lnTo>
                      <a:lnTo>
                        <a:pt x="6405" y="5964"/>
                      </a:lnTo>
                      <a:lnTo>
                        <a:pt x="6370" y="6101"/>
                      </a:lnTo>
                      <a:lnTo>
                        <a:pt x="6405" y="6170"/>
                      </a:lnTo>
                      <a:lnTo>
                        <a:pt x="6511" y="6238"/>
                      </a:lnTo>
                      <a:lnTo>
                        <a:pt x="6405" y="6375"/>
                      </a:lnTo>
                      <a:lnTo>
                        <a:pt x="6228" y="6307"/>
                      </a:lnTo>
                      <a:lnTo>
                        <a:pt x="6193" y="6375"/>
                      </a:lnTo>
                      <a:lnTo>
                        <a:pt x="6193" y="6444"/>
                      </a:lnTo>
                      <a:lnTo>
                        <a:pt x="6263" y="6650"/>
                      </a:lnTo>
                      <a:lnTo>
                        <a:pt x="6228" y="6787"/>
                      </a:lnTo>
                      <a:lnTo>
                        <a:pt x="6193" y="6787"/>
                      </a:lnTo>
                      <a:lnTo>
                        <a:pt x="6122" y="6855"/>
                      </a:lnTo>
                      <a:lnTo>
                        <a:pt x="6086" y="7061"/>
                      </a:lnTo>
                      <a:lnTo>
                        <a:pt x="6157" y="7335"/>
                      </a:lnTo>
                      <a:lnTo>
                        <a:pt x="6122" y="7472"/>
                      </a:lnTo>
                      <a:lnTo>
                        <a:pt x="5980" y="7472"/>
                      </a:lnTo>
                      <a:lnTo>
                        <a:pt x="5980" y="7815"/>
                      </a:lnTo>
                      <a:lnTo>
                        <a:pt x="5910" y="7952"/>
                      </a:lnTo>
                      <a:lnTo>
                        <a:pt x="5874" y="7884"/>
                      </a:lnTo>
                      <a:lnTo>
                        <a:pt x="5874" y="7746"/>
                      </a:lnTo>
                      <a:lnTo>
                        <a:pt x="5839" y="7609"/>
                      </a:lnTo>
                      <a:lnTo>
                        <a:pt x="5803" y="7609"/>
                      </a:lnTo>
                      <a:lnTo>
                        <a:pt x="5733" y="7678"/>
                      </a:lnTo>
                      <a:lnTo>
                        <a:pt x="5662" y="7678"/>
                      </a:lnTo>
                      <a:lnTo>
                        <a:pt x="5520" y="7267"/>
                      </a:lnTo>
                      <a:lnTo>
                        <a:pt x="5485" y="7198"/>
                      </a:lnTo>
                      <a:lnTo>
                        <a:pt x="5414" y="7267"/>
                      </a:lnTo>
                      <a:lnTo>
                        <a:pt x="5308" y="7472"/>
                      </a:lnTo>
                      <a:lnTo>
                        <a:pt x="5237" y="7541"/>
                      </a:lnTo>
                      <a:lnTo>
                        <a:pt x="5131" y="7609"/>
                      </a:lnTo>
                      <a:lnTo>
                        <a:pt x="5060" y="7746"/>
                      </a:lnTo>
                      <a:lnTo>
                        <a:pt x="5025" y="7815"/>
                      </a:lnTo>
                      <a:lnTo>
                        <a:pt x="4990" y="8158"/>
                      </a:lnTo>
                      <a:lnTo>
                        <a:pt x="4919" y="8432"/>
                      </a:lnTo>
                      <a:lnTo>
                        <a:pt x="4883" y="8432"/>
                      </a:lnTo>
                      <a:lnTo>
                        <a:pt x="4848" y="8432"/>
                      </a:lnTo>
                      <a:lnTo>
                        <a:pt x="4777" y="8295"/>
                      </a:lnTo>
                      <a:lnTo>
                        <a:pt x="4742" y="8226"/>
                      </a:lnTo>
                      <a:lnTo>
                        <a:pt x="4600" y="8158"/>
                      </a:lnTo>
                      <a:lnTo>
                        <a:pt x="4423" y="7952"/>
                      </a:lnTo>
                      <a:lnTo>
                        <a:pt x="4388" y="7884"/>
                      </a:lnTo>
                      <a:lnTo>
                        <a:pt x="4317" y="7884"/>
                      </a:lnTo>
                      <a:lnTo>
                        <a:pt x="4211" y="7815"/>
                      </a:lnTo>
                      <a:lnTo>
                        <a:pt x="4105" y="7815"/>
                      </a:lnTo>
                      <a:lnTo>
                        <a:pt x="4069" y="7746"/>
                      </a:lnTo>
                      <a:lnTo>
                        <a:pt x="4034" y="7815"/>
                      </a:lnTo>
                      <a:lnTo>
                        <a:pt x="3963" y="7884"/>
                      </a:lnTo>
                      <a:lnTo>
                        <a:pt x="3893" y="7884"/>
                      </a:lnTo>
                      <a:lnTo>
                        <a:pt x="3857" y="7884"/>
                      </a:lnTo>
                      <a:lnTo>
                        <a:pt x="3786" y="7678"/>
                      </a:lnTo>
                      <a:lnTo>
                        <a:pt x="3751" y="7678"/>
                      </a:lnTo>
                      <a:lnTo>
                        <a:pt x="3716" y="7884"/>
                      </a:lnTo>
                      <a:lnTo>
                        <a:pt x="3751" y="8021"/>
                      </a:lnTo>
                      <a:lnTo>
                        <a:pt x="3751" y="8158"/>
                      </a:lnTo>
                      <a:lnTo>
                        <a:pt x="3751" y="8363"/>
                      </a:lnTo>
                      <a:lnTo>
                        <a:pt x="3680" y="8432"/>
                      </a:lnTo>
                      <a:lnTo>
                        <a:pt x="3645" y="8500"/>
                      </a:lnTo>
                      <a:lnTo>
                        <a:pt x="3574" y="8432"/>
                      </a:lnTo>
                      <a:lnTo>
                        <a:pt x="3574" y="8158"/>
                      </a:lnTo>
                      <a:lnTo>
                        <a:pt x="3539" y="8089"/>
                      </a:lnTo>
                      <a:lnTo>
                        <a:pt x="3468" y="8089"/>
                      </a:lnTo>
                      <a:lnTo>
                        <a:pt x="3326" y="8158"/>
                      </a:lnTo>
                      <a:lnTo>
                        <a:pt x="3291" y="8226"/>
                      </a:lnTo>
                      <a:lnTo>
                        <a:pt x="3220" y="8158"/>
                      </a:lnTo>
                      <a:lnTo>
                        <a:pt x="3149" y="8021"/>
                      </a:lnTo>
                      <a:lnTo>
                        <a:pt x="3079" y="8021"/>
                      </a:lnTo>
                      <a:lnTo>
                        <a:pt x="3079" y="8158"/>
                      </a:lnTo>
                      <a:lnTo>
                        <a:pt x="3043" y="8226"/>
                      </a:lnTo>
                      <a:lnTo>
                        <a:pt x="3043" y="8363"/>
                      </a:lnTo>
                      <a:lnTo>
                        <a:pt x="3079" y="8432"/>
                      </a:lnTo>
                      <a:lnTo>
                        <a:pt x="3114" y="8569"/>
                      </a:lnTo>
                      <a:lnTo>
                        <a:pt x="3079" y="8706"/>
                      </a:lnTo>
                      <a:lnTo>
                        <a:pt x="3114" y="8706"/>
                      </a:lnTo>
                      <a:lnTo>
                        <a:pt x="3079" y="8775"/>
                      </a:lnTo>
                      <a:lnTo>
                        <a:pt x="3008" y="8775"/>
                      </a:lnTo>
                      <a:lnTo>
                        <a:pt x="2972" y="8775"/>
                      </a:lnTo>
                      <a:lnTo>
                        <a:pt x="2902" y="8775"/>
                      </a:lnTo>
                      <a:lnTo>
                        <a:pt x="2831" y="8775"/>
                      </a:lnTo>
                      <a:lnTo>
                        <a:pt x="2796" y="8980"/>
                      </a:lnTo>
                      <a:lnTo>
                        <a:pt x="2689" y="9186"/>
                      </a:lnTo>
                      <a:lnTo>
                        <a:pt x="2583" y="9323"/>
                      </a:lnTo>
                      <a:lnTo>
                        <a:pt x="2548" y="9529"/>
                      </a:lnTo>
                      <a:lnTo>
                        <a:pt x="2583" y="9734"/>
                      </a:lnTo>
                      <a:lnTo>
                        <a:pt x="2654" y="10009"/>
                      </a:lnTo>
                      <a:lnTo>
                        <a:pt x="2725" y="10146"/>
                      </a:lnTo>
                      <a:lnTo>
                        <a:pt x="2796" y="10351"/>
                      </a:lnTo>
                      <a:lnTo>
                        <a:pt x="2760" y="10489"/>
                      </a:lnTo>
                      <a:lnTo>
                        <a:pt x="2725" y="10557"/>
                      </a:lnTo>
                      <a:lnTo>
                        <a:pt x="2548" y="10557"/>
                      </a:lnTo>
                      <a:lnTo>
                        <a:pt x="2371" y="10694"/>
                      </a:lnTo>
                      <a:lnTo>
                        <a:pt x="2194" y="10900"/>
                      </a:lnTo>
                      <a:lnTo>
                        <a:pt x="2159" y="10900"/>
                      </a:lnTo>
                      <a:lnTo>
                        <a:pt x="2088" y="10900"/>
                      </a:lnTo>
                      <a:lnTo>
                        <a:pt x="1982" y="10968"/>
                      </a:lnTo>
                      <a:lnTo>
                        <a:pt x="1946" y="11037"/>
                      </a:lnTo>
                      <a:lnTo>
                        <a:pt x="1911" y="11174"/>
                      </a:lnTo>
                      <a:lnTo>
                        <a:pt x="1911" y="11448"/>
                      </a:lnTo>
                      <a:lnTo>
                        <a:pt x="1875" y="11654"/>
                      </a:lnTo>
                      <a:lnTo>
                        <a:pt x="1875" y="11791"/>
                      </a:lnTo>
                      <a:lnTo>
                        <a:pt x="1875" y="11928"/>
                      </a:lnTo>
                      <a:lnTo>
                        <a:pt x="2017" y="12202"/>
                      </a:lnTo>
                      <a:lnTo>
                        <a:pt x="2017" y="12339"/>
                      </a:lnTo>
                      <a:lnTo>
                        <a:pt x="2052" y="12545"/>
                      </a:lnTo>
                      <a:lnTo>
                        <a:pt x="1982" y="12819"/>
                      </a:lnTo>
                      <a:lnTo>
                        <a:pt x="1946" y="12888"/>
                      </a:lnTo>
                      <a:lnTo>
                        <a:pt x="1840" y="12888"/>
                      </a:lnTo>
                      <a:lnTo>
                        <a:pt x="1734" y="12819"/>
                      </a:lnTo>
                      <a:lnTo>
                        <a:pt x="1592" y="12614"/>
                      </a:lnTo>
                      <a:lnTo>
                        <a:pt x="1415" y="12545"/>
                      </a:lnTo>
                      <a:lnTo>
                        <a:pt x="1345" y="12477"/>
                      </a:lnTo>
                      <a:lnTo>
                        <a:pt x="1203" y="12339"/>
                      </a:lnTo>
                      <a:lnTo>
                        <a:pt x="1132" y="12202"/>
                      </a:lnTo>
                      <a:lnTo>
                        <a:pt x="920" y="12134"/>
                      </a:lnTo>
                      <a:lnTo>
                        <a:pt x="849" y="12134"/>
                      </a:lnTo>
                      <a:lnTo>
                        <a:pt x="743" y="12202"/>
                      </a:lnTo>
                      <a:lnTo>
                        <a:pt x="672" y="12271"/>
                      </a:lnTo>
                      <a:lnTo>
                        <a:pt x="566" y="12477"/>
                      </a:lnTo>
                      <a:lnTo>
                        <a:pt x="531" y="12682"/>
                      </a:lnTo>
                      <a:lnTo>
                        <a:pt x="495" y="12819"/>
                      </a:lnTo>
                      <a:lnTo>
                        <a:pt x="425" y="13162"/>
                      </a:lnTo>
                      <a:lnTo>
                        <a:pt x="389" y="13299"/>
                      </a:lnTo>
                      <a:lnTo>
                        <a:pt x="425" y="13505"/>
                      </a:lnTo>
                      <a:lnTo>
                        <a:pt x="531" y="13573"/>
                      </a:lnTo>
                      <a:lnTo>
                        <a:pt x="602" y="13573"/>
                      </a:lnTo>
                      <a:lnTo>
                        <a:pt x="637" y="13710"/>
                      </a:lnTo>
                      <a:lnTo>
                        <a:pt x="637" y="13848"/>
                      </a:lnTo>
                      <a:lnTo>
                        <a:pt x="637" y="14122"/>
                      </a:lnTo>
                      <a:lnTo>
                        <a:pt x="566" y="14396"/>
                      </a:lnTo>
                      <a:lnTo>
                        <a:pt x="531" y="14533"/>
                      </a:lnTo>
                      <a:lnTo>
                        <a:pt x="566" y="14602"/>
                      </a:lnTo>
                      <a:lnTo>
                        <a:pt x="602" y="14670"/>
                      </a:lnTo>
                      <a:lnTo>
                        <a:pt x="602" y="14739"/>
                      </a:lnTo>
                      <a:lnTo>
                        <a:pt x="637" y="14876"/>
                      </a:lnTo>
                      <a:lnTo>
                        <a:pt x="602" y="14944"/>
                      </a:lnTo>
                      <a:lnTo>
                        <a:pt x="602" y="15082"/>
                      </a:lnTo>
                      <a:lnTo>
                        <a:pt x="566" y="15287"/>
                      </a:lnTo>
                      <a:lnTo>
                        <a:pt x="531" y="15424"/>
                      </a:lnTo>
                      <a:lnTo>
                        <a:pt x="531" y="15561"/>
                      </a:lnTo>
                      <a:lnTo>
                        <a:pt x="531" y="15767"/>
                      </a:lnTo>
                      <a:lnTo>
                        <a:pt x="495" y="15904"/>
                      </a:lnTo>
                      <a:lnTo>
                        <a:pt x="425" y="15973"/>
                      </a:lnTo>
                      <a:lnTo>
                        <a:pt x="354" y="15904"/>
                      </a:lnTo>
                      <a:lnTo>
                        <a:pt x="248" y="15698"/>
                      </a:lnTo>
                      <a:lnTo>
                        <a:pt x="142" y="15561"/>
                      </a:lnTo>
                      <a:lnTo>
                        <a:pt x="0" y="16315"/>
                      </a:lnTo>
                      <a:lnTo>
                        <a:pt x="35" y="16384"/>
                      </a:lnTo>
                      <a:lnTo>
                        <a:pt x="35" y="16315"/>
                      </a:lnTo>
                      <a:lnTo>
                        <a:pt x="177" y="16315"/>
                      </a:lnTo>
                      <a:lnTo>
                        <a:pt x="1274" y="16110"/>
                      </a:lnTo>
                      <a:lnTo>
                        <a:pt x="1345" y="16110"/>
                      </a:lnTo>
                      <a:lnTo>
                        <a:pt x="2017" y="16041"/>
                      </a:lnTo>
                      <a:lnTo>
                        <a:pt x="2088" y="15973"/>
                      </a:lnTo>
                      <a:lnTo>
                        <a:pt x="3043" y="15904"/>
                      </a:lnTo>
                      <a:lnTo>
                        <a:pt x="3079" y="15836"/>
                      </a:lnTo>
                      <a:lnTo>
                        <a:pt x="3079" y="15561"/>
                      </a:lnTo>
                      <a:lnTo>
                        <a:pt x="3079" y="15356"/>
                      </a:lnTo>
                      <a:lnTo>
                        <a:pt x="3043" y="15150"/>
                      </a:lnTo>
                      <a:lnTo>
                        <a:pt x="3008" y="14944"/>
                      </a:lnTo>
                      <a:lnTo>
                        <a:pt x="3291" y="14944"/>
                      </a:lnTo>
                      <a:lnTo>
                        <a:pt x="3503" y="14944"/>
                      </a:lnTo>
                      <a:lnTo>
                        <a:pt x="3539" y="14944"/>
                      </a:lnTo>
                      <a:lnTo>
                        <a:pt x="3539" y="15082"/>
                      </a:lnTo>
                      <a:lnTo>
                        <a:pt x="3893" y="15013"/>
                      </a:lnTo>
                      <a:lnTo>
                        <a:pt x="3963" y="15013"/>
                      </a:lnTo>
                      <a:lnTo>
                        <a:pt x="4671" y="14876"/>
                      </a:lnTo>
                      <a:lnTo>
                        <a:pt x="5166" y="14739"/>
                      </a:lnTo>
                      <a:lnTo>
                        <a:pt x="5273" y="14739"/>
                      </a:lnTo>
                      <a:lnTo>
                        <a:pt x="5945" y="14602"/>
                      </a:lnTo>
                      <a:lnTo>
                        <a:pt x="6157" y="14533"/>
                      </a:lnTo>
                      <a:lnTo>
                        <a:pt x="6334" y="14533"/>
                      </a:lnTo>
                      <a:lnTo>
                        <a:pt x="6405" y="14602"/>
                      </a:lnTo>
                      <a:lnTo>
                        <a:pt x="6476" y="14533"/>
                      </a:lnTo>
                      <a:lnTo>
                        <a:pt x="6547" y="14465"/>
                      </a:lnTo>
                      <a:lnTo>
                        <a:pt x="6653" y="14396"/>
                      </a:lnTo>
                      <a:lnTo>
                        <a:pt x="6794" y="14396"/>
                      </a:lnTo>
                      <a:lnTo>
                        <a:pt x="7254" y="14396"/>
                      </a:lnTo>
                      <a:lnTo>
                        <a:pt x="7750" y="14327"/>
                      </a:lnTo>
                      <a:lnTo>
                        <a:pt x="8245" y="14327"/>
                      </a:lnTo>
                      <a:lnTo>
                        <a:pt x="8917" y="14122"/>
                      </a:lnTo>
                      <a:lnTo>
                        <a:pt x="9271" y="14053"/>
                      </a:lnTo>
                      <a:lnTo>
                        <a:pt x="9307" y="14053"/>
                      </a:lnTo>
                      <a:lnTo>
                        <a:pt x="10014" y="13916"/>
                      </a:lnTo>
                      <a:lnTo>
                        <a:pt x="10439" y="13848"/>
                      </a:lnTo>
                      <a:lnTo>
                        <a:pt x="10545" y="13848"/>
                      </a:lnTo>
                      <a:lnTo>
                        <a:pt x="11713" y="13710"/>
                      </a:lnTo>
                      <a:lnTo>
                        <a:pt x="12138" y="13573"/>
                      </a:lnTo>
                      <a:lnTo>
                        <a:pt x="12739" y="13505"/>
                      </a:lnTo>
                      <a:lnTo>
                        <a:pt x="12916" y="13436"/>
                      </a:lnTo>
                      <a:lnTo>
                        <a:pt x="12951" y="13368"/>
                      </a:lnTo>
                      <a:lnTo>
                        <a:pt x="12987" y="13299"/>
                      </a:lnTo>
                      <a:lnTo>
                        <a:pt x="13058" y="13231"/>
                      </a:lnTo>
                      <a:lnTo>
                        <a:pt x="13164" y="13093"/>
                      </a:lnTo>
                      <a:lnTo>
                        <a:pt x="13305" y="12956"/>
                      </a:lnTo>
                      <a:lnTo>
                        <a:pt x="13412" y="12888"/>
                      </a:lnTo>
                      <a:lnTo>
                        <a:pt x="13553" y="12751"/>
                      </a:lnTo>
                      <a:lnTo>
                        <a:pt x="13942" y="12339"/>
                      </a:lnTo>
                      <a:lnTo>
                        <a:pt x="14084" y="12271"/>
                      </a:lnTo>
                      <a:lnTo>
                        <a:pt x="14119" y="12202"/>
                      </a:lnTo>
                      <a:lnTo>
                        <a:pt x="14119" y="12134"/>
                      </a:lnTo>
                      <a:lnTo>
                        <a:pt x="14155" y="11722"/>
                      </a:lnTo>
                      <a:lnTo>
                        <a:pt x="14261" y="11585"/>
                      </a:lnTo>
                      <a:lnTo>
                        <a:pt x="14332" y="11585"/>
                      </a:lnTo>
                      <a:lnTo>
                        <a:pt x="14438" y="11517"/>
                      </a:lnTo>
                      <a:lnTo>
                        <a:pt x="14579" y="11311"/>
                      </a:lnTo>
                      <a:lnTo>
                        <a:pt x="14615" y="11243"/>
                      </a:lnTo>
                      <a:lnTo>
                        <a:pt x="14650" y="11174"/>
                      </a:lnTo>
                      <a:lnTo>
                        <a:pt x="14650" y="11037"/>
                      </a:lnTo>
                      <a:lnTo>
                        <a:pt x="14650" y="10900"/>
                      </a:lnTo>
                      <a:lnTo>
                        <a:pt x="14615" y="10831"/>
                      </a:lnTo>
                      <a:lnTo>
                        <a:pt x="14650" y="10694"/>
                      </a:lnTo>
                      <a:lnTo>
                        <a:pt x="14721" y="10626"/>
                      </a:lnTo>
                      <a:lnTo>
                        <a:pt x="14827" y="10557"/>
                      </a:lnTo>
                      <a:lnTo>
                        <a:pt x="14827" y="10489"/>
                      </a:lnTo>
                      <a:lnTo>
                        <a:pt x="14862" y="10351"/>
                      </a:lnTo>
                      <a:lnTo>
                        <a:pt x="14933" y="10351"/>
                      </a:lnTo>
                      <a:lnTo>
                        <a:pt x="14898" y="10009"/>
                      </a:lnTo>
                      <a:lnTo>
                        <a:pt x="14898" y="9940"/>
                      </a:lnTo>
                      <a:lnTo>
                        <a:pt x="14933" y="9872"/>
                      </a:lnTo>
                      <a:lnTo>
                        <a:pt x="15216" y="9460"/>
                      </a:lnTo>
                      <a:lnTo>
                        <a:pt x="15252" y="9323"/>
                      </a:lnTo>
                      <a:lnTo>
                        <a:pt x="15358" y="9186"/>
                      </a:lnTo>
                      <a:lnTo>
                        <a:pt x="15499" y="9049"/>
                      </a:lnTo>
                      <a:lnTo>
                        <a:pt x="15641" y="8980"/>
                      </a:lnTo>
                      <a:lnTo>
                        <a:pt x="15712" y="8843"/>
                      </a:lnTo>
                      <a:lnTo>
                        <a:pt x="15747" y="8706"/>
                      </a:lnTo>
                      <a:lnTo>
                        <a:pt x="15853" y="8432"/>
                      </a:lnTo>
                      <a:lnTo>
                        <a:pt x="15995" y="8089"/>
                      </a:lnTo>
                      <a:lnTo>
                        <a:pt x="16384" y="7198"/>
                      </a:lnTo>
                      <a:lnTo>
                        <a:pt x="16278" y="7198"/>
                      </a:lnTo>
                      <a:lnTo>
                        <a:pt x="16136" y="7267"/>
                      </a:lnTo>
                      <a:lnTo>
                        <a:pt x="16101" y="7267"/>
                      </a:lnTo>
                      <a:lnTo>
                        <a:pt x="16030" y="7267"/>
                      </a:lnTo>
                      <a:lnTo>
                        <a:pt x="15995" y="7198"/>
                      </a:lnTo>
                      <a:lnTo>
                        <a:pt x="15995" y="7061"/>
                      </a:lnTo>
                      <a:lnTo>
                        <a:pt x="15995" y="6992"/>
                      </a:lnTo>
                      <a:lnTo>
                        <a:pt x="15924" y="6992"/>
                      </a:lnTo>
                      <a:lnTo>
                        <a:pt x="15889" y="6924"/>
                      </a:lnTo>
                      <a:lnTo>
                        <a:pt x="15889" y="6787"/>
                      </a:lnTo>
                      <a:lnTo>
                        <a:pt x="15853" y="6787"/>
                      </a:lnTo>
                      <a:lnTo>
                        <a:pt x="15782" y="6924"/>
                      </a:lnTo>
                      <a:lnTo>
                        <a:pt x="15712" y="6787"/>
                      </a:lnTo>
                      <a:lnTo>
                        <a:pt x="15605" y="6581"/>
                      </a:lnTo>
                      <a:lnTo>
                        <a:pt x="15535" y="6444"/>
                      </a:lnTo>
                      <a:lnTo>
                        <a:pt x="15535" y="6307"/>
                      </a:lnTo>
                      <a:lnTo>
                        <a:pt x="15499" y="6170"/>
                      </a:lnTo>
                      <a:lnTo>
                        <a:pt x="15393" y="6101"/>
                      </a:lnTo>
                      <a:lnTo>
                        <a:pt x="15322" y="5964"/>
                      </a:lnTo>
                      <a:lnTo>
                        <a:pt x="15252" y="5827"/>
                      </a:lnTo>
                      <a:lnTo>
                        <a:pt x="15216" y="5553"/>
                      </a:lnTo>
                      <a:lnTo>
                        <a:pt x="15181" y="5553"/>
                      </a:lnTo>
                      <a:lnTo>
                        <a:pt x="15110" y="5553"/>
                      </a:lnTo>
                      <a:lnTo>
                        <a:pt x="15075" y="5416"/>
                      </a:lnTo>
                      <a:lnTo>
                        <a:pt x="15075" y="5347"/>
                      </a:lnTo>
                      <a:lnTo>
                        <a:pt x="15110" y="5210"/>
                      </a:lnTo>
                      <a:lnTo>
                        <a:pt x="15110" y="5141"/>
                      </a:lnTo>
                      <a:lnTo>
                        <a:pt x="15075" y="5073"/>
                      </a:lnTo>
                      <a:lnTo>
                        <a:pt x="14862" y="4662"/>
                      </a:lnTo>
                      <a:lnTo>
                        <a:pt x="14721" y="4387"/>
                      </a:lnTo>
                      <a:lnTo>
                        <a:pt x="14685" y="4250"/>
                      </a:lnTo>
                      <a:lnTo>
                        <a:pt x="14685" y="4182"/>
                      </a:lnTo>
                      <a:lnTo>
                        <a:pt x="14721" y="4113"/>
                      </a:lnTo>
                      <a:lnTo>
                        <a:pt x="14756" y="4045"/>
                      </a:lnTo>
                      <a:lnTo>
                        <a:pt x="14721" y="3907"/>
                      </a:lnTo>
                      <a:lnTo>
                        <a:pt x="14721" y="3770"/>
                      </a:lnTo>
                      <a:lnTo>
                        <a:pt x="14756" y="3702"/>
                      </a:lnTo>
                      <a:close/>
                    </a:path>
                  </a:pathLst>
                </a:custGeom>
                <a:solidFill>
                  <a:srgbClr val="0070C0"/>
                </a:solidFill>
                <a:ln w="9525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defTabSz="121917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</a:endParaRPr>
                </a:p>
              </p:txBody>
            </p:sp>
            <p:grpSp>
              <p:nvGrpSpPr>
                <p:cNvPr id="70" name="Alaska">
                  <a:extLst>
                    <a:ext uri="{FF2B5EF4-FFF2-40B4-BE49-F238E27FC236}">
                      <a16:creationId xmlns:a16="http://schemas.microsoft.com/office/drawing/2014/main" id="{B8B8A9F2-FE5D-6D8B-8879-1DE50E0FF4E1}"/>
                    </a:ext>
                  </a:extLst>
                </p:cNvPr>
                <p:cNvGrpSpPr>
                  <a:grpSpLocks/>
                </p:cNvGrpSpPr>
                <p:nvPr/>
              </p:nvGrpSpPr>
              <p:grpSpPr bwMode="auto">
                <a:xfrm>
                  <a:off x="-5111837" y="4997228"/>
                  <a:ext cx="8973534" cy="13572570"/>
                  <a:chOff x="332513" y="13981699"/>
                  <a:chExt cx="32700" cy="1513"/>
                </a:xfrm>
              </p:grpSpPr>
              <p:sp>
                <p:nvSpPr>
                  <p:cNvPr id="139" name="D108">
                    <a:extLst>
                      <a:ext uri="{FF2B5EF4-FFF2-40B4-BE49-F238E27FC236}">
                        <a16:creationId xmlns:a16="http://schemas.microsoft.com/office/drawing/2014/main" id="{69AA9AB8-A72E-FF2C-7D37-49B7F2AA8312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49573" y="13982738"/>
                    <a:ext cx="15640" cy="474"/>
                  </a:xfrm>
                  <a:custGeom>
                    <a:avLst/>
                    <a:gdLst>
                      <a:gd name="T0" fmla="*/ 89 w 16384"/>
                      <a:gd name="T1" fmla="*/ 0 h 16384"/>
                      <a:gd name="T2" fmla="*/ 67 w 16384"/>
                      <a:gd name="T3" fmla="*/ 0 h 16384"/>
                      <a:gd name="T4" fmla="*/ 25 w 16384"/>
                      <a:gd name="T5" fmla="*/ 0 h 16384"/>
                      <a:gd name="T6" fmla="*/ 11 w 16384"/>
                      <a:gd name="T7" fmla="*/ 0 h 16384"/>
                      <a:gd name="T8" fmla="*/ 48 w 16384"/>
                      <a:gd name="T9" fmla="*/ 0 h 16384"/>
                      <a:gd name="T10" fmla="*/ 74 w 16384"/>
                      <a:gd name="T11" fmla="*/ 0 h 16384"/>
                      <a:gd name="T12" fmla="*/ 83 w 16384"/>
                      <a:gd name="T13" fmla="*/ 0 h 16384"/>
                      <a:gd name="T14" fmla="*/ 90 w 16384"/>
                      <a:gd name="T15" fmla="*/ 0 h 16384"/>
                      <a:gd name="T16" fmla="*/ 66 w 16384"/>
                      <a:gd name="T17" fmla="*/ 0 h 16384"/>
                      <a:gd name="T18" fmla="*/ 16 w 16384"/>
                      <a:gd name="T19" fmla="*/ 0 h 16384"/>
                      <a:gd name="T20" fmla="*/ 59 w 16384"/>
                      <a:gd name="T21" fmla="*/ 0 h 16384"/>
                      <a:gd name="T22" fmla="*/ 72 w 16384"/>
                      <a:gd name="T23" fmla="*/ 0 h 16384"/>
                      <a:gd name="T24" fmla="*/ 98 w 16384"/>
                      <a:gd name="T25" fmla="*/ 0 h 16384"/>
                      <a:gd name="T26" fmla="*/ 115 w 16384"/>
                      <a:gd name="T27" fmla="*/ 0 h 16384"/>
                      <a:gd name="T28" fmla="*/ 151 w 16384"/>
                      <a:gd name="T29" fmla="*/ 0 h 16384"/>
                      <a:gd name="T30" fmla="*/ 163 w 16384"/>
                      <a:gd name="T31" fmla="*/ 0 h 16384"/>
                      <a:gd name="T32" fmla="*/ 200 w 16384"/>
                      <a:gd name="T33" fmla="*/ 0 h 16384"/>
                      <a:gd name="T34" fmla="*/ 253 w 16384"/>
                      <a:gd name="T35" fmla="*/ 0 h 16384"/>
                      <a:gd name="T36" fmla="*/ 310 w 16384"/>
                      <a:gd name="T37" fmla="*/ 0 h 16384"/>
                      <a:gd name="T38" fmla="*/ 335 w 16384"/>
                      <a:gd name="T39" fmla="*/ 0 h 16384"/>
                      <a:gd name="T40" fmla="*/ 353 w 16384"/>
                      <a:gd name="T41" fmla="*/ 0 h 16384"/>
                      <a:gd name="T42" fmla="*/ 369 w 16384"/>
                      <a:gd name="T43" fmla="*/ 0 h 16384"/>
                      <a:gd name="T44" fmla="*/ 391 w 16384"/>
                      <a:gd name="T45" fmla="*/ 0 h 16384"/>
                      <a:gd name="T46" fmla="*/ 405 w 16384"/>
                      <a:gd name="T47" fmla="*/ 0 h 16384"/>
                      <a:gd name="T48" fmla="*/ 425 w 16384"/>
                      <a:gd name="T49" fmla="*/ 0 h 16384"/>
                      <a:gd name="T50" fmla="*/ 444 w 16384"/>
                      <a:gd name="T51" fmla="*/ 0 h 16384"/>
                      <a:gd name="T52" fmla="*/ 453 w 16384"/>
                      <a:gd name="T53" fmla="*/ 0 h 16384"/>
                      <a:gd name="T54" fmla="*/ 445 w 16384"/>
                      <a:gd name="T55" fmla="*/ 0 h 16384"/>
                      <a:gd name="T56" fmla="*/ 431 w 16384"/>
                      <a:gd name="T57" fmla="*/ 0 h 16384"/>
                      <a:gd name="T58" fmla="*/ 424 w 16384"/>
                      <a:gd name="T59" fmla="*/ 0 h 16384"/>
                      <a:gd name="T60" fmla="*/ 412 w 16384"/>
                      <a:gd name="T61" fmla="*/ 0 h 16384"/>
                      <a:gd name="T62" fmla="*/ 412 w 16384"/>
                      <a:gd name="T63" fmla="*/ 0 h 16384"/>
                      <a:gd name="T64" fmla="*/ 394 w 16384"/>
                      <a:gd name="T65" fmla="*/ 0 h 16384"/>
                      <a:gd name="T66" fmla="*/ 387 w 16384"/>
                      <a:gd name="T67" fmla="*/ 0 h 16384"/>
                      <a:gd name="T68" fmla="*/ 383 w 16384"/>
                      <a:gd name="T69" fmla="*/ 0 h 16384"/>
                      <a:gd name="T70" fmla="*/ 357 w 16384"/>
                      <a:gd name="T71" fmla="*/ 0 h 16384"/>
                      <a:gd name="T72" fmla="*/ 341 w 16384"/>
                      <a:gd name="T73" fmla="*/ 0 h 16384"/>
                      <a:gd name="T74" fmla="*/ 341 w 16384"/>
                      <a:gd name="T75" fmla="*/ 0 h 16384"/>
                      <a:gd name="T76" fmla="*/ 286 w 16384"/>
                      <a:gd name="T77" fmla="*/ 0 h 16384"/>
                      <a:gd name="T78" fmla="*/ 265 w 16384"/>
                      <a:gd name="T79" fmla="*/ 0 h 16384"/>
                      <a:gd name="T80" fmla="*/ 244 w 16384"/>
                      <a:gd name="T81" fmla="*/ 0 h 16384"/>
                      <a:gd name="T82" fmla="*/ 233 w 16384"/>
                      <a:gd name="T83" fmla="*/ 0 h 16384"/>
                      <a:gd name="T84" fmla="*/ 221 w 16384"/>
                      <a:gd name="T85" fmla="*/ 0 h 16384"/>
                      <a:gd name="T86" fmla="*/ 195 w 16384"/>
                      <a:gd name="T87" fmla="*/ 0 h 16384"/>
                      <a:gd name="T88" fmla="*/ 201 w 16384"/>
                      <a:gd name="T89" fmla="*/ 0 h 16384"/>
                      <a:gd name="T90" fmla="*/ 211 w 16384"/>
                      <a:gd name="T91" fmla="*/ 0 h 16384"/>
                      <a:gd name="T92" fmla="*/ 187 w 16384"/>
                      <a:gd name="T93" fmla="*/ 0 h 16384"/>
                      <a:gd name="T94" fmla="*/ 167 w 16384"/>
                      <a:gd name="T95" fmla="*/ 0 h 16384"/>
                      <a:gd name="T96" fmla="*/ 156 w 16384"/>
                      <a:gd name="T97" fmla="*/ 0 h 16384"/>
                      <a:gd name="T98" fmla="*/ 130 w 16384"/>
                      <a:gd name="T99" fmla="*/ 0 h 16384"/>
                      <a:gd name="T100" fmla="*/ 109 w 16384"/>
                      <a:gd name="T101" fmla="*/ 0 h 16384"/>
                      <a:gd name="T102" fmla="*/ 82 w 16384"/>
                      <a:gd name="T103" fmla="*/ 0 h 16384"/>
                      <a:gd name="T104" fmla="*/ 62 w 16384"/>
                      <a:gd name="T105" fmla="*/ 0 h 16384"/>
                      <a:gd name="T106" fmla="*/ 79 w 16384"/>
                      <a:gd name="T107" fmla="*/ 0 h 16384"/>
                      <a:gd name="T108" fmla="*/ 103 w 16384"/>
                      <a:gd name="T109" fmla="*/ 0 h 16384"/>
                      <a:gd name="T110" fmla="*/ 130 w 16384"/>
                      <a:gd name="T111" fmla="*/ 0 h 16384"/>
                      <a:gd name="T112" fmla="*/ 112 w 16384"/>
                      <a:gd name="T113" fmla="*/ 0 h 16384"/>
                      <a:gd name="T114" fmla="*/ 86 w 16384"/>
                      <a:gd name="T115" fmla="*/ 0 h 16384"/>
                      <a:gd name="T116" fmla="*/ 72 w 16384"/>
                      <a:gd name="T117" fmla="*/ 0 h 16384"/>
                      <a:gd name="T118" fmla="*/ 61 w 16384"/>
                      <a:gd name="T119" fmla="*/ 0 h 16384"/>
                      <a:gd name="T120" fmla="*/ 50 w 16384"/>
                      <a:gd name="T121" fmla="*/ 0 h 16384"/>
                      <a:gd name="T122" fmla="*/ 29 w 16384"/>
                      <a:gd name="T123" fmla="*/ 0 h 16384"/>
                      <a:gd name="T124" fmla="*/ 29 w 16384"/>
                      <a:gd name="T125" fmla="*/ 0 h 16384"/>
                      <a:gd name="T126" fmla="*/ 0 60000 65536"/>
                      <a:gd name="T127" fmla="*/ 0 60000 65536"/>
                      <a:gd name="T128" fmla="*/ 0 60000 65536"/>
                      <a:gd name="T129" fmla="*/ 0 60000 65536"/>
                      <a:gd name="T130" fmla="*/ 0 60000 65536"/>
                      <a:gd name="T131" fmla="*/ 0 60000 65536"/>
                      <a:gd name="T132" fmla="*/ 0 60000 65536"/>
                      <a:gd name="T133" fmla="*/ 0 60000 65536"/>
                      <a:gd name="T134" fmla="*/ 0 60000 65536"/>
                      <a:gd name="T135" fmla="*/ 0 60000 65536"/>
                      <a:gd name="T136" fmla="*/ 0 60000 65536"/>
                      <a:gd name="T137" fmla="*/ 0 60000 65536"/>
                      <a:gd name="T138" fmla="*/ 0 60000 65536"/>
                      <a:gd name="T139" fmla="*/ 0 60000 65536"/>
                      <a:gd name="T140" fmla="*/ 0 60000 65536"/>
                      <a:gd name="T141" fmla="*/ 0 60000 65536"/>
                      <a:gd name="T142" fmla="*/ 0 60000 65536"/>
                      <a:gd name="T143" fmla="*/ 0 60000 65536"/>
                      <a:gd name="T144" fmla="*/ 0 60000 65536"/>
                      <a:gd name="T145" fmla="*/ 0 60000 65536"/>
                      <a:gd name="T146" fmla="*/ 0 60000 65536"/>
                      <a:gd name="T147" fmla="*/ 0 60000 65536"/>
                      <a:gd name="T148" fmla="*/ 0 60000 65536"/>
                      <a:gd name="T149" fmla="*/ 0 60000 65536"/>
                      <a:gd name="T150" fmla="*/ 0 60000 65536"/>
                      <a:gd name="T151" fmla="*/ 0 60000 65536"/>
                      <a:gd name="T152" fmla="*/ 0 60000 65536"/>
                      <a:gd name="T153" fmla="*/ 0 60000 65536"/>
                      <a:gd name="T154" fmla="*/ 0 60000 65536"/>
                      <a:gd name="T155" fmla="*/ 0 60000 65536"/>
                      <a:gd name="T156" fmla="*/ 0 60000 65536"/>
                      <a:gd name="T157" fmla="*/ 0 60000 65536"/>
                      <a:gd name="T158" fmla="*/ 0 60000 65536"/>
                      <a:gd name="T159" fmla="*/ 0 60000 65536"/>
                      <a:gd name="T160" fmla="*/ 0 60000 65536"/>
                      <a:gd name="T161" fmla="*/ 0 60000 65536"/>
                      <a:gd name="T162" fmla="*/ 0 60000 65536"/>
                      <a:gd name="T163" fmla="*/ 0 60000 65536"/>
                      <a:gd name="T164" fmla="*/ 0 60000 65536"/>
                      <a:gd name="T165" fmla="*/ 0 60000 65536"/>
                      <a:gd name="T166" fmla="*/ 0 60000 65536"/>
                      <a:gd name="T167" fmla="*/ 0 60000 65536"/>
                      <a:gd name="T168" fmla="*/ 0 60000 65536"/>
                      <a:gd name="T169" fmla="*/ 0 60000 65536"/>
                      <a:gd name="T170" fmla="*/ 0 60000 65536"/>
                      <a:gd name="T171" fmla="*/ 0 60000 65536"/>
                      <a:gd name="T172" fmla="*/ 0 60000 65536"/>
                      <a:gd name="T173" fmla="*/ 0 60000 65536"/>
                      <a:gd name="T174" fmla="*/ 0 60000 65536"/>
                      <a:gd name="T175" fmla="*/ 0 60000 65536"/>
                      <a:gd name="T176" fmla="*/ 0 60000 65536"/>
                      <a:gd name="T177" fmla="*/ 0 60000 65536"/>
                      <a:gd name="T178" fmla="*/ 0 60000 65536"/>
                      <a:gd name="T179" fmla="*/ 0 60000 65536"/>
                      <a:gd name="T180" fmla="*/ 0 60000 65536"/>
                      <a:gd name="T181" fmla="*/ 0 60000 65536"/>
                      <a:gd name="T182" fmla="*/ 0 60000 65536"/>
                      <a:gd name="T183" fmla="*/ 0 60000 65536"/>
                      <a:gd name="T184" fmla="*/ 0 60000 65536"/>
                      <a:gd name="T185" fmla="*/ 0 60000 65536"/>
                      <a:gd name="T186" fmla="*/ 0 60000 65536"/>
                      <a:gd name="T187" fmla="*/ 0 60000 65536"/>
                      <a:gd name="T188" fmla="*/ 0 60000 65536"/>
                      <a:gd name="T189" fmla="*/ 0 w 16384"/>
                      <a:gd name="T190" fmla="*/ 0 h 16384"/>
                      <a:gd name="T191" fmla="*/ 16384 w 16384"/>
                      <a:gd name="T192" fmla="*/ 16384 h 16384"/>
                    </a:gdLst>
                    <a:ahLst/>
                    <a:cxnLst>
                      <a:cxn ang="T126">
                        <a:pos x="T0" y="T1"/>
                      </a:cxn>
                      <a:cxn ang="T127">
                        <a:pos x="T2" y="T3"/>
                      </a:cxn>
                      <a:cxn ang="T128">
                        <a:pos x="T4" y="T5"/>
                      </a:cxn>
                      <a:cxn ang="T129">
                        <a:pos x="T6" y="T7"/>
                      </a:cxn>
                      <a:cxn ang="T130">
                        <a:pos x="T8" y="T9"/>
                      </a:cxn>
                      <a:cxn ang="T131">
                        <a:pos x="T10" y="T11"/>
                      </a:cxn>
                      <a:cxn ang="T132">
                        <a:pos x="T12" y="T13"/>
                      </a:cxn>
                      <a:cxn ang="T133">
                        <a:pos x="T14" y="T15"/>
                      </a:cxn>
                      <a:cxn ang="T134">
                        <a:pos x="T16" y="T17"/>
                      </a:cxn>
                      <a:cxn ang="T135">
                        <a:pos x="T18" y="T19"/>
                      </a:cxn>
                      <a:cxn ang="T136">
                        <a:pos x="T20" y="T21"/>
                      </a:cxn>
                      <a:cxn ang="T137">
                        <a:pos x="T22" y="T23"/>
                      </a:cxn>
                      <a:cxn ang="T138">
                        <a:pos x="T24" y="T25"/>
                      </a:cxn>
                      <a:cxn ang="T139">
                        <a:pos x="T26" y="T27"/>
                      </a:cxn>
                      <a:cxn ang="T140">
                        <a:pos x="T28" y="T29"/>
                      </a:cxn>
                      <a:cxn ang="T141">
                        <a:pos x="T30" y="T31"/>
                      </a:cxn>
                      <a:cxn ang="T142">
                        <a:pos x="T32" y="T33"/>
                      </a:cxn>
                      <a:cxn ang="T143">
                        <a:pos x="T34" y="T35"/>
                      </a:cxn>
                      <a:cxn ang="T144">
                        <a:pos x="T36" y="T37"/>
                      </a:cxn>
                      <a:cxn ang="T145">
                        <a:pos x="T38" y="T39"/>
                      </a:cxn>
                      <a:cxn ang="T146">
                        <a:pos x="T40" y="T41"/>
                      </a:cxn>
                      <a:cxn ang="T147">
                        <a:pos x="T42" y="T43"/>
                      </a:cxn>
                      <a:cxn ang="T148">
                        <a:pos x="T44" y="T45"/>
                      </a:cxn>
                      <a:cxn ang="T149">
                        <a:pos x="T46" y="T47"/>
                      </a:cxn>
                      <a:cxn ang="T150">
                        <a:pos x="T48" y="T49"/>
                      </a:cxn>
                      <a:cxn ang="T151">
                        <a:pos x="T50" y="T51"/>
                      </a:cxn>
                      <a:cxn ang="T152">
                        <a:pos x="T52" y="T53"/>
                      </a:cxn>
                      <a:cxn ang="T153">
                        <a:pos x="T54" y="T55"/>
                      </a:cxn>
                      <a:cxn ang="T154">
                        <a:pos x="T56" y="T57"/>
                      </a:cxn>
                      <a:cxn ang="T155">
                        <a:pos x="T58" y="T59"/>
                      </a:cxn>
                      <a:cxn ang="T156">
                        <a:pos x="T60" y="T61"/>
                      </a:cxn>
                      <a:cxn ang="T157">
                        <a:pos x="T62" y="T63"/>
                      </a:cxn>
                      <a:cxn ang="T158">
                        <a:pos x="T64" y="T65"/>
                      </a:cxn>
                      <a:cxn ang="T159">
                        <a:pos x="T66" y="T67"/>
                      </a:cxn>
                      <a:cxn ang="T160">
                        <a:pos x="T68" y="T69"/>
                      </a:cxn>
                      <a:cxn ang="T161">
                        <a:pos x="T70" y="T71"/>
                      </a:cxn>
                      <a:cxn ang="T162">
                        <a:pos x="T72" y="T73"/>
                      </a:cxn>
                      <a:cxn ang="T163">
                        <a:pos x="T74" y="T75"/>
                      </a:cxn>
                      <a:cxn ang="T164">
                        <a:pos x="T76" y="T77"/>
                      </a:cxn>
                      <a:cxn ang="T165">
                        <a:pos x="T78" y="T79"/>
                      </a:cxn>
                      <a:cxn ang="T166">
                        <a:pos x="T80" y="T81"/>
                      </a:cxn>
                      <a:cxn ang="T167">
                        <a:pos x="T82" y="T83"/>
                      </a:cxn>
                      <a:cxn ang="T168">
                        <a:pos x="T84" y="T85"/>
                      </a:cxn>
                      <a:cxn ang="T169">
                        <a:pos x="T86" y="T87"/>
                      </a:cxn>
                      <a:cxn ang="T170">
                        <a:pos x="T88" y="T89"/>
                      </a:cxn>
                      <a:cxn ang="T171">
                        <a:pos x="T90" y="T91"/>
                      </a:cxn>
                      <a:cxn ang="T172">
                        <a:pos x="T92" y="T93"/>
                      </a:cxn>
                      <a:cxn ang="T173">
                        <a:pos x="T94" y="T95"/>
                      </a:cxn>
                      <a:cxn ang="T174">
                        <a:pos x="T96" y="T97"/>
                      </a:cxn>
                      <a:cxn ang="T175">
                        <a:pos x="T98" y="T99"/>
                      </a:cxn>
                      <a:cxn ang="T176">
                        <a:pos x="T100" y="T101"/>
                      </a:cxn>
                      <a:cxn ang="T177">
                        <a:pos x="T102" y="T103"/>
                      </a:cxn>
                      <a:cxn ang="T178">
                        <a:pos x="T104" y="T105"/>
                      </a:cxn>
                      <a:cxn ang="T179">
                        <a:pos x="T106" y="T107"/>
                      </a:cxn>
                      <a:cxn ang="T180">
                        <a:pos x="T108" y="T109"/>
                      </a:cxn>
                      <a:cxn ang="T181">
                        <a:pos x="T110" y="T111"/>
                      </a:cxn>
                      <a:cxn ang="T182">
                        <a:pos x="T112" y="T113"/>
                      </a:cxn>
                      <a:cxn ang="T183">
                        <a:pos x="T114" y="T115"/>
                      </a:cxn>
                      <a:cxn ang="T184">
                        <a:pos x="T116" y="T117"/>
                      </a:cxn>
                      <a:cxn ang="T185">
                        <a:pos x="T118" y="T119"/>
                      </a:cxn>
                      <a:cxn ang="T186">
                        <a:pos x="T120" y="T121"/>
                      </a:cxn>
                      <a:cxn ang="T187">
                        <a:pos x="T122" y="T123"/>
                      </a:cxn>
                      <a:cxn ang="T188">
                        <a:pos x="T124" y="T125"/>
                      </a:cxn>
                    </a:cxnLst>
                    <a:rect l="T189" t="T190" r="T191" b="T192"/>
                    <a:pathLst>
                      <a:path w="16384" h="16384">
                        <a:moveTo>
                          <a:pt x="1886" y="8254"/>
                        </a:moveTo>
                        <a:lnTo>
                          <a:pt x="1895" y="8254"/>
                        </a:lnTo>
                        <a:lnTo>
                          <a:pt x="1970" y="8192"/>
                        </a:lnTo>
                        <a:lnTo>
                          <a:pt x="2007" y="8146"/>
                        </a:lnTo>
                        <a:lnTo>
                          <a:pt x="2044" y="8192"/>
                        </a:lnTo>
                        <a:lnTo>
                          <a:pt x="2129" y="8223"/>
                        </a:lnTo>
                        <a:lnTo>
                          <a:pt x="2194" y="8192"/>
                        </a:lnTo>
                        <a:lnTo>
                          <a:pt x="2241" y="8115"/>
                        </a:lnTo>
                        <a:lnTo>
                          <a:pt x="2306" y="8069"/>
                        </a:lnTo>
                        <a:lnTo>
                          <a:pt x="2381" y="7992"/>
                        </a:lnTo>
                        <a:lnTo>
                          <a:pt x="2446" y="7892"/>
                        </a:lnTo>
                        <a:lnTo>
                          <a:pt x="2483" y="7799"/>
                        </a:lnTo>
                        <a:lnTo>
                          <a:pt x="2521" y="7769"/>
                        </a:lnTo>
                        <a:lnTo>
                          <a:pt x="2595" y="7761"/>
                        </a:lnTo>
                        <a:lnTo>
                          <a:pt x="2605" y="7776"/>
                        </a:lnTo>
                        <a:lnTo>
                          <a:pt x="2567" y="7830"/>
                        </a:lnTo>
                        <a:lnTo>
                          <a:pt x="2530" y="7869"/>
                        </a:lnTo>
                        <a:lnTo>
                          <a:pt x="2558" y="7869"/>
                        </a:lnTo>
                        <a:lnTo>
                          <a:pt x="2633" y="7830"/>
                        </a:lnTo>
                        <a:lnTo>
                          <a:pt x="2689" y="7822"/>
                        </a:lnTo>
                        <a:lnTo>
                          <a:pt x="2763" y="7830"/>
                        </a:lnTo>
                        <a:lnTo>
                          <a:pt x="2829" y="7799"/>
                        </a:lnTo>
                        <a:lnTo>
                          <a:pt x="2913" y="7799"/>
                        </a:lnTo>
                        <a:lnTo>
                          <a:pt x="2978" y="7776"/>
                        </a:lnTo>
                        <a:lnTo>
                          <a:pt x="3043" y="7715"/>
                        </a:lnTo>
                        <a:lnTo>
                          <a:pt x="3090" y="7638"/>
                        </a:lnTo>
                        <a:lnTo>
                          <a:pt x="3137" y="7553"/>
                        </a:lnTo>
                        <a:lnTo>
                          <a:pt x="3165" y="7499"/>
                        </a:lnTo>
                        <a:lnTo>
                          <a:pt x="3165" y="7453"/>
                        </a:lnTo>
                        <a:lnTo>
                          <a:pt x="3165" y="7399"/>
                        </a:lnTo>
                        <a:lnTo>
                          <a:pt x="3165" y="7337"/>
                        </a:lnTo>
                        <a:lnTo>
                          <a:pt x="3137" y="7276"/>
                        </a:lnTo>
                        <a:lnTo>
                          <a:pt x="3090" y="7237"/>
                        </a:lnTo>
                        <a:lnTo>
                          <a:pt x="3099" y="7206"/>
                        </a:lnTo>
                        <a:lnTo>
                          <a:pt x="3118" y="7130"/>
                        </a:lnTo>
                        <a:lnTo>
                          <a:pt x="3025" y="6976"/>
                        </a:lnTo>
                        <a:lnTo>
                          <a:pt x="2987" y="6883"/>
                        </a:lnTo>
                        <a:lnTo>
                          <a:pt x="2931" y="6845"/>
                        </a:lnTo>
                        <a:lnTo>
                          <a:pt x="2875" y="6883"/>
                        </a:lnTo>
                        <a:lnTo>
                          <a:pt x="2866" y="6837"/>
                        </a:lnTo>
                        <a:lnTo>
                          <a:pt x="2866" y="6752"/>
                        </a:lnTo>
                        <a:lnTo>
                          <a:pt x="2931" y="6752"/>
                        </a:lnTo>
                        <a:lnTo>
                          <a:pt x="3006" y="6783"/>
                        </a:lnTo>
                        <a:lnTo>
                          <a:pt x="3043" y="6760"/>
                        </a:lnTo>
                        <a:lnTo>
                          <a:pt x="3099" y="6752"/>
                        </a:lnTo>
                        <a:lnTo>
                          <a:pt x="3137" y="6683"/>
                        </a:lnTo>
                        <a:lnTo>
                          <a:pt x="3174" y="6606"/>
                        </a:lnTo>
                        <a:lnTo>
                          <a:pt x="3174" y="6498"/>
                        </a:lnTo>
                        <a:lnTo>
                          <a:pt x="3137" y="6475"/>
                        </a:lnTo>
                        <a:lnTo>
                          <a:pt x="3090" y="6413"/>
                        </a:lnTo>
                        <a:lnTo>
                          <a:pt x="3053" y="6375"/>
                        </a:lnTo>
                        <a:lnTo>
                          <a:pt x="2950" y="6437"/>
                        </a:lnTo>
                        <a:lnTo>
                          <a:pt x="2903" y="6498"/>
                        </a:lnTo>
                        <a:lnTo>
                          <a:pt x="2866" y="6506"/>
                        </a:lnTo>
                        <a:lnTo>
                          <a:pt x="2819" y="6475"/>
                        </a:lnTo>
                        <a:lnTo>
                          <a:pt x="2745" y="6452"/>
                        </a:lnTo>
                        <a:lnTo>
                          <a:pt x="2754" y="6514"/>
                        </a:lnTo>
                        <a:lnTo>
                          <a:pt x="2679" y="6537"/>
                        </a:lnTo>
                        <a:lnTo>
                          <a:pt x="2595" y="6575"/>
                        </a:lnTo>
                        <a:lnTo>
                          <a:pt x="2539" y="6652"/>
                        </a:lnTo>
                        <a:lnTo>
                          <a:pt x="2446" y="6745"/>
                        </a:lnTo>
                        <a:lnTo>
                          <a:pt x="2381" y="6852"/>
                        </a:lnTo>
                        <a:lnTo>
                          <a:pt x="2334" y="6976"/>
                        </a:lnTo>
                        <a:lnTo>
                          <a:pt x="2306" y="6976"/>
                        </a:lnTo>
                        <a:lnTo>
                          <a:pt x="2278" y="6845"/>
                        </a:lnTo>
                        <a:lnTo>
                          <a:pt x="2269" y="6760"/>
                        </a:lnTo>
                        <a:lnTo>
                          <a:pt x="2203" y="6714"/>
                        </a:lnTo>
                        <a:lnTo>
                          <a:pt x="2157" y="6637"/>
                        </a:lnTo>
                        <a:lnTo>
                          <a:pt x="2044" y="6652"/>
                        </a:lnTo>
                        <a:lnTo>
                          <a:pt x="2073" y="6691"/>
                        </a:lnTo>
                        <a:lnTo>
                          <a:pt x="2119" y="6729"/>
                        </a:lnTo>
                        <a:lnTo>
                          <a:pt x="2194" y="6752"/>
                        </a:lnTo>
                        <a:lnTo>
                          <a:pt x="2185" y="6837"/>
                        </a:lnTo>
                        <a:lnTo>
                          <a:pt x="2157" y="6868"/>
                        </a:lnTo>
                        <a:lnTo>
                          <a:pt x="2129" y="6822"/>
                        </a:lnTo>
                        <a:lnTo>
                          <a:pt x="2073" y="6752"/>
                        </a:lnTo>
                        <a:lnTo>
                          <a:pt x="1932" y="6691"/>
                        </a:lnTo>
                        <a:lnTo>
                          <a:pt x="1904" y="6691"/>
                        </a:lnTo>
                        <a:lnTo>
                          <a:pt x="1830" y="6714"/>
                        </a:lnTo>
                        <a:lnTo>
                          <a:pt x="1811" y="6729"/>
                        </a:lnTo>
                        <a:lnTo>
                          <a:pt x="1746" y="6721"/>
                        </a:lnTo>
                        <a:lnTo>
                          <a:pt x="1643" y="6698"/>
                        </a:lnTo>
                        <a:lnTo>
                          <a:pt x="1494" y="6775"/>
                        </a:lnTo>
                        <a:lnTo>
                          <a:pt x="1410" y="6822"/>
                        </a:lnTo>
                        <a:lnTo>
                          <a:pt x="1326" y="6775"/>
                        </a:lnTo>
                        <a:lnTo>
                          <a:pt x="1260" y="6752"/>
                        </a:lnTo>
                        <a:lnTo>
                          <a:pt x="1176" y="6760"/>
                        </a:lnTo>
                        <a:lnTo>
                          <a:pt x="1083" y="6745"/>
                        </a:lnTo>
                        <a:lnTo>
                          <a:pt x="971" y="6721"/>
                        </a:lnTo>
                        <a:lnTo>
                          <a:pt x="896" y="6698"/>
                        </a:lnTo>
                        <a:lnTo>
                          <a:pt x="850" y="6698"/>
                        </a:lnTo>
                        <a:lnTo>
                          <a:pt x="822" y="6683"/>
                        </a:lnTo>
                        <a:lnTo>
                          <a:pt x="822" y="6660"/>
                        </a:lnTo>
                        <a:lnTo>
                          <a:pt x="775" y="6652"/>
                        </a:lnTo>
                        <a:lnTo>
                          <a:pt x="728" y="6591"/>
                        </a:lnTo>
                        <a:lnTo>
                          <a:pt x="700" y="6537"/>
                        </a:lnTo>
                        <a:lnTo>
                          <a:pt x="728" y="6444"/>
                        </a:lnTo>
                        <a:lnTo>
                          <a:pt x="710" y="6352"/>
                        </a:lnTo>
                        <a:lnTo>
                          <a:pt x="625" y="6267"/>
                        </a:lnTo>
                        <a:lnTo>
                          <a:pt x="523" y="6075"/>
                        </a:lnTo>
                        <a:lnTo>
                          <a:pt x="551" y="6013"/>
                        </a:lnTo>
                        <a:lnTo>
                          <a:pt x="579" y="6044"/>
                        </a:lnTo>
                        <a:lnTo>
                          <a:pt x="560" y="6106"/>
                        </a:lnTo>
                        <a:lnTo>
                          <a:pt x="635" y="6136"/>
                        </a:lnTo>
                        <a:lnTo>
                          <a:pt x="700" y="6036"/>
                        </a:lnTo>
                        <a:lnTo>
                          <a:pt x="775" y="5990"/>
                        </a:lnTo>
                        <a:lnTo>
                          <a:pt x="840" y="5982"/>
                        </a:lnTo>
                        <a:lnTo>
                          <a:pt x="728" y="5952"/>
                        </a:lnTo>
                        <a:lnTo>
                          <a:pt x="625" y="5913"/>
                        </a:lnTo>
                        <a:lnTo>
                          <a:pt x="551" y="5890"/>
                        </a:lnTo>
                        <a:lnTo>
                          <a:pt x="588" y="5944"/>
                        </a:lnTo>
                        <a:lnTo>
                          <a:pt x="560" y="5952"/>
                        </a:lnTo>
                        <a:lnTo>
                          <a:pt x="439" y="5913"/>
                        </a:lnTo>
                        <a:lnTo>
                          <a:pt x="336" y="5882"/>
                        </a:lnTo>
                        <a:lnTo>
                          <a:pt x="140" y="5744"/>
                        </a:lnTo>
                        <a:lnTo>
                          <a:pt x="56" y="5697"/>
                        </a:lnTo>
                        <a:lnTo>
                          <a:pt x="0" y="5651"/>
                        </a:lnTo>
                        <a:lnTo>
                          <a:pt x="0" y="5582"/>
                        </a:lnTo>
                        <a:lnTo>
                          <a:pt x="56" y="5551"/>
                        </a:lnTo>
                        <a:lnTo>
                          <a:pt x="103" y="5543"/>
                        </a:lnTo>
                        <a:lnTo>
                          <a:pt x="75" y="5582"/>
                        </a:lnTo>
                        <a:lnTo>
                          <a:pt x="37" y="5636"/>
                        </a:lnTo>
                        <a:lnTo>
                          <a:pt x="93" y="5620"/>
                        </a:lnTo>
                        <a:lnTo>
                          <a:pt x="187" y="5559"/>
                        </a:lnTo>
                        <a:lnTo>
                          <a:pt x="261" y="5528"/>
                        </a:lnTo>
                        <a:lnTo>
                          <a:pt x="252" y="5513"/>
                        </a:lnTo>
                        <a:lnTo>
                          <a:pt x="252" y="5482"/>
                        </a:lnTo>
                        <a:lnTo>
                          <a:pt x="289" y="5428"/>
                        </a:lnTo>
                        <a:lnTo>
                          <a:pt x="364" y="5374"/>
                        </a:lnTo>
                        <a:lnTo>
                          <a:pt x="401" y="5428"/>
                        </a:lnTo>
                        <a:lnTo>
                          <a:pt x="476" y="5389"/>
                        </a:lnTo>
                        <a:lnTo>
                          <a:pt x="523" y="5328"/>
                        </a:lnTo>
                        <a:lnTo>
                          <a:pt x="523" y="5274"/>
                        </a:lnTo>
                        <a:lnTo>
                          <a:pt x="560" y="5305"/>
                        </a:lnTo>
                        <a:lnTo>
                          <a:pt x="597" y="5235"/>
                        </a:lnTo>
                        <a:lnTo>
                          <a:pt x="784" y="5120"/>
                        </a:lnTo>
                        <a:lnTo>
                          <a:pt x="859" y="5097"/>
                        </a:lnTo>
                        <a:lnTo>
                          <a:pt x="878" y="5143"/>
                        </a:lnTo>
                        <a:lnTo>
                          <a:pt x="896" y="5174"/>
                        </a:lnTo>
                        <a:lnTo>
                          <a:pt x="999" y="5158"/>
                        </a:lnTo>
                        <a:lnTo>
                          <a:pt x="1074" y="5158"/>
                        </a:lnTo>
                        <a:lnTo>
                          <a:pt x="1111" y="5143"/>
                        </a:lnTo>
                        <a:lnTo>
                          <a:pt x="1064" y="5066"/>
                        </a:lnTo>
                        <a:lnTo>
                          <a:pt x="990" y="5020"/>
                        </a:lnTo>
                        <a:lnTo>
                          <a:pt x="1074" y="4935"/>
                        </a:lnTo>
                        <a:lnTo>
                          <a:pt x="1139" y="4897"/>
                        </a:lnTo>
                        <a:lnTo>
                          <a:pt x="1176" y="4866"/>
                        </a:lnTo>
                        <a:lnTo>
                          <a:pt x="1195" y="4881"/>
                        </a:lnTo>
                        <a:lnTo>
                          <a:pt x="1260" y="4851"/>
                        </a:lnTo>
                        <a:lnTo>
                          <a:pt x="1326" y="4843"/>
                        </a:lnTo>
                        <a:lnTo>
                          <a:pt x="1363" y="4835"/>
                        </a:lnTo>
                        <a:lnTo>
                          <a:pt x="1475" y="4697"/>
                        </a:lnTo>
                        <a:lnTo>
                          <a:pt x="1531" y="4689"/>
                        </a:lnTo>
                        <a:lnTo>
                          <a:pt x="1606" y="4697"/>
                        </a:lnTo>
                        <a:lnTo>
                          <a:pt x="1699" y="4689"/>
                        </a:lnTo>
                        <a:lnTo>
                          <a:pt x="1783" y="4658"/>
                        </a:lnTo>
                        <a:lnTo>
                          <a:pt x="1867" y="4658"/>
                        </a:lnTo>
                        <a:lnTo>
                          <a:pt x="1932" y="4681"/>
                        </a:lnTo>
                        <a:lnTo>
                          <a:pt x="1904" y="4689"/>
                        </a:lnTo>
                        <a:lnTo>
                          <a:pt x="1811" y="4689"/>
                        </a:lnTo>
                        <a:lnTo>
                          <a:pt x="1783" y="4712"/>
                        </a:lnTo>
                        <a:lnTo>
                          <a:pt x="1858" y="4750"/>
                        </a:lnTo>
                        <a:lnTo>
                          <a:pt x="1867" y="4812"/>
                        </a:lnTo>
                        <a:lnTo>
                          <a:pt x="1858" y="4904"/>
                        </a:lnTo>
                        <a:lnTo>
                          <a:pt x="1867" y="4989"/>
                        </a:lnTo>
                        <a:lnTo>
                          <a:pt x="1830" y="5020"/>
                        </a:lnTo>
                        <a:lnTo>
                          <a:pt x="1736" y="5082"/>
                        </a:lnTo>
                        <a:lnTo>
                          <a:pt x="1746" y="5089"/>
                        </a:lnTo>
                        <a:lnTo>
                          <a:pt x="1830" y="5082"/>
                        </a:lnTo>
                        <a:lnTo>
                          <a:pt x="1858" y="5089"/>
                        </a:lnTo>
                        <a:lnTo>
                          <a:pt x="1858" y="5158"/>
                        </a:lnTo>
                        <a:lnTo>
                          <a:pt x="1932" y="5212"/>
                        </a:lnTo>
                        <a:lnTo>
                          <a:pt x="2016" y="5189"/>
                        </a:lnTo>
                        <a:lnTo>
                          <a:pt x="2110" y="5205"/>
                        </a:lnTo>
                        <a:lnTo>
                          <a:pt x="2203" y="5212"/>
                        </a:lnTo>
                        <a:lnTo>
                          <a:pt x="2241" y="5235"/>
                        </a:lnTo>
                        <a:lnTo>
                          <a:pt x="2269" y="5189"/>
                        </a:lnTo>
                        <a:lnTo>
                          <a:pt x="2334" y="5182"/>
                        </a:lnTo>
                        <a:lnTo>
                          <a:pt x="2315" y="5220"/>
                        </a:lnTo>
                        <a:lnTo>
                          <a:pt x="2353" y="5205"/>
                        </a:lnTo>
                        <a:lnTo>
                          <a:pt x="2371" y="5235"/>
                        </a:lnTo>
                        <a:lnTo>
                          <a:pt x="2465" y="5212"/>
                        </a:lnTo>
                        <a:lnTo>
                          <a:pt x="2521" y="5243"/>
                        </a:lnTo>
                        <a:lnTo>
                          <a:pt x="2530" y="5220"/>
                        </a:lnTo>
                        <a:lnTo>
                          <a:pt x="2605" y="5212"/>
                        </a:lnTo>
                        <a:lnTo>
                          <a:pt x="2642" y="5251"/>
                        </a:lnTo>
                        <a:lnTo>
                          <a:pt x="2670" y="5305"/>
                        </a:lnTo>
                        <a:lnTo>
                          <a:pt x="2717" y="5312"/>
                        </a:lnTo>
                        <a:lnTo>
                          <a:pt x="2745" y="5282"/>
                        </a:lnTo>
                        <a:lnTo>
                          <a:pt x="2745" y="5235"/>
                        </a:lnTo>
                        <a:lnTo>
                          <a:pt x="2782" y="5174"/>
                        </a:lnTo>
                        <a:lnTo>
                          <a:pt x="2819" y="5082"/>
                        </a:lnTo>
                        <a:lnTo>
                          <a:pt x="2857" y="5005"/>
                        </a:lnTo>
                        <a:lnTo>
                          <a:pt x="2978" y="5058"/>
                        </a:lnTo>
                        <a:lnTo>
                          <a:pt x="3006" y="5058"/>
                        </a:lnTo>
                        <a:lnTo>
                          <a:pt x="3025" y="5112"/>
                        </a:lnTo>
                        <a:lnTo>
                          <a:pt x="3015" y="5151"/>
                        </a:lnTo>
                        <a:lnTo>
                          <a:pt x="3090" y="5066"/>
                        </a:lnTo>
                        <a:lnTo>
                          <a:pt x="3090" y="5005"/>
                        </a:lnTo>
                        <a:lnTo>
                          <a:pt x="3043" y="4958"/>
                        </a:lnTo>
                        <a:lnTo>
                          <a:pt x="2941" y="4912"/>
                        </a:lnTo>
                        <a:lnTo>
                          <a:pt x="2829" y="4881"/>
                        </a:lnTo>
                        <a:lnTo>
                          <a:pt x="2745" y="4881"/>
                        </a:lnTo>
                        <a:lnTo>
                          <a:pt x="2707" y="4958"/>
                        </a:lnTo>
                        <a:lnTo>
                          <a:pt x="2717" y="4997"/>
                        </a:lnTo>
                        <a:lnTo>
                          <a:pt x="2651" y="4966"/>
                        </a:lnTo>
                        <a:lnTo>
                          <a:pt x="2651" y="4897"/>
                        </a:lnTo>
                        <a:lnTo>
                          <a:pt x="2689" y="4812"/>
                        </a:lnTo>
                        <a:lnTo>
                          <a:pt x="2651" y="4743"/>
                        </a:lnTo>
                        <a:lnTo>
                          <a:pt x="2605" y="4620"/>
                        </a:lnTo>
                        <a:lnTo>
                          <a:pt x="2633" y="4658"/>
                        </a:lnTo>
                        <a:lnTo>
                          <a:pt x="2679" y="4750"/>
                        </a:lnTo>
                        <a:lnTo>
                          <a:pt x="2754" y="4812"/>
                        </a:lnTo>
                        <a:lnTo>
                          <a:pt x="2829" y="4820"/>
                        </a:lnTo>
                        <a:lnTo>
                          <a:pt x="2894" y="4812"/>
                        </a:lnTo>
                        <a:lnTo>
                          <a:pt x="2950" y="4774"/>
                        </a:lnTo>
                        <a:lnTo>
                          <a:pt x="2978" y="4758"/>
                        </a:lnTo>
                        <a:lnTo>
                          <a:pt x="3006" y="4804"/>
                        </a:lnTo>
                        <a:lnTo>
                          <a:pt x="3053" y="4812"/>
                        </a:lnTo>
                        <a:lnTo>
                          <a:pt x="3081" y="4843"/>
                        </a:lnTo>
                        <a:lnTo>
                          <a:pt x="3127" y="4866"/>
                        </a:lnTo>
                        <a:lnTo>
                          <a:pt x="3165" y="4912"/>
                        </a:lnTo>
                        <a:lnTo>
                          <a:pt x="3211" y="4928"/>
                        </a:lnTo>
                        <a:lnTo>
                          <a:pt x="3314" y="4912"/>
                        </a:lnTo>
                        <a:lnTo>
                          <a:pt x="3379" y="4904"/>
                        </a:lnTo>
                        <a:lnTo>
                          <a:pt x="3398" y="4866"/>
                        </a:lnTo>
                        <a:lnTo>
                          <a:pt x="3464" y="4835"/>
                        </a:lnTo>
                        <a:lnTo>
                          <a:pt x="3641" y="4820"/>
                        </a:lnTo>
                        <a:lnTo>
                          <a:pt x="3697" y="4781"/>
                        </a:lnTo>
                        <a:lnTo>
                          <a:pt x="3697" y="4720"/>
                        </a:lnTo>
                        <a:lnTo>
                          <a:pt x="3660" y="4697"/>
                        </a:lnTo>
                        <a:lnTo>
                          <a:pt x="3473" y="4750"/>
                        </a:lnTo>
                        <a:lnTo>
                          <a:pt x="3464" y="4789"/>
                        </a:lnTo>
                        <a:lnTo>
                          <a:pt x="3417" y="4774"/>
                        </a:lnTo>
                        <a:lnTo>
                          <a:pt x="3454" y="4712"/>
                        </a:lnTo>
                        <a:lnTo>
                          <a:pt x="3538" y="4681"/>
                        </a:lnTo>
                        <a:lnTo>
                          <a:pt x="3585" y="4666"/>
                        </a:lnTo>
                        <a:lnTo>
                          <a:pt x="3641" y="4650"/>
                        </a:lnTo>
                        <a:lnTo>
                          <a:pt x="3678" y="4604"/>
                        </a:lnTo>
                        <a:lnTo>
                          <a:pt x="3613" y="4604"/>
                        </a:lnTo>
                        <a:lnTo>
                          <a:pt x="3548" y="4596"/>
                        </a:lnTo>
                        <a:lnTo>
                          <a:pt x="3501" y="4635"/>
                        </a:lnTo>
                        <a:lnTo>
                          <a:pt x="3426" y="4620"/>
                        </a:lnTo>
                        <a:lnTo>
                          <a:pt x="3379" y="4681"/>
                        </a:lnTo>
                        <a:lnTo>
                          <a:pt x="3351" y="4689"/>
                        </a:lnTo>
                        <a:lnTo>
                          <a:pt x="3305" y="4697"/>
                        </a:lnTo>
                        <a:lnTo>
                          <a:pt x="3249" y="4712"/>
                        </a:lnTo>
                        <a:lnTo>
                          <a:pt x="3202" y="4681"/>
                        </a:lnTo>
                        <a:lnTo>
                          <a:pt x="3127" y="4635"/>
                        </a:lnTo>
                        <a:lnTo>
                          <a:pt x="3062" y="4650"/>
                        </a:lnTo>
                        <a:lnTo>
                          <a:pt x="3006" y="4650"/>
                        </a:lnTo>
                        <a:lnTo>
                          <a:pt x="2978" y="4689"/>
                        </a:lnTo>
                        <a:lnTo>
                          <a:pt x="2950" y="4666"/>
                        </a:lnTo>
                        <a:lnTo>
                          <a:pt x="2969" y="4596"/>
                        </a:lnTo>
                        <a:lnTo>
                          <a:pt x="2941" y="4627"/>
                        </a:lnTo>
                        <a:lnTo>
                          <a:pt x="2941" y="4712"/>
                        </a:lnTo>
                        <a:lnTo>
                          <a:pt x="2913" y="4750"/>
                        </a:lnTo>
                        <a:lnTo>
                          <a:pt x="2838" y="4712"/>
                        </a:lnTo>
                        <a:lnTo>
                          <a:pt x="2791" y="4666"/>
                        </a:lnTo>
                        <a:lnTo>
                          <a:pt x="2689" y="4527"/>
                        </a:lnTo>
                        <a:lnTo>
                          <a:pt x="2717" y="4473"/>
                        </a:lnTo>
                        <a:lnTo>
                          <a:pt x="2745" y="4389"/>
                        </a:lnTo>
                        <a:lnTo>
                          <a:pt x="2819" y="4373"/>
                        </a:lnTo>
                        <a:lnTo>
                          <a:pt x="2838" y="4342"/>
                        </a:lnTo>
                        <a:lnTo>
                          <a:pt x="2782" y="4281"/>
                        </a:lnTo>
                        <a:lnTo>
                          <a:pt x="2726" y="4258"/>
                        </a:lnTo>
                        <a:lnTo>
                          <a:pt x="2670" y="4250"/>
                        </a:lnTo>
                        <a:lnTo>
                          <a:pt x="2595" y="4265"/>
                        </a:lnTo>
                        <a:lnTo>
                          <a:pt x="2502" y="4288"/>
                        </a:lnTo>
                        <a:lnTo>
                          <a:pt x="2427" y="4327"/>
                        </a:lnTo>
                        <a:lnTo>
                          <a:pt x="2390" y="4296"/>
                        </a:lnTo>
                        <a:lnTo>
                          <a:pt x="2455" y="4188"/>
                        </a:lnTo>
                        <a:lnTo>
                          <a:pt x="2483" y="4134"/>
                        </a:lnTo>
                        <a:lnTo>
                          <a:pt x="2455" y="4127"/>
                        </a:lnTo>
                        <a:lnTo>
                          <a:pt x="2409" y="4142"/>
                        </a:lnTo>
                        <a:lnTo>
                          <a:pt x="2409" y="4158"/>
                        </a:lnTo>
                        <a:lnTo>
                          <a:pt x="2427" y="4188"/>
                        </a:lnTo>
                        <a:lnTo>
                          <a:pt x="2418" y="4219"/>
                        </a:lnTo>
                        <a:lnTo>
                          <a:pt x="2371" y="4204"/>
                        </a:lnTo>
                        <a:lnTo>
                          <a:pt x="2306" y="4196"/>
                        </a:lnTo>
                        <a:lnTo>
                          <a:pt x="2297" y="4258"/>
                        </a:lnTo>
                        <a:lnTo>
                          <a:pt x="2259" y="4288"/>
                        </a:lnTo>
                        <a:lnTo>
                          <a:pt x="2278" y="4319"/>
                        </a:lnTo>
                        <a:lnTo>
                          <a:pt x="2194" y="4288"/>
                        </a:lnTo>
                        <a:lnTo>
                          <a:pt x="2091" y="4258"/>
                        </a:lnTo>
                        <a:lnTo>
                          <a:pt x="2035" y="4219"/>
                        </a:lnTo>
                        <a:lnTo>
                          <a:pt x="1923" y="4188"/>
                        </a:lnTo>
                        <a:lnTo>
                          <a:pt x="1886" y="4073"/>
                        </a:lnTo>
                        <a:lnTo>
                          <a:pt x="1867" y="3988"/>
                        </a:lnTo>
                        <a:lnTo>
                          <a:pt x="1895" y="3981"/>
                        </a:lnTo>
                        <a:lnTo>
                          <a:pt x="1858" y="3942"/>
                        </a:lnTo>
                        <a:lnTo>
                          <a:pt x="1830" y="3850"/>
                        </a:lnTo>
                        <a:lnTo>
                          <a:pt x="1811" y="3796"/>
                        </a:lnTo>
                        <a:lnTo>
                          <a:pt x="1736" y="3734"/>
                        </a:lnTo>
                        <a:lnTo>
                          <a:pt x="1736" y="3703"/>
                        </a:lnTo>
                        <a:lnTo>
                          <a:pt x="1699" y="3680"/>
                        </a:lnTo>
                        <a:lnTo>
                          <a:pt x="1699" y="3673"/>
                        </a:lnTo>
                        <a:lnTo>
                          <a:pt x="1624" y="3603"/>
                        </a:lnTo>
                        <a:lnTo>
                          <a:pt x="1512" y="3542"/>
                        </a:lnTo>
                        <a:lnTo>
                          <a:pt x="1438" y="3488"/>
                        </a:lnTo>
                        <a:lnTo>
                          <a:pt x="1363" y="3418"/>
                        </a:lnTo>
                        <a:lnTo>
                          <a:pt x="1195" y="3303"/>
                        </a:lnTo>
                        <a:lnTo>
                          <a:pt x="1102" y="3272"/>
                        </a:lnTo>
                        <a:lnTo>
                          <a:pt x="924" y="3180"/>
                        </a:lnTo>
                        <a:lnTo>
                          <a:pt x="878" y="3110"/>
                        </a:lnTo>
                        <a:lnTo>
                          <a:pt x="803" y="3034"/>
                        </a:lnTo>
                        <a:lnTo>
                          <a:pt x="728" y="3003"/>
                        </a:lnTo>
                        <a:lnTo>
                          <a:pt x="597" y="2964"/>
                        </a:lnTo>
                        <a:lnTo>
                          <a:pt x="541" y="2941"/>
                        </a:lnTo>
                        <a:lnTo>
                          <a:pt x="560" y="2903"/>
                        </a:lnTo>
                        <a:lnTo>
                          <a:pt x="672" y="2833"/>
                        </a:lnTo>
                        <a:lnTo>
                          <a:pt x="700" y="2818"/>
                        </a:lnTo>
                        <a:lnTo>
                          <a:pt x="672" y="2880"/>
                        </a:lnTo>
                        <a:lnTo>
                          <a:pt x="625" y="2910"/>
                        </a:lnTo>
                        <a:lnTo>
                          <a:pt x="616" y="2926"/>
                        </a:lnTo>
                        <a:lnTo>
                          <a:pt x="663" y="2926"/>
                        </a:lnTo>
                        <a:lnTo>
                          <a:pt x="700" y="2880"/>
                        </a:lnTo>
                        <a:lnTo>
                          <a:pt x="738" y="2864"/>
                        </a:lnTo>
                        <a:lnTo>
                          <a:pt x="803" y="2841"/>
                        </a:lnTo>
                        <a:lnTo>
                          <a:pt x="850" y="2803"/>
                        </a:lnTo>
                        <a:lnTo>
                          <a:pt x="812" y="2810"/>
                        </a:lnTo>
                        <a:lnTo>
                          <a:pt x="775" y="2803"/>
                        </a:lnTo>
                        <a:lnTo>
                          <a:pt x="784" y="2749"/>
                        </a:lnTo>
                        <a:lnTo>
                          <a:pt x="784" y="2687"/>
                        </a:lnTo>
                        <a:lnTo>
                          <a:pt x="784" y="2572"/>
                        </a:lnTo>
                        <a:lnTo>
                          <a:pt x="803" y="2502"/>
                        </a:lnTo>
                        <a:lnTo>
                          <a:pt x="812" y="2464"/>
                        </a:lnTo>
                        <a:lnTo>
                          <a:pt x="803" y="2418"/>
                        </a:lnTo>
                        <a:lnTo>
                          <a:pt x="896" y="2418"/>
                        </a:lnTo>
                        <a:lnTo>
                          <a:pt x="971" y="2410"/>
                        </a:lnTo>
                        <a:lnTo>
                          <a:pt x="971" y="2433"/>
                        </a:lnTo>
                        <a:lnTo>
                          <a:pt x="915" y="2464"/>
                        </a:lnTo>
                        <a:lnTo>
                          <a:pt x="999" y="2464"/>
                        </a:lnTo>
                        <a:lnTo>
                          <a:pt x="1214" y="2410"/>
                        </a:lnTo>
                        <a:lnTo>
                          <a:pt x="1307" y="2402"/>
                        </a:lnTo>
                        <a:lnTo>
                          <a:pt x="1382" y="2379"/>
                        </a:lnTo>
                        <a:lnTo>
                          <a:pt x="1484" y="2379"/>
                        </a:lnTo>
                        <a:lnTo>
                          <a:pt x="1774" y="2317"/>
                        </a:lnTo>
                        <a:lnTo>
                          <a:pt x="1970" y="2171"/>
                        </a:lnTo>
                        <a:lnTo>
                          <a:pt x="2007" y="2094"/>
                        </a:lnTo>
                        <a:lnTo>
                          <a:pt x="2073" y="2010"/>
                        </a:lnTo>
                        <a:lnTo>
                          <a:pt x="2110" y="1856"/>
                        </a:lnTo>
                        <a:lnTo>
                          <a:pt x="2119" y="1956"/>
                        </a:lnTo>
                        <a:lnTo>
                          <a:pt x="2147" y="1925"/>
                        </a:lnTo>
                        <a:lnTo>
                          <a:pt x="2185" y="1817"/>
                        </a:lnTo>
                        <a:lnTo>
                          <a:pt x="2203" y="1732"/>
                        </a:lnTo>
                        <a:lnTo>
                          <a:pt x="2194" y="1671"/>
                        </a:lnTo>
                        <a:lnTo>
                          <a:pt x="2259" y="1725"/>
                        </a:lnTo>
                        <a:lnTo>
                          <a:pt x="2343" y="1771"/>
                        </a:lnTo>
                        <a:lnTo>
                          <a:pt x="2371" y="1740"/>
                        </a:lnTo>
                        <a:lnTo>
                          <a:pt x="2278" y="1702"/>
                        </a:lnTo>
                        <a:lnTo>
                          <a:pt x="2194" y="1609"/>
                        </a:lnTo>
                        <a:lnTo>
                          <a:pt x="2203" y="1586"/>
                        </a:lnTo>
                        <a:lnTo>
                          <a:pt x="2259" y="1578"/>
                        </a:lnTo>
                        <a:lnTo>
                          <a:pt x="2465" y="1578"/>
                        </a:lnTo>
                        <a:lnTo>
                          <a:pt x="2493" y="1555"/>
                        </a:lnTo>
                        <a:lnTo>
                          <a:pt x="2446" y="1548"/>
                        </a:lnTo>
                        <a:lnTo>
                          <a:pt x="2390" y="1548"/>
                        </a:lnTo>
                        <a:lnTo>
                          <a:pt x="2315" y="1548"/>
                        </a:lnTo>
                        <a:lnTo>
                          <a:pt x="2241" y="1517"/>
                        </a:lnTo>
                        <a:lnTo>
                          <a:pt x="2297" y="1463"/>
                        </a:lnTo>
                        <a:lnTo>
                          <a:pt x="2343" y="1417"/>
                        </a:lnTo>
                        <a:lnTo>
                          <a:pt x="2409" y="1355"/>
                        </a:lnTo>
                        <a:lnTo>
                          <a:pt x="2446" y="1293"/>
                        </a:lnTo>
                        <a:lnTo>
                          <a:pt x="2521" y="1309"/>
                        </a:lnTo>
                        <a:lnTo>
                          <a:pt x="2539" y="1340"/>
                        </a:lnTo>
                        <a:lnTo>
                          <a:pt x="2763" y="1432"/>
                        </a:lnTo>
                        <a:lnTo>
                          <a:pt x="2763" y="1394"/>
                        </a:lnTo>
                        <a:lnTo>
                          <a:pt x="2679" y="1363"/>
                        </a:lnTo>
                        <a:lnTo>
                          <a:pt x="2633" y="1309"/>
                        </a:lnTo>
                        <a:lnTo>
                          <a:pt x="2539" y="1263"/>
                        </a:lnTo>
                        <a:lnTo>
                          <a:pt x="2558" y="1186"/>
                        </a:lnTo>
                        <a:lnTo>
                          <a:pt x="2605" y="1109"/>
                        </a:lnTo>
                        <a:lnTo>
                          <a:pt x="2642" y="1032"/>
                        </a:lnTo>
                        <a:lnTo>
                          <a:pt x="2726" y="1055"/>
                        </a:lnTo>
                        <a:lnTo>
                          <a:pt x="2679" y="1086"/>
                        </a:lnTo>
                        <a:lnTo>
                          <a:pt x="2679" y="1109"/>
                        </a:lnTo>
                        <a:lnTo>
                          <a:pt x="2679" y="1139"/>
                        </a:lnTo>
                        <a:lnTo>
                          <a:pt x="2642" y="1186"/>
                        </a:lnTo>
                        <a:lnTo>
                          <a:pt x="2707" y="1147"/>
                        </a:lnTo>
                        <a:lnTo>
                          <a:pt x="2726" y="1116"/>
                        </a:lnTo>
                        <a:lnTo>
                          <a:pt x="2801" y="1109"/>
                        </a:lnTo>
                        <a:lnTo>
                          <a:pt x="2866" y="1093"/>
                        </a:lnTo>
                        <a:lnTo>
                          <a:pt x="2969" y="1032"/>
                        </a:lnTo>
                        <a:lnTo>
                          <a:pt x="3043" y="1016"/>
                        </a:lnTo>
                        <a:lnTo>
                          <a:pt x="3202" y="924"/>
                        </a:lnTo>
                        <a:lnTo>
                          <a:pt x="3249" y="893"/>
                        </a:lnTo>
                        <a:lnTo>
                          <a:pt x="3277" y="862"/>
                        </a:lnTo>
                        <a:lnTo>
                          <a:pt x="3174" y="901"/>
                        </a:lnTo>
                        <a:lnTo>
                          <a:pt x="3174" y="870"/>
                        </a:lnTo>
                        <a:lnTo>
                          <a:pt x="3398" y="747"/>
                        </a:lnTo>
                        <a:lnTo>
                          <a:pt x="3436" y="755"/>
                        </a:lnTo>
                        <a:lnTo>
                          <a:pt x="3473" y="770"/>
                        </a:lnTo>
                        <a:lnTo>
                          <a:pt x="3492" y="816"/>
                        </a:lnTo>
                        <a:lnTo>
                          <a:pt x="3436" y="862"/>
                        </a:lnTo>
                        <a:lnTo>
                          <a:pt x="3454" y="932"/>
                        </a:lnTo>
                        <a:lnTo>
                          <a:pt x="3398" y="993"/>
                        </a:lnTo>
                        <a:lnTo>
                          <a:pt x="3464" y="962"/>
                        </a:lnTo>
                        <a:lnTo>
                          <a:pt x="3473" y="1032"/>
                        </a:lnTo>
                        <a:lnTo>
                          <a:pt x="3510" y="1078"/>
                        </a:lnTo>
                        <a:lnTo>
                          <a:pt x="3548" y="1032"/>
                        </a:lnTo>
                        <a:lnTo>
                          <a:pt x="3548" y="962"/>
                        </a:lnTo>
                        <a:lnTo>
                          <a:pt x="3529" y="909"/>
                        </a:lnTo>
                        <a:lnTo>
                          <a:pt x="3548" y="847"/>
                        </a:lnTo>
                        <a:lnTo>
                          <a:pt x="3613" y="862"/>
                        </a:lnTo>
                        <a:lnTo>
                          <a:pt x="3688" y="839"/>
                        </a:lnTo>
                        <a:lnTo>
                          <a:pt x="3716" y="816"/>
                        </a:lnTo>
                        <a:lnTo>
                          <a:pt x="3641" y="832"/>
                        </a:lnTo>
                        <a:lnTo>
                          <a:pt x="3576" y="808"/>
                        </a:lnTo>
                        <a:lnTo>
                          <a:pt x="3538" y="724"/>
                        </a:lnTo>
                        <a:lnTo>
                          <a:pt x="3492" y="716"/>
                        </a:lnTo>
                        <a:lnTo>
                          <a:pt x="3454" y="685"/>
                        </a:lnTo>
                        <a:lnTo>
                          <a:pt x="3510" y="662"/>
                        </a:lnTo>
                        <a:lnTo>
                          <a:pt x="3510" y="631"/>
                        </a:lnTo>
                        <a:lnTo>
                          <a:pt x="3548" y="593"/>
                        </a:lnTo>
                        <a:lnTo>
                          <a:pt x="3650" y="524"/>
                        </a:lnTo>
                        <a:lnTo>
                          <a:pt x="3753" y="470"/>
                        </a:lnTo>
                        <a:lnTo>
                          <a:pt x="3846" y="439"/>
                        </a:lnTo>
                        <a:lnTo>
                          <a:pt x="3912" y="431"/>
                        </a:lnTo>
                        <a:lnTo>
                          <a:pt x="3884" y="462"/>
                        </a:lnTo>
                        <a:lnTo>
                          <a:pt x="3790" y="493"/>
                        </a:lnTo>
                        <a:lnTo>
                          <a:pt x="3772" y="508"/>
                        </a:lnTo>
                        <a:lnTo>
                          <a:pt x="3762" y="539"/>
                        </a:lnTo>
                        <a:lnTo>
                          <a:pt x="3734" y="570"/>
                        </a:lnTo>
                        <a:lnTo>
                          <a:pt x="3697" y="601"/>
                        </a:lnTo>
                        <a:lnTo>
                          <a:pt x="3753" y="624"/>
                        </a:lnTo>
                        <a:lnTo>
                          <a:pt x="3837" y="662"/>
                        </a:lnTo>
                        <a:lnTo>
                          <a:pt x="3809" y="593"/>
                        </a:lnTo>
                        <a:lnTo>
                          <a:pt x="3837" y="593"/>
                        </a:lnTo>
                        <a:lnTo>
                          <a:pt x="3884" y="562"/>
                        </a:lnTo>
                        <a:lnTo>
                          <a:pt x="3846" y="531"/>
                        </a:lnTo>
                        <a:lnTo>
                          <a:pt x="3940" y="539"/>
                        </a:lnTo>
                        <a:lnTo>
                          <a:pt x="4014" y="562"/>
                        </a:lnTo>
                        <a:lnTo>
                          <a:pt x="4136" y="539"/>
                        </a:lnTo>
                        <a:lnTo>
                          <a:pt x="4210" y="531"/>
                        </a:lnTo>
                        <a:lnTo>
                          <a:pt x="4201" y="500"/>
                        </a:lnTo>
                        <a:lnTo>
                          <a:pt x="4369" y="500"/>
                        </a:lnTo>
                        <a:lnTo>
                          <a:pt x="4537" y="385"/>
                        </a:lnTo>
                        <a:lnTo>
                          <a:pt x="4584" y="354"/>
                        </a:lnTo>
                        <a:lnTo>
                          <a:pt x="4593" y="323"/>
                        </a:lnTo>
                        <a:lnTo>
                          <a:pt x="4630" y="277"/>
                        </a:lnTo>
                        <a:lnTo>
                          <a:pt x="4686" y="231"/>
                        </a:lnTo>
                        <a:lnTo>
                          <a:pt x="4696" y="200"/>
                        </a:lnTo>
                        <a:lnTo>
                          <a:pt x="4724" y="192"/>
                        </a:lnTo>
                        <a:lnTo>
                          <a:pt x="4770" y="216"/>
                        </a:lnTo>
                        <a:lnTo>
                          <a:pt x="4799" y="192"/>
                        </a:lnTo>
                        <a:lnTo>
                          <a:pt x="4770" y="131"/>
                        </a:lnTo>
                        <a:lnTo>
                          <a:pt x="4799" y="139"/>
                        </a:lnTo>
                        <a:lnTo>
                          <a:pt x="4808" y="123"/>
                        </a:lnTo>
                        <a:lnTo>
                          <a:pt x="4808" y="100"/>
                        </a:lnTo>
                        <a:lnTo>
                          <a:pt x="4836" y="77"/>
                        </a:lnTo>
                        <a:lnTo>
                          <a:pt x="4855" y="62"/>
                        </a:lnTo>
                        <a:lnTo>
                          <a:pt x="4873" y="15"/>
                        </a:lnTo>
                        <a:lnTo>
                          <a:pt x="4911" y="0"/>
                        </a:lnTo>
                        <a:lnTo>
                          <a:pt x="4929" y="15"/>
                        </a:lnTo>
                        <a:lnTo>
                          <a:pt x="4985" y="46"/>
                        </a:lnTo>
                        <a:lnTo>
                          <a:pt x="5041" y="77"/>
                        </a:lnTo>
                        <a:lnTo>
                          <a:pt x="5097" y="62"/>
                        </a:lnTo>
                        <a:lnTo>
                          <a:pt x="5172" y="100"/>
                        </a:lnTo>
                        <a:lnTo>
                          <a:pt x="5172" y="162"/>
                        </a:lnTo>
                        <a:lnTo>
                          <a:pt x="5181" y="169"/>
                        </a:lnTo>
                        <a:lnTo>
                          <a:pt x="5265" y="154"/>
                        </a:lnTo>
                        <a:lnTo>
                          <a:pt x="5331" y="154"/>
                        </a:lnTo>
                        <a:lnTo>
                          <a:pt x="5368" y="162"/>
                        </a:lnTo>
                        <a:lnTo>
                          <a:pt x="5405" y="192"/>
                        </a:lnTo>
                        <a:lnTo>
                          <a:pt x="5405" y="246"/>
                        </a:lnTo>
                        <a:lnTo>
                          <a:pt x="5405" y="285"/>
                        </a:lnTo>
                        <a:lnTo>
                          <a:pt x="5368" y="308"/>
                        </a:lnTo>
                        <a:lnTo>
                          <a:pt x="5321" y="339"/>
                        </a:lnTo>
                        <a:lnTo>
                          <a:pt x="5265" y="377"/>
                        </a:lnTo>
                        <a:lnTo>
                          <a:pt x="5209" y="385"/>
                        </a:lnTo>
                        <a:lnTo>
                          <a:pt x="5172" y="408"/>
                        </a:lnTo>
                        <a:lnTo>
                          <a:pt x="5135" y="385"/>
                        </a:lnTo>
                        <a:lnTo>
                          <a:pt x="5069" y="493"/>
                        </a:lnTo>
                        <a:lnTo>
                          <a:pt x="5079" y="477"/>
                        </a:lnTo>
                        <a:lnTo>
                          <a:pt x="5144" y="477"/>
                        </a:lnTo>
                        <a:lnTo>
                          <a:pt x="5191" y="524"/>
                        </a:lnTo>
                        <a:lnTo>
                          <a:pt x="5293" y="562"/>
                        </a:lnTo>
                        <a:lnTo>
                          <a:pt x="5321" y="477"/>
                        </a:lnTo>
                        <a:lnTo>
                          <a:pt x="5359" y="554"/>
                        </a:lnTo>
                        <a:lnTo>
                          <a:pt x="5396" y="500"/>
                        </a:lnTo>
                        <a:lnTo>
                          <a:pt x="5443" y="554"/>
                        </a:lnTo>
                        <a:lnTo>
                          <a:pt x="5452" y="601"/>
                        </a:lnTo>
                        <a:lnTo>
                          <a:pt x="5527" y="601"/>
                        </a:lnTo>
                        <a:lnTo>
                          <a:pt x="5517" y="531"/>
                        </a:lnTo>
                        <a:lnTo>
                          <a:pt x="5517" y="493"/>
                        </a:lnTo>
                        <a:lnTo>
                          <a:pt x="5443" y="416"/>
                        </a:lnTo>
                        <a:lnTo>
                          <a:pt x="5471" y="339"/>
                        </a:lnTo>
                        <a:lnTo>
                          <a:pt x="5517" y="293"/>
                        </a:lnTo>
                        <a:lnTo>
                          <a:pt x="5564" y="308"/>
                        </a:lnTo>
                        <a:lnTo>
                          <a:pt x="5564" y="231"/>
                        </a:lnTo>
                        <a:lnTo>
                          <a:pt x="5620" y="277"/>
                        </a:lnTo>
                        <a:lnTo>
                          <a:pt x="5620" y="223"/>
                        </a:lnTo>
                        <a:lnTo>
                          <a:pt x="5751" y="262"/>
                        </a:lnTo>
                        <a:lnTo>
                          <a:pt x="5844" y="408"/>
                        </a:lnTo>
                        <a:lnTo>
                          <a:pt x="5807" y="462"/>
                        </a:lnTo>
                        <a:lnTo>
                          <a:pt x="5853" y="477"/>
                        </a:lnTo>
                        <a:lnTo>
                          <a:pt x="5937" y="493"/>
                        </a:lnTo>
                        <a:lnTo>
                          <a:pt x="5975" y="531"/>
                        </a:lnTo>
                        <a:lnTo>
                          <a:pt x="6040" y="531"/>
                        </a:lnTo>
                        <a:lnTo>
                          <a:pt x="6105" y="462"/>
                        </a:lnTo>
                        <a:lnTo>
                          <a:pt x="6152" y="439"/>
                        </a:lnTo>
                        <a:lnTo>
                          <a:pt x="6190" y="493"/>
                        </a:lnTo>
                        <a:lnTo>
                          <a:pt x="6255" y="462"/>
                        </a:lnTo>
                        <a:lnTo>
                          <a:pt x="6264" y="462"/>
                        </a:lnTo>
                        <a:lnTo>
                          <a:pt x="6330" y="408"/>
                        </a:lnTo>
                        <a:lnTo>
                          <a:pt x="6404" y="400"/>
                        </a:lnTo>
                        <a:lnTo>
                          <a:pt x="6479" y="400"/>
                        </a:lnTo>
                        <a:lnTo>
                          <a:pt x="6526" y="470"/>
                        </a:lnTo>
                        <a:lnTo>
                          <a:pt x="6535" y="524"/>
                        </a:lnTo>
                        <a:lnTo>
                          <a:pt x="6554" y="554"/>
                        </a:lnTo>
                        <a:lnTo>
                          <a:pt x="6600" y="531"/>
                        </a:lnTo>
                        <a:lnTo>
                          <a:pt x="6628" y="554"/>
                        </a:lnTo>
                        <a:lnTo>
                          <a:pt x="6610" y="462"/>
                        </a:lnTo>
                        <a:lnTo>
                          <a:pt x="6647" y="470"/>
                        </a:lnTo>
                        <a:lnTo>
                          <a:pt x="6740" y="470"/>
                        </a:lnTo>
                        <a:lnTo>
                          <a:pt x="6871" y="508"/>
                        </a:lnTo>
                        <a:lnTo>
                          <a:pt x="6871" y="585"/>
                        </a:lnTo>
                        <a:lnTo>
                          <a:pt x="6824" y="678"/>
                        </a:lnTo>
                        <a:lnTo>
                          <a:pt x="6834" y="708"/>
                        </a:lnTo>
                        <a:lnTo>
                          <a:pt x="6908" y="708"/>
                        </a:lnTo>
                        <a:lnTo>
                          <a:pt x="6946" y="747"/>
                        </a:lnTo>
                        <a:lnTo>
                          <a:pt x="6871" y="747"/>
                        </a:lnTo>
                        <a:lnTo>
                          <a:pt x="6787" y="755"/>
                        </a:lnTo>
                        <a:lnTo>
                          <a:pt x="6834" y="778"/>
                        </a:lnTo>
                        <a:lnTo>
                          <a:pt x="6936" y="778"/>
                        </a:lnTo>
                        <a:lnTo>
                          <a:pt x="7123" y="778"/>
                        </a:lnTo>
                        <a:lnTo>
                          <a:pt x="7114" y="816"/>
                        </a:lnTo>
                        <a:lnTo>
                          <a:pt x="7048" y="870"/>
                        </a:lnTo>
                        <a:lnTo>
                          <a:pt x="7282" y="893"/>
                        </a:lnTo>
                        <a:lnTo>
                          <a:pt x="7431" y="870"/>
                        </a:lnTo>
                        <a:lnTo>
                          <a:pt x="7571" y="832"/>
                        </a:lnTo>
                        <a:lnTo>
                          <a:pt x="7646" y="832"/>
                        </a:lnTo>
                        <a:lnTo>
                          <a:pt x="7693" y="847"/>
                        </a:lnTo>
                        <a:lnTo>
                          <a:pt x="7721" y="893"/>
                        </a:lnTo>
                        <a:lnTo>
                          <a:pt x="7655" y="901"/>
                        </a:lnTo>
                        <a:lnTo>
                          <a:pt x="7646" y="932"/>
                        </a:lnTo>
                        <a:lnTo>
                          <a:pt x="7721" y="909"/>
                        </a:lnTo>
                        <a:lnTo>
                          <a:pt x="7842" y="878"/>
                        </a:lnTo>
                        <a:lnTo>
                          <a:pt x="7917" y="839"/>
                        </a:lnTo>
                        <a:lnTo>
                          <a:pt x="7982" y="832"/>
                        </a:lnTo>
                        <a:lnTo>
                          <a:pt x="8085" y="839"/>
                        </a:lnTo>
                        <a:lnTo>
                          <a:pt x="8178" y="870"/>
                        </a:lnTo>
                        <a:lnTo>
                          <a:pt x="8253" y="901"/>
                        </a:lnTo>
                        <a:lnTo>
                          <a:pt x="8365" y="909"/>
                        </a:lnTo>
                        <a:lnTo>
                          <a:pt x="8402" y="924"/>
                        </a:lnTo>
                        <a:lnTo>
                          <a:pt x="8421" y="986"/>
                        </a:lnTo>
                        <a:lnTo>
                          <a:pt x="8495" y="986"/>
                        </a:lnTo>
                        <a:lnTo>
                          <a:pt x="8542" y="986"/>
                        </a:lnTo>
                        <a:lnTo>
                          <a:pt x="8607" y="1016"/>
                        </a:lnTo>
                        <a:lnTo>
                          <a:pt x="8682" y="1024"/>
                        </a:lnTo>
                        <a:lnTo>
                          <a:pt x="8719" y="1062"/>
                        </a:lnTo>
                        <a:lnTo>
                          <a:pt x="8738" y="1078"/>
                        </a:lnTo>
                        <a:lnTo>
                          <a:pt x="8766" y="1078"/>
                        </a:lnTo>
                        <a:lnTo>
                          <a:pt x="8841" y="1086"/>
                        </a:lnTo>
                        <a:lnTo>
                          <a:pt x="8925" y="1124"/>
                        </a:lnTo>
                        <a:lnTo>
                          <a:pt x="9018" y="1147"/>
                        </a:lnTo>
                        <a:lnTo>
                          <a:pt x="9074" y="1178"/>
                        </a:lnTo>
                        <a:lnTo>
                          <a:pt x="9242" y="1147"/>
                        </a:lnTo>
                        <a:lnTo>
                          <a:pt x="9429" y="1147"/>
                        </a:lnTo>
                        <a:lnTo>
                          <a:pt x="9485" y="1155"/>
                        </a:lnTo>
                        <a:lnTo>
                          <a:pt x="9578" y="1201"/>
                        </a:lnTo>
                        <a:lnTo>
                          <a:pt x="9653" y="1263"/>
                        </a:lnTo>
                        <a:lnTo>
                          <a:pt x="9700" y="1270"/>
                        </a:lnTo>
                        <a:lnTo>
                          <a:pt x="9812" y="1278"/>
                        </a:lnTo>
                        <a:lnTo>
                          <a:pt x="9802" y="1309"/>
                        </a:lnTo>
                        <a:lnTo>
                          <a:pt x="9812" y="1332"/>
                        </a:lnTo>
                        <a:lnTo>
                          <a:pt x="9914" y="1332"/>
                        </a:lnTo>
                        <a:lnTo>
                          <a:pt x="9961" y="1340"/>
                        </a:lnTo>
                        <a:lnTo>
                          <a:pt x="9970" y="1301"/>
                        </a:lnTo>
                        <a:lnTo>
                          <a:pt x="10026" y="1340"/>
                        </a:lnTo>
                        <a:lnTo>
                          <a:pt x="10110" y="1340"/>
                        </a:lnTo>
                        <a:lnTo>
                          <a:pt x="10157" y="1301"/>
                        </a:lnTo>
                        <a:lnTo>
                          <a:pt x="10213" y="1293"/>
                        </a:lnTo>
                        <a:lnTo>
                          <a:pt x="10213" y="1270"/>
                        </a:lnTo>
                        <a:lnTo>
                          <a:pt x="10222" y="1270"/>
                        </a:lnTo>
                        <a:lnTo>
                          <a:pt x="10260" y="1270"/>
                        </a:lnTo>
                        <a:lnTo>
                          <a:pt x="10419" y="1240"/>
                        </a:lnTo>
                        <a:lnTo>
                          <a:pt x="10456" y="1216"/>
                        </a:lnTo>
                        <a:lnTo>
                          <a:pt x="10512" y="1240"/>
                        </a:lnTo>
                        <a:lnTo>
                          <a:pt x="10568" y="1309"/>
                        </a:lnTo>
                        <a:lnTo>
                          <a:pt x="10596" y="1270"/>
                        </a:lnTo>
                        <a:lnTo>
                          <a:pt x="10587" y="1209"/>
                        </a:lnTo>
                        <a:lnTo>
                          <a:pt x="10624" y="1232"/>
                        </a:lnTo>
                        <a:lnTo>
                          <a:pt x="10671" y="1216"/>
                        </a:lnTo>
                        <a:lnTo>
                          <a:pt x="10699" y="1201"/>
                        </a:lnTo>
                        <a:lnTo>
                          <a:pt x="10783" y="1216"/>
                        </a:lnTo>
                        <a:lnTo>
                          <a:pt x="10997" y="1324"/>
                        </a:lnTo>
                        <a:lnTo>
                          <a:pt x="11044" y="1363"/>
                        </a:lnTo>
                        <a:lnTo>
                          <a:pt x="11035" y="1394"/>
                        </a:lnTo>
                        <a:lnTo>
                          <a:pt x="11091" y="1401"/>
                        </a:lnTo>
                        <a:lnTo>
                          <a:pt x="11184" y="1447"/>
                        </a:lnTo>
                        <a:lnTo>
                          <a:pt x="11193" y="1486"/>
                        </a:lnTo>
                        <a:lnTo>
                          <a:pt x="11240" y="1509"/>
                        </a:lnTo>
                        <a:lnTo>
                          <a:pt x="11315" y="1517"/>
                        </a:lnTo>
                        <a:lnTo>
                          <a:pt x="11417" y="1555"/>
                        </a:lnTo>
                        <a:lnTo>
                          <a:pt x="11445" y="1586"/>
                        </a:lnTo>
                        <a:lnTo>
                          <a:pt x="11464" y="1632"/>
                        </a:lnTo>
                        <a:lnTo>
                          <a:pt x="11492" y="1663"/>
                        </a:lnTo>
                        <a:lnTo>
                          <a:pt x="11529" y="1678"/>
                        </a:lnTo>
                        <a:lnTo>
                          <a:pt x="11567" y="1617"/>
                        </a:lnTo>
                        <a:lnTo>
                          <a:pt x="11567" y="1586"/>
                        </a:lnTo>
                        <a:lnTo>
                          <a:pt x="11567" y="1578"/>
                        </a:lnTo>
                        <a:lnTo>
                          <a:pt x="11632" y="1578"/>
                        </a:lnTo>
                        <a:lnTo>
                          <a:pt x="11651" y="1601"/>
                        </a:lnTo>
                        <a:lnTo>
                          <a:pt x="11651" y="10918"/>
                        </a:lnTo>
                        <a:lnTo>
                          <a:pt x="11707" y="10964"/>
                        </a:lnTo>
                        <a:lnTo>
                          <a:pt x="11726" y="10971"/>
                        </a:lnTo>
                        <a:lnTo>
                          <a:pt x="11763" y="11010"/>
                        </a:lnTo>
                        <a:lnTo>
                          <a:pt x="11791" y="11010"/>
                        </a:lnTo>
                        <a:lnTo>
                          <a:pt x="11800" y="11033"/>
                        </a:lnTo>
                        <a:lnTo>
                          <a:pt x="11838" y="11010"/>
                        </a:lnTo>
                        <a:lnTo>
                          <a:pt x="11875" y="10971"/>
                        </a:lnTo>
                        <a:lnTo>
                          <a:pt x="11894" y="10971"/>
                        </a:lnTo>
                        <a:lnTo>
                          <a:pt x="11894" y="10948"/>
                        </a:lnTo>
                        <a:lnTo>
                          <a:pt x="11903" y="10941"/>
                        </a:lnTo>
                        <a:lnTo>
                          <a:pt x="11912" y="10933"/>
                        </a:lnTo>
                        <a:lnTo>
                          <a:pt x="11931" y="10948"/>
                        </a:lnTo>
                        <a:lnTo>
                          <a:pt x="11940" y="10948"/>
                        </a:lnTo>
                        <a:lnTo>
                          <a:pt x="11950" y="10948"/>
                        </a:lnTo>
                        <a:lnTo>
                          <a:pt x="11978" y="10971"/>
                        </a:lnTo>
                        <a:lnTo>
                          <a:pt x="11978" y="10995"/>
                        </a:lnTo>
                        <a:lnTo>
                          <a:pt x="12043" y="11033"/>
                        </a:lnTo>
                        <a:lnTo>
                          <a:pt x="12052" y="11041"/>
                        </a:lnTo>
                        <a:lnTo>
                          <a:pt x="12062" y="11056"/>
                        </a:lnTo>
                        <a:lnTo>
                          <a:pt x="12080" y="11056"/>
                        </a:lnTo>
                        <a:lnTo>
                          <a:pt x="12099" y="11010"/>
                        </a:lnTo>
                        <a:lnTo>
                          <a:pt x="12118" y="11010"/>
                        </a:lnTo>
                        <a:lnTo>
                          <a:pt x="12118" y="11002"/>
                        </a:lnTo>
                        <a:lnTo>
                          <a:pt x="12136" y="10979"/>
                        </a:lnTo>
                        <a:lnTo>
                          <a:pt x="12136" y="10971"/>
                        </a:lnTo>
                        <a:lnTo>
                          <a:pt x="12155" y="10933"/>
                        </a:lnTo>
                        <a:lnTo>
                          <a:pt x="12174" y="10918"/>
                        </a:lnTo>
                        <a:lnTo>
                          <a:pt x="12435" y="10918"/>
                        </a:lnTo>
                        <a:lnTo>
                          <a:pt x="12435" y="10910"/>
                        </a:lnTo>
                        <a:lnTo>
                          <a:pt x="12435" y="11118"/>
                        </a:lnTo>
                        <a:lnTo>
                          <a:pt x="12435" y="11125"/>
                        </a:lnTo>
                        <a:lnTo>
                          <a:pt x="12435" y="11149"/>
                        </a:lnTo>
                        <a:lnTo>
                          <a:pt x="12435" y="11156"/>
                        </a:lnTo>
                        <a:lnTo>
                          <a:pt x="12416" y="11164"/>
                        </a:lnTo>
                        <a:lnTo>
                          <a:pt x="12463" y="11218"/>
                        </a:lnTo>
                        <a:lnTo>
                          <a:pt x="12472" y="11226"/>
                        </a:lnTo>
                        <a:lnTo>
                          <a:pt x="12491" y="11249"/>
                        </a:lnTo>
                        <a:lnTo>
                          <a:pt x="12500" y="11256"/>
                        </a:lnTo>
                        <a:lnTo>
                          <a:pt x="12566" y="11318"/>
                        </a:lnTo>
                        <a:lnTo>
                          <a:pt x="12566" y="11333"/>
                        </a:lnTo>
                        <a:lnTo>
                          <a:pt x="12575" y="11349"/>
                        </a:lnTo>
                        <a:lnTo>
                          <a:pt x="12584" y="11379"/>
                        </a:lnTo>
                        <a:lnTo>
                          <a:pt x="12603" y="11426"/>
                        </a:lnTo>
                        <a:lnTo>
                          <a:pt x="12640" y="11464"/>
                        </a:lnTo>
                        <a:lnTo>
                          <a:pt x="12650" y="11495"/>
                        </a:lnTo>
                        <a:lnTo>
                          <a:pt x="12678" y="11526"/>
                        </a:lnTo>
                        <a:lnTo>
                          <a:pt x="12715" y="11587"/>
                        </a:lnTo>
                        <a:lnTo>
                          <a:pt x="12734" y="11626"/>
                        </a:lnTo>
                        <a:lnTo>
                          <a:pt x="12762" y="11657"/>
                        </a:lnTo>
                        <a:lnTo>
                          <a:pt x="12808" y="11718"/>
                        </a:lnTo>
                        <a:lnTo>
                          <a:pt x="12827" y="11734"/>
                        </a:lnTo>
                        <a:lnTo>
                          <a:pt x="12827" y="11741"/>
                        </a:lnTo>
                        <a:lnTo>
                          <a:pt x="12864" y="11803"/>
                        </a:lnTo>
                        <a:lnTo>
                          <a:pt x="12902" y="11834"/>
                        </a:lnTo>
                        <a:lnTo>
                          <a:pt x="12902" y="11841"/>
                        </a:lnTo>
                        <a:lnTo>
                          <a:pt x="12911" y="11857"/>
                        </a:lnTo>
                        <a:lnTo>
                          <a:pt x="12958" y="11903"/>
                        </a:lnTo>
                        <a:lnTo>
                          <a:pt x="12986" y="11926"/>
                        </a:lnTo>
                        <a:lnTo>
                          <a:pt x="12995" y="11949"/>
                        </a:lnTo>
                        <a:lnTo>
                          <a:pt x="13023" y="11957"/>
                        </a:lnTo>
                        <a:lnTo>
                          <a:pt x="13023" y="11965"/>
                        </a:lnTo>
                        <a:lnTo>
                          <a:pt x="13033" y="11980"/>
                        </a:lnTo>
                        <a:lnTo>
                          <a:pt x="13033" y="11995"/>
                        </a:lnTo>
                        <a:lnTo>
                          <a:pt x="13051" y="12049"/>
                        </a:lnTo>
                        <a:lnTo>
                          <a:pt x="13061" y="12072"/>
                        </a:lnTo>
                        <a:lnTo>
                          <a:pt x="13061" y="12088"/>
                        </a:lnTo>
                        <a:lnTo>
                          <a:pt x="13098" y="12180"/>
                        </a:lnTo>
                        <a:lnTo>
                          <a:pt x="13098" y="12196"/>
                        </a:lnTo>
                        <a:lnTo>
                          <a:pt x="13107" y="12203"/>
                        </a:lnTo>
                        <a:lnTo>
                          <a:pt x="13126" y="12226"/>
                        </a:lnTo>
                        <a:lnTo>
                          <a:pt x="13126" y="12234"/>
                        </a:lnTo>
                        <a:lnTo>
                          <a:pt x="13126" y="12257"/>
                        </a:lnTo>
                        <a:lnTo>
                          <a:pt x="13126" y="12265"/>
                        </a:lnTo>
                        <a:lnTo>
                          <a:pt x="13145" y="12288"/>
                        </a:lnTo>
                        <a:lnTo>
                          <a:pt x="13173" y="12273"/>
                        </a:lnTo>
                        <a:lnTo>
                          <a:pt x="13182" y="12273"/>
                        </a:lnTo>
                        <a:lnTo>
                          <a:pt x="13247" y="12234"/>
                        </a:lnTo>
                        <a:lnTo>
                          <a:pt x="13369" y="12111"/>
                        </a:lnTo>
                        <a:lnTo>
                          <a:pt x="13387" y="12103"/>
                        </a:lnTo>
                        <a:lnTo>
                          <a:pt x="13397" y="12088"/>
                        </a:lnTo>
                        <a:lnTo>
                          <a:pt x="13406" y="12088"/>
                        </a:lnTo>
                        <a:lnTo>
                          <a:pt x="13425" y="12088"/>
                        </a:lnTo>
                        <a:lnTo>
                          <a:pt x="13462" y="12088"/>
                        </a:lnTo>
                        <a:lnTo>
                          <a:pt x="13499" y="12072"/>
                        </a:lnTo>
                        <a:lnTo>
                          <a:pt x="13518" y="11980"/>
                        </a:lnTo>
                        <a:lnTo>
                          <a:pt x="13537" y="11926"/>
                        </a:lnTo>
                        <a:lnTo>
                          <a:pt x="13537" y="11903"/>
                        </a:lnTo>
                        <a:lnTo>
                          <a:pt x="13546" y="11865"/>
                        </a:lnTo>
                        <a:lnTo>
                          <a:pt x="13593" y="11841"/>
                        </a:lnTo>
                        <a:lnTo>
                          <a:pt x="13611" y="11803"/>
                        </a:lnTo>
                        <a:lnTo>
                          <a:pt x="13621" y="11780"/>
                        </a:lnTo>
                        <a:lnTo>
                          <a:pt x="13621" y="11718"/>
                        </a:lnTo>
                        <a:lnTo>
                          <a:pt x="13621" y="11703"/>
                        </a:lnTo>
                        <a:lnTo>
                          <a:pt x="13630" y="11672"/>
                        </a:lnTo>
                        <a:lnTo>
                          <a:pt x="13658" y="11649"/>
                        </a:lnTo>
                        <a:lnTo>
                          <a:pt x="13761" y="11618"/>
                        </a:lnTo>
                        <a:lnTo>
                          <a:pt x="13817" y="11587"/>
                        </a:lnTo>
                        <a:lnTo>
                          <a:pt x="13835" y="11587"/>
                        </a:lnTo>
                        <a:lnTo>
                          <a:pt x="13854" y="11564"/>
                        </a:lnTo>
                        <a:lnTo>
                          <a:pt x="13873" y="11549"/>
                        </a:lnTo>
                        <a:lnTo>
                          <a:pt x="13882" y="11533"/>
                        </a:lnTo>
                        <a:lnTo>
                          <a:pt x="13919" y="11503"/>
                        </a:lnTo>
                        <a:lnTo>
                          <a:pt x="13929" y="11487"/>
                        </a:lnTo>
                        <a:lnTo>
                          <a:pt x="13947" y="11487"/>
                        </a:lnTo>
                        <a:lnTo>
                          <a:pt x="13966" y="11464"/>
                        </a:lnTo>
                        <a:lnTo>
                          <a:pt x="13966" y="11456"/>
                        </a:lnTo>
                        <a:lnTo>
                          <a:pt x="13994" y="11433"/>
                        </a:lnTo>
                        <a:lnTo>
                          <a:pt x="14003" y="11433"/>
                        </a:lnTo>
                        <a:lnTo>
                          <a:pt x="14022" y="11433"/>
                        </a:lnTo>
                        <a:lnTo>
                          <a:pt x="14031" y="11433"/>
                        </a:lnTo>
                        <a:lnTo>
                          <a:pt x="14041" y="11441"/>
                        </a:lnTo>
                        <a:lnTo>
                          <a:pt x="14041" y="11456"/>
                        </a:lnTo>
                        <a:lnTo>
                          <a:pt x="14078" y="11503"/>
                        </a:lnTo>
                        <a:lnTo>
                          <a:pt x="14097" y="11526"/>
                        </a:lnTo>
                        <a:lnTo>
                          <a:pt x="14097" y="11533"/>
                        </a:lnTo>
                        <a:lnTo>
                          <a:pt x="14106" y="11549"/>
                        </a:lnTo>
                        <a:lnTo>
                          <a:pt x="14115" y="11564"/>
                        </a:lnTo>
                        <a:lnTo>
                          <a:pt x="14143" y="11641"/>
                        </a:lnTo>
                        <a:lnTo>
                          <a:pt x="14153" y="11672"/>
                        </a:lnTo>
                        <a:lnTo>
                          <a:pt x="14171" y="11680"/>
                        </a:lnTo>
                        <a:lnTo>
                          <a:pt x="14181" y="11703"/>
                        </a:lnTo>
                        <a:lnTo>
                          <a:pt x="14190" y="11703"/>
                        </a:lnTo>
                        <a:lnTo>
                          <a:pt x="14209" y="11703"/>
                        </a:lnTo>
                        <a:lnTo>
                          <a:pt x="14218" y="11703"/>
                        </a:lnTo>
                        <a:lnTo>
                          <a:pt x="14246" y="11803"/>
                        </a:lnTo>
                        <a:lnTo>
                          <a:pt x="14255" y="11826"/>
                        </a:lnTo>
                        <a:lnTo>
                          <a:pt x="14265" y="11834"/>
                        </a:lnTo>
                        <a:lnTo>
                          <a:pt x="14302" y="11903"/>
                        </a:lnTo>
                        <a:lnTo>
                          <a:pt x="14302" y="11926"/>
                        </a:lnTo>
                        <a:lnTo>
                          <a:pt x="14321" y="11949"/>
                        </a:lnTo>
                        <a:lnTo>
                          <a:pt x="14321" y="11957"/>
                        </a:lnTo>
                        <a:lnTo>
                          <a:pt x="14330" y="11995"/>
                        </a:lnTo>
                        <a:lnTo>
                          <a:pt x="14330" y="12011"/>
                        </a:lnTo>
                        <a:lnTo>
                          <a:pt x="14330" y="12019"/>
                        </a:lnTo>
                        <a:lnTo>
                          <a:pt x="14396" y="12072"/>
                        </a:lnTo>
                        <a:lnTo>
                          <a:pt x="14414" y="12111"/>
                        </a:lnTo>
                        <a:lnTo>
                          <a:pt x="14433" y="12119"/>
                        </a:lnTo>
                        <a:lnTo>
                          <a:pt x="14452" y="12211"/>
                        </a:lnTo>
                        <a:lnTo>
                          <a:pt x="14452" y="12234"/>
                        </a:lnTo>
                        <a:lnTo>
                          <a:pt x="14470" y="12265"/>
                        </a:lnTo>
                        <a:lnTo>
                          <a:pt x="14470" y="12296"/>
                        </a:lnTo>
                        <a:lnTo>
                          <a:pt x="14480" y="12334"/>
                        </a:lnTo>
                        <a:lnTo>
                          <a:pt x="14489" y="12357"/>
                        </a:lnTo>
                        <a:lnTo>
                          <a:pt x="14582" y="12396"/>
                        </a:lnTo>
                        <a:lnTo>
                          <a:pt x="14601" y="12411"/>
                        </a:lnTo>
                        <a:lnTo>
                          <a:pt x="14638" y="12427"/>
                        </a:lnTo>
                        <a:lnTo>
                          <a:pt x="14657" y="12442"/>
                        </a:lnTo>
                        <a:lnTo>
                          <a:pt x="14713" y="12511"/>
                        </a:lnTo>
                        <a:lnTo>
                          <a:pt x="14741" y="12550"/>
                        </a:lnTo>
                        <a:lnTo>
                          <a:pt x="14750" y="12596"/>
                        </a:lnTo>
                        <a:lnTo>
                          <a:pt x="14750" y="12611"/>
                        </a:lnTo>
                        <a:lnTo>
                          <a:pt x="14788" y="12688"/>
                        </a:lnTo>
                        <a:lnTo>
                          <a:pt x="14806" y="12735"/>
                        </a:lnTo>
                        <a:lnTo>
                          <a:pt x="14890" y="12935"/>
                        </a:lnTo>
                        <a:lnTo>
                          <a:pt x="14918" y="12996"/>
                        </a:lnTo>
                        <a:lnTo>
                          <a:pt x="14956" y="13058"/>
                        </a:lnTo>
                        <a:lnTo>
                          <a:pt x="14993" y="13150"/>
                        </a:lnTo>
                        <a:lnTo>
                          <a:pt x="15049" y="13250"/>
                        </a:lnTo>
                        <a:lnTo>
                          <a:pt x="15086" y="13335"/>
                        </a:lnTo>
                        <a:lnTo>
                          <a:pt x="15105" y="13366"/>
                        </a:lnTo>
                        <a:lnTo>
                          <a:pt x="15114" y="13397"/>
                        </a:lnTo>
                        <a:lnTo>
                          <a:pt x="15124" y="13427"/>
                        </a:lnTo>
                        <a:lnTo>
                          <a:pt x="15142" y="13458"/>
                        </a:lnTo>
                        <a:lnTo>
                          <a:pt x="15152" y="13535"/>
                        </a:lnTo>
                        <a:lnTo>
                          <a:pt x="15161" y="13566"/>
                        </a:lnTo>
                        <a:lnTo>
                          <a:pt x="15180" y="13566"/>
                        </a:lnTo>
                        <a:lnTo>
                          <a:pt x="15189" y="13566"/>
                        </a:lnTo>
                        <a:lnTo>
                          <a:pt x="15217" y="13674"/>
                        </a:lnTo>
                        <a:lnTo>
                          <a:pt x="15226" y="13705"/>
                        </a:lnTo>
                        <a:lnTo>
                          <a:pt x="15236" y="13743"/>
                        </a:lnTo>
                        <a:lnTo>
                          <a:pt x="15292" y="13859"/>
                        </a:lnTo>
                        <a:lnTo>
                          <a:pt x="15338" y="13920"/>
                        </a:lnTo>
                        <a:lnTo>
                          <a:pt x="15338" y="13928"/>
                        </a:lnTo>
                        <a:lnTo>
                          <a:pt x="15348" y="13959"/>
                        </a:lnTo>
                        <a:lnTo>
                          <a:pt x="15348" y="13982"/>
                        </a:lnTo>
                        <a:lnTo>
                          <a:pt x="15348" y="13990"/>
                        </a:lnTo>
                        <a:lnTo>
                          <a:pt x="15366" y="13990"/>
                        </a:lnTo>
                        <a:lnTo>
                          <a:pt x="15366" y="14020"/>
                        </a:lnTo>
                        <a:lnTo>
                          <a:pt x="15348" y="14074"/>
                        </a:lnTo>
                        <a:lnTo>
                          <a:pt x="15348" y="14090"/>
                        </a:lnTo>
                        <a:lnTo>
                          <a:pt x="15348" y="14113"/>
                        </a:lnTo>
                        <a:lnTo>
                          <a:pt x="15376" y="14144"/>
                        </a:lnTo>
                        <a:lnTo>
                          <a:pt x="15441" y="14205"/>
                        </a:lnTo>
                        <a:lnTo>
                          <a:pt x="15460" y="14274"/>
                        </a:lnTo>
                        <a:lnTo>
                          <a:pt x="15460" y="14321"/>
                        </a:lnTo>
                        <a:lnTo>
                          <a:pt x="15478" y="14328"/>
                        </a:lnTo>
                        <a:lnTo>
                          <a:pt x="15478" y="14367"/>
                        </a:lnTo>
                        <a:lnTo>
                          <a:pt x="15497" y="14482"/>
                        </a:lnTo>
                        <a:lnTo>
                          <a:pt x="15534" y="14575"/>
                        </a:lnTo>
                        <a:lnTo>
                          <a:pt x="15590" y="14629"/>
                        </a:lnTo>
                        <a:lnTo>
                          <a:pt x="15628" y="14675"/>
                        </a:lnTo>
                        <a:lnTo>
                          <a:pt x="15646" y="14690"/>
                        </a:lnTo>
                        <a:lnTo>
                          <a:pt x="15674" y="14698"/>
                        </a:lnTo>
                        <a:lnTo>
                          <a:pt x="15703" y="14721"/>
                        </a:lnTo>
                        <a:lnTo>
                          <a:pt x="15721" y="14721"/>
                        </a:lnTo>
                        <a:lnTo>
                          <a:pt x="15749" y="14729"/>
                        </a:lnTo>
                        <a:lnTo>
                          <a:pt x="15759" y="14729"/>
                        </a:lnTo>
                        <a:lnTo>
                          <a:pt x="15787" y="14736"/>
                        </a:lnTo>
                        <a:lnTo>
                          <a:pt x="15815" y="14752"/>
                        </a:lnTo>
                        <a:lnTo>
                          <a:pt x="15871" y="14759"/>
                        </a:lnTo>
                        <a:lnTo>
                          <a:pt x="15899" y="14783"/>
                        </a:lnTo>
                        <a:lnTo>
                          <a:pt x="15927" y="14790"/>
                        </a:lnTo>
                        <a:lnTo>
                          <a:pt x="15945" y="14798"/>
                        </a:lnTo>
                        <a:lnTo>
                          <a:pt x="16076" y="14937"/>
                        </a:lnTo>
                        <a:lnTo>
                          <a:pt x="16160" y="15006"/>
                        </a:lnTo>
                        <a:lnTo>
                          <a:pt x="16169" y="15037"/>
                        </a:lnTo>
                        <a:lnTo>
                          <a:pt x="16197" y="15067"/>
                        </a:lnTo>
                        <a:lnTo>
                          <a:pt x="16207" y="15075"/>
                        </a:lnTo>
                        <a:lnTo>
                          <a:pt x="16337" y="15121"/>
                        </a:lnTo>
                        <a:lnTo>
                          <a:pt x="16356" y="15160"/>
                        </a:lnTo>
                        <a:lnTo>
                          <a:pt x="16384" y="15221"/>
                        </a:lnTo>
                        <a:lnTo>
                          <a:pt x="16384" y="15245"/>
                        </a:lnTo>
                        <a:lnTo>
                          <a:pt x="16384" y="15275"/>
                        </a:lnTo>
                        <a:lnTo>
                          <a:pt x="16375" y="15291"/>
                        </a:lnTo>
                        <a:lnTo>
                          <a:pt x="16347" y="15445"/>
                        </a:lnTo>
                        <a:lnTo>
                          <a:pt x="16347" y="15722"/>
                        </a:lnTo>
                        <a:lnTo>
                          <a:pt x="16347" y="15753"/>
                        </a:lnTo>
                        <a:lnTo>
                          <a:pt x="16375" y="15860"/>
                        </a:lnTo>
                        <a:lnTo>
                          <a:pt x="16384" y="15891"/>
                        </a:lnTo>
                        <a:lnTo>
                          <a:pt x="16384" y="15937"/>
                        </a:lnTo>
                        <a:lnTo>
                          <a:pt x="16375" y="15999"/>
                        </a:lnTo>
                        <a:lnTo>
                          <a:pt x="16356" y="16022"/>
                        </a:lnTo>
                        <a:lnTo>
                          <a:pt x="16347" y="16045"/>
                        </a:lnTo>
                        <a:lnTo>
                          <a:pt x="16347" y="16061"/>
                        </a:lnTo>
                        <a:lnTo>
                          <a:pt x="16337" y="16091"/>
                        </a:lnTo>
                        <a:lnTo>
                          <a:pt x="16337" y="16107"/>
                        </a:lnTo>
                        <a:lnTo>
                          <a:pt x="16319" y="16107"/>
                        </a:lnTo>
                        <a:lnTo>
                          <a:pt x="16300" y="16107"/>
                        </a:lnTo>
                        <a:lnTo>
                          <a:pt x="16272" y="16091"/>
                        </a:lnTo>
                        <a:lnTo>
                          <a:pt x="16281" y="16076"/>
                        </a:lnTo>
                        <a:lnTo>
                          <a:pt x="16263" y="16122"/>
                        </a:lnTo>
                        <a:lnTo>
                          <a:pt x="16244" y="16153"/>
                        </a:lnTo>
                        <a:lnTo>
                          <a:pt x="16225" y="16199"/>
                        </a:lnTo>
                        <a:lnTo>
                          <a:pt x="16207" y="16215"/>
                        </a:lnTo>
                        <a:lnTo>
                          <a:pt x="16169" y="16269"/>
                        </a:lnTo>
                        <a:lnTo>
                          <a:pt x="16132" y="16299"/>
                        </a:lnTo>
                        <a:lnTo>
                          <a:pt x="16095" y="16299"/>
                        </a:lnTo>
                        <a:lnTo>
                          <a:pt x="16085" y="16322"/>
                        </a:lnTo>
                        <a:lnTo>
                          <a:pt x="16057" y="16353"/>
                        </a:lnTo>
                        <a:lnTo>
                          <a:pt x="16039" y="16269"/>
                        </a:lnTo>
                        <a:lnTo>
                          <a:pt x="16020" y="16384"/>
                        </a:lnTo>
                        <a:lnTo>
                          <a:pt x="15983" y="16361"/>
                        </a:lnTo>
                        <a:lnTo>
                          <a:pt x="15973" y="16269"/>
                        </a:lnTo>
                        <a:lnTo>
                          <a:pt x="15973" y="16138"/>
                        </a:lnTo>
                        <a:lnTo>
                          <a:pt x="16020" y="16107"/>
                        </a:lnTo>
                        <a:lnTo>
                          <a:pt x="16048" y="16122"/>
                        </a:lnTo>
                        <a:lnTo>
                          <a:pt x="16085" y="16084"/>
                        </a:lnTo>
                        <a:lnTo>
                          <a:pt x="16095" y="16107"/>
                        </a:lnTo>
                        <a:lnTo>
                          <a:pt x="16113" y="16045"/>
                        </a:lnTo>
                        <a:lnTo>
                          <a:pt x="16151" y="16030"/>
                        </a:lnTo>
                        <a:lnTo>
                          <a:pt x="16123" y="15968"/>
                        </a:lnTo>
                        <a:lnTo>
                          <a:pt x="16113" y="15837"/>
                        </a:lnTo>
                        <a:lnTo>
                          <a:pt x="16085" y="15814"/>
                        </a:lnTo>
                        <a:lnTo>
                          <a:pt x="16057" y="15845"/>
                        </a:lnTo>
                        <a:lnTo>
                          <a:pt x="16020" y="15845"/>
                        </a:lnTo>
                        <a:lnTo>
                          <a:pt x="16011" y="15837"/>
                        </a:lnTo>
                        <a:lnTo>
                          <a:pt x="16001" y="15799"/>
                        </a:lnTo>
                        <a:lnTo>
                          <a:pt x="16001" y="15676"/>
                        </a:lnTo>
                        <a:lnTo>
                          <a:pt x="16011" y="15599"/>
                        </a:lnTo>
                        <a:lnTo>
                          <a:pt x="15983" y="15552"/>
                        </a:lnTo>
                        <a:lnTo>
                          <a:pt x="15983" y="15437"/>
                        </a:lnTo>
                        <a:lnTo>
                          <a:pt x="15964" y="15398"/>
                        </a:lnTo>
                        <a:lnTo>
                          <a:pt x="15945" y="15352"/>
                        </a:lnTo>
                        <a:lnTo>
                          <a:pt x="15927" y="15306"/>
                        </a:lnTo>
                        <a:lnTo>
                          <a:pt x="15899" y="15191"/>
                        </a:lnTo>
                        <a:lnTo>
                          <a:pt x="15889" y="15229"/>
                        </a:lnTo>
                        <a:lnTo>
                          <a:pt x="15899" y="15160"/>
                        </a:lnTo>
                        <a:lnTo>
                          <a:pt x="15927" y="15098"/>
                        </a:lnTo>
                        <a:lnTo>
                          <a:pt x="15899" y="15044"/>
                        </a:lnTo>
                        <a:lnTo>
                          <a:pt x="15861" y="15060"/>
                        </a:lnTo>
                        <a:lnTo>
                          <a:pt x="15833" y="15098"/>
                        </a:lnTo>
                        <a:lnTo>
                          <a:pt x="15815" y="15152"/>
                        </a:lnTo>
                        <a:lnTo>
                          <a:pt x="15777" y="15183"/>
                        </a:lnTo>
                        <a:lnTo>
                          <a:pt x="15749" y="15245"/>
                        </a:lnTo>
                        <a:lnTo>
                          <a:pt x="15721" y="15221"/>
                        </a:lnTo>
                        <a:lnTo>
                          <a:pt x="15684" y="15198"/>
                        </a:lnTo>
                        <a:lnTo>
                          <a:pt x="15646" y="15252"/>
                        </a:lnTo>
                        <a:lnTo>
                          <a:pt x="15600" y="15283"/>
                        </a:lnTo>
                        <a:lnTo>
                          <a:pt x="15609" y="15322"/>
                        </a:lnTo>
                        <a:lnTo>
                          <a:pt x="15600" y="15398"/>
                        </a:lnTo>
                        <a:lnTo>
                          <a:pt x="15590" y="15429"/>
                        </a:lnTo>
                        <a:lnTo>
                          <a:pt x="15590" y="15468"/>
                        </a:lnTo>
                        <a:lnTo>
                          <a:pt x="15553" y="15522"/>
                        </a:lnTo>
                        <a:lnTo>
                          <a:pt x="15525" y="15506"/>
                        </a:lnTo>
                        <a:lnTo>
                          <a:pt x="15525" y="15583"/>
                        </a:lnTo>
                        <a:lnTo>
                          <a:pt x="15488" y="15629"/>
                        </a:lnTo>
                        <a:lnTo>
                          <a:pt x="15460" y="15591"/>
                        </a:lnTo>
                        <a:lnTo>
                          <a:pt x="15422" y="15522"/>
                        </a:lnTo>
                        <a:lnTo>
                          <a:pt x="15404" y="15437"/>
                        </a:lnTo>
                        <a:lnTo>
                          <a:pt x="15413" y="15398"/>
                        </a:lnTo>
                        <a:lnTo>
                          <a:pt x="15450" y="15383"/>
                        </a:lnTo>
                        <a:lnTo>
                          <a:pt x="15488" y="15337"/>
                        </a:lnTo>
                        <a:lnTo>
                          <a:pt x="15497" y="15283"/>
                        </a:lnTo>
                        <a:lnTo>
                          <a:pt x="15516" y="15275"/>
                        </a:lnTo>
                        <a:lnTo>
                          <a:pt x="15525" y="15168"/>
                        </a:lnTo>
                        <a:lnTo>
                          <a:pt x="15525" y="15029"/>
                        </a:lnTo>
                        <a:lnTo>
                          <a:pt x="15562" y="14983"/>
                        </a:lnTo>
                        <a:lnTo>
                          <a:pt x="15628" y="14967"/>
                        </a:lnTo>
                        <a:lnTo>
                          <a:pt x="15703" y="14967"/>
                        </a:lnTo>
                        <a:lnTo>
                          <a:pt x="15703" y="14937"/>
                        </a:lnTo>
                        <a:lnTo>
                          <a:pt x="15562" y="14875"/>
                        </a:lnTo>
                        <a:lnTo>
                          <a:pt x="15525" y="14844"/>
                        </a:lnTo>
                        <a:lnTo>
                          <a:pt x="15497" y="14798"/>
                        </a:lnTo>
                        <a:lnTo>
                          <a:pt x="15478" y="14790"/>
                        </a:lnTo>
                        <a:lnTo>
                          <a:pt x="15441" y="14759"/>
                        </a:lnTo>
                        <a:lnTo>
                          <a:pt x="15413" y="14706"/>
                        </a:lnTo>
                        <a:lnTo>
                          <a:pt x="15385" y="14659"/>
                        </a:lnTo>
                        <a:lnTo>
                          <a:pt x="15385" y="14598"/>
                        </a:lnTo>
                        <a:lnTo>
                          <a:pt x="15385" y="14482"/>
                        </a:lnTo>
                        <a:lnTo>
                          <a:pt x="15376" y="14482"/>
                        </a:lnTo>
                        <a:lnTo>
                          <a:pt x="15366" y="14475"/>
                        </a:lnTo>
                        <a:lnTo>
                          <a:pt x="15310" y="14459"/>
                        </a:lnTo>
                        <a:lnTo>
                          <a:pt x="15301" y="14428"/>
                        </a:lnTo>
                        <a:lnTo>
                          <a:pt x="15301" y="14382"/>
                        </a:lnTo>
                        <a:lnTo>
                          <a:pt x="15273" y="14351"/>
                        </a:lnTo>
                        <a:lnTo>
                          <a:pt x="15180" y="14328"/>
                        </a:lnTo>
                        <a:lnTo>
                          <a:pt x="15152" y="14298"/>
                        </a:lnTo>
                        <a:lnTo>
                          <a:pt x="15152" y="14274"/>
                        </a:lnTo>
                        <a:lnTo>
                          <a:pt x="15124" y="14236"/>
                        </a:lnTo>
                        <a:lnTo>
                          <a:pt x="15105" y="14213"/>
                        </a:lnTo>
                        <a:lnTo>
                          <a:pt x="15086" y="14167"/>
                        </a:lnTo>
                        <a:lnTo>
                          <a:pt x="15077" y="14120"/>
                        </a:lnTo>
                        <a:lnTo>
                          <a:pt x="15189" y="14236"/>
                        </a:lnTo>
                        <a:lnTo>
                          <a:pt x="15198" y="14267"/>
                        </a:lnTo>
                        <a:lnTo>
                          <a:pt x="15161" y="14151"/>
                        </a:lnTo>
                        <a:lnTo>
                          <a:pt x="15161" y="14074"/>
                        </a:lnTo>
                        <a:lnTo>
                          <a:pt x="15124" y="14074"/>
                        </a:lnTo>
                        <a:lnTo>
                          <a:pt x="15086" y="14113"/>
                        </a:lnTo>
                        <a:lnTo>
                          <a:pt x="15068" y="14113"/>
                        </a:lnTo>
                        <a:lnTo>
                          <a:pt x="15030" y="14074"/>
                        </a:lnTo>
                        <a:lnTo>
                          <a:pt x="15012" y="14028"/>
                        </a:lnTo>
                        <a:lnTo>
                          <a:pt x="15002" y="14020"/>
                        </a:lnTo>
                        <a:lnTo>
                          <a:pt x="14974" y="14013"/>
                        </a:lnTo>
                        <a:lnTo>
                          <a:pt x="14965" y="14043"/>
                        </a:lnTo>
                        <a:lnTo>
                          <a:pt x="14928" y="14059"/>
                        </a:lnTo>
                        <a:lnTo>
                          <a:pt x="14881" y="13990"/>
                        </a:lnTo>
                        <a:lnTo>
                          <a:pt x="14862" y="13959"/>
                        </a:lnTo>
                        <a:lnTo>
                          <a:pt x="14881" y="13897"/>
                        </a:lnTo>
                        <a:lnTo>
                          <a:pt x="14937" y="13889"/>
                        </a:lnTo>
                        <a:lnTo>
                          <a:pt x="14993" y="13889"/>
                        </a:lnTo>
                        <a:lnTo>
                          <a:pt x="15030" y="13836"/>
                        </a:lnTo>
                        <a:lnTo>
                          <a:pt x="15002" y="13836"/>
                        </a:lnTo>
                        <a:lnTo>
                          <a:pt x="14928" y="13843"/>
                        </a:lnTo>
                        <a:lnTo>
                          <a:pt x="14890" y="13812"/>
                        </a:lnTo>
                        <a:lnTo>
                          <a:pt x="14890" y="13797"/>
                        </a:lnTo>
                        <a:lnTo>
                          <a:pt x="14918" y="13751"/>
                        </a:lnTo>
                        <a:lnTo>
                          <a:pt x="14900" y="13735"/>
                        </a:lnTo>
                        <a:lnTo>
                          <a:pt x="14862" y="13720"/>
                        </a:lnTo>
                        <a:lnTo>
                          <a:pt x="14862" y="13651"/>
                        </a:lnTo>
                        <a:lnTo>
                          <a:pt x="14900" y="13620"/>
                        </a:lnTo>
                        <a:lnTo>
                          <a:pt x="14900" y="13589"/>
                        </a:lnTo>
                        <a:lnTo>
                          <a:pt x="14862" y="13589"/>
                        </a:lnTo>
                        <a:lnTo>
                          <a:pt x="14816" y="13620"/>
                        </a:lnTo>
                        <a:lnTo>
                          <a:pt x="14806" y="13589"/>
                        </a:lnTo>
                        <a:lnTo>
                          <a:pt x="14806" y="13535"/>
                        </a:lnTo>
                        <a:lnTo>
                          <a:pt x="14825" y="13489"/>
                        </a:lnTo>
                        <a:lnTo>
                          <a:pt x="14862" y="13504"/>
                        </a:lnTo>
                        <a:lnTo>
                          <a:pt x="14937" y="13581"/>
                        </a:lnTo>
                        <a:lnTo>
                          <a:pt x="14993" y="13597"/>
                        </a:lnTo>
                        <a:lnTo>
                          <a:pt x="15012" y="13628"/>
                        </a:lnTo>
                        <a:lnTo>
                          <a:pt x="15040" y="13674"/>
                        </a:lnTo>
                        <a:lnTo>
                          <a:pt x="15049" y="13689"/>
                        </a:lnTo>
                        <a:lnTo>
                          <a:pt x="15077" y="13689"/>
                        </a:lnTo>
                        <a:lnTo>
                          <a:pt x="15068" y="13682"/>
                        </a:lnTo>
                        <a:lnTo>
                          <a:pt x="15049" y="13651"/>
                        </a:lnTo>
                        <a:lnTo>
                          <a:pt x="15012" y="13612"/>
                        </a:lnTo>
                        <a:lnTo>
                          <a:pt x="15002" y="13520"/>
                        </a:lnTo>
                        <a:lnTo>
                          <a:pt x="14974" y="13489"/>
                        </a:lnTo>
                        <a:lnTo>
                          <a:pt x="14974" y="13528"/>
                        </a:lnTo>
                        <a:lnTo>
                          <a:pt x="14937" y="13497"/>
                        </a:lnTo>
                        <a:lnTo>
                          <a:pt x="14862" y="13397"/>
                        </a:lnTo>
                        <a:lnTo>
                          <a:pt x="14853" y="13335"/>
                        </a:lnTo>
                        <a:lnTo>
                          <a:pt x="14881" y="13289"/>
                        </a:lnTo>
                        <a:lnTo>
                          <a:pt x="14965" y="13312"/>
                        </a:lnTo>
                        <a:lnTo>
                          <a:pt x="14993" y="13289"/>
                        </a:lnTo>
                        <a:lnTo>
                          <a:pt x="14956" y="13274"/>
                        </a:lnTo>
                        <a:lnTo>
                          <a:pt x="14890" y="13258"/>
                        </a:lnTo>
                        <a:lnTo>
                          <a:pt x="14806" y="13258"/>
                        </a:lnTo>
                        <a:lnTo>
                          <a:pt x="14806" y="13274"/>
                        </a:lnTo>
                        <a:lnTo>
                          <a:pt x="14806" y="13335"/>
                        </a:lnTo>
                        <a:lnTo>
                          <a:pt x="14769" y="13381"/>
                        </a:lnTo>
                        <a:lnTo>
                          <a:pt x="14741" y="13343"/>
                        </a:lnTo>
                        <a:lnTo>
                          <a:pt x="14732" y="13258"/>
                        </a:lnTo>
                        <a:lnTo>
                          <a:pt x="14732" y="13212"/>
                        </a:lnTo>
                        <a:lnTo>
                          <a:pt x="14778" y="13212"/>
                        </a:lnTo>
                        <a:lnTo>
                          <a:pt x="14806" y="13166"/>
                        </a:lnTo>
                        <a:lnTo>
                          <a:pt x="14862" y="13127"/>
                        </a:lnTo>
                        <a:lnTo>
                          <a:pt x="14844" y="13089"/>
                        </a:lnTo>
                        <a:lnTo>
                          <a:pt x="14816" y="13127"/>
                        </a:lnTo>
                        <a:lnTo>
                          <a:pt x="14778" y="13150"/>
                        </a:lnTo>
                        <a:lnTo>
                          <a:pt x="14769" y="13120"/>
                        </a:lnTo>
                        <a:lnTo>
                          <a:pt x="14788" y="13066"/>
                        </a:lnTo>
                        <a:lnTo>
                          <a:pt x="14816" y="13004"/>
                        </a:lnTo>
                        <a:lnTo>
                          <a:pt x="14769" y="13012"/>
                        </a:lnTo>
                        <a:lnTo>
                          <a:pt x="14741" y="13035"/>
                        </a:lnTo>
                        <a:lnTo>
                          <a:pt x="14713" y="13120"/>
                        </a:lnTo>
                        <a:lnTo>
                          <a:pt x="14694" y="13166"/>
                        </a:lnTo>
                        <a:lnTo>
                          <a:pt x="14638" y="13135"/>
                        </a:lnTo>
                        <a:lnTo>
                          <a:pt x="14629" y="13120"/>
                        </a:lnTo>
                        <a:lnTo>
                          <a:pt x="14629" y="13066"/>
                        </a:lnTo>
                        <a:lnTo>
                          <a:pt x="14601" y="13035"/>
                        </a:lnTo>
                        <a:lnTo>
                          <a:pt x="14601" y="12973"/>
                        </a:lnTo>
                        <a:lnTo>
                          <a:pt x="14592" y="12935"/>
                        </a:lnTo>
                        <a:lnTo>
                          <a:pt x="14564" y="12935"/>
                        </a:lnTo>
                        <a:lnTo>
                          <a:pt x="14526" y="12973"/>
                        </a:lnTo>
                        <a:lnTo>
                          <a:pt x="14489" y="12919"/>
                        </a:lnTo>
                        <a:lnTo>
                          <a:pt x="14452" y="12881"/>
                        </a:lnTo>
                        <a:lnTo>
                          <a:pt x="14433" y="12850"/>
                        </a:lnTo>
                        <a:lnTo>
                          <a:pt x="14396" y="12819"/>
                        </a:lnTo>
                        <a:lnTo>
                          <a:pt x="14330" y="12796"/>
                        </a:lnTo>
                        <a:lnTo>
                          <a:pt x="14302" y="12788"/>
                        </a:lnTo>
                        <a:lnTo>
                          <a:pt x="14283" y="12735"/>
                        </a:lnTo>
                        <a:lnTo>
                          <a:pt x="14246" y="12634"/>
                        </a:lnTo>
                        <a:lnTo>
                          <a:pt x="14209" y="12581"/>
                        </a:lnTo>
                        <a:lnTo>
                          <a:pt x="14227" y="12519"/>
                        </a:lnTo>
                        <a:lnTo>
                          <a:pt x="14209" y="12396"/>
                        </a:lnTo>
                        <a:lnTo>
                          <a:pt x="14181" y="12411"/>
                        </a:lnTo>
                        <a:lnTo>
                          <a:pt x="14171" y="12427"/>
                        </a:lnTo>
                        <a:lnTo>
                          <a:pt x="14153" y="12350"/>
                        </a:lnTo>
                        <a:lnTo>
                          <a:pt x="14097" y="12072"/>
                        </a:lnTo>
                        <a:lnTo>
                          <a:pt x="14031" y="11926"/>
                        </a:lnTo>
                        <a:lnTo>
                          <a:pt x="14022" y="11803"/>
                        </a:lnTo>
                        <a:lnTo>
                          <a:pt x="13985" y="11888"/>
                        </a:lnTo>
                        <a:lnTo>
                          <a:pt x="13994" y="11918"/>
                        </a:lnTo>
                        <a:lnTo>
                          <a:pt x="14031" y="12019"/>
                        </a:lnTo>
                        <a:lnTo>
                          <a:pt x="14022" y="12057"/>
                        </a:lnTo>
                        <a:lnTo>
                          <a:pt x="13994" y="12019"/>
                        </a:lnTo>
                        <a:lnTo>
                          <a:pt x="14003" y="12088"/>
                        </a:lnTo>
                        <a:lnTo>
                          <a:pt x="14031" y="12173"/>
                        </a:lnTo>
                        <a:lnTo>
                          <a:pt x="14031" y="12226"/>
                        </a:lnTo>
                        <a:lnTo>
                          <a:pt x="14059" y="12296"/>
                        </a:lnTo>
                        <a:lnTo>
                          <a:pt x="14097" y="12411"/>
                        </a:lnTo>
                        <a:lnTo>
                          <a:pt x="14106" y="12534"/>
                        </a:lnTo>
                        <a:lnTo>
                          <a:pt x="14115" y="12604"/>
                        </a:lnTo>
                        <a:lnTo>
                          <a:pt x="14115" y="12581"/>
                        </a:lnTo>
                        <a:lnTo>
                          <a:pt x="14171" y="12750"/>
                        </a:lnTo>
                        <a:lnTo>
                          <a:pt x="14171" y="12819"/>
                        </a:lnTo>
                        <a:lnTo>
                          <a:pt x="14134" y="12935"/>
                        </a:lnTo>
                        <a:lnTo>
                          <a:pt x="14106" y="12973"/>
                        </a:lnTo>
                        <a:lnTo>
                          <a:pt x="14041" y="12950"/>
                        </a:lnTo>
                        <a:lnTo>
                          <a:pt x="14031" y="12873"/>
                        </a:lnTo>
                        <a:lnTo>
                          <a:pt x="14003" y="12750"/>
                        </a:lnTo>
                        <a:lnTo>
                          <a:pt x="13966" y="12696"/>
                        </a:lnTo>
                        <a:lnTo>
                          <a:pt x="13966" y="12796"/>
                        </a:lnTo>
                        <a:lnTo>
                          <a:pt x="13929" y="12788"/>
                        </a:lnTo>
                        <a:lnTo>
                          <a:pt x="13817" y="12788"/>
                        </a:lnTo>
                        <a:lnTo>
                          <a:pt x="13835" y="12727"/>
                        </a:lnTo>
                        <a:lnTo>
                          <a:pt x="13817" y="12627"/>
                        </a:lnTo>
                        <a:lnTo>
                          <a:pt x="13845" y="12611"/>
                        </a:lnTo>
                        <a:lnTo>
                          <a:pt x="13807" y="12573"/>
                        </a:lnTo>
                        <a:lnTo>
                          <a:pt x="13761" y="12457"/>
                        </a:lnTo>
                        <a:lnTo>
                          <a:pt x="13761" y="12357"/>
                        </a:lnTo>
                        <a:lnTo>
                          <a:pt x="13770" y="12334"/>
                        </a:lnTo>
                        <a:lnTo>
                          <a:pt x="13733" y="12265"/>
                        </a:lnTo>
                        <a:lnTo>
                          <a:pt x="13705" y="12273"/>
                        </a:lnTo>
                        <a:lnTo>
                          <a:pt x="13695" y="12396"/>
                        </a:lnTo>
                        <a:lnTo>
                          <a:pt x="13649" y="12419"/>
                        </a:lnTo>
                        <a:lnTo>
                          <a:pt x="13583" y="12357"/>
                        </a:lnTo>
                        <a:lnTo>
                          <a:pt x="13537" y="12273"/>
                        </a:lnTo>
                        <a:lnTo>
                          <a:pt x="13518" y="12226"/>
                        </a:lnTo>
                        <a:lnTo>
                          <a:pt x="13499" y="12211"/>
                        </a:lnTo>
                        <a:lnTo>
                          <a:pt x="13499" y="12265"/>
                        </a:lnTo>
                        <a:lnTo>
                          <a:pt x="13471" y="12288"/>
                        </a:lnTo>
                        <a:lnTo>
                          <a:pt x="13425" y="12242"/>
                        </a:lnTo>
                        <a:lnTo>
                          <a:pt x="13369" y="12180"/>
                        </a:lnTo>
                        <a:lnTo>
                          <a:pt x="13397" y="12242"/>
                        </a:lnTo>
                        <a:lnTo>
                          <a:pt x="13387" y="12288"/>
                        </a:lnTo>
                        <a:lnTo>
                          <a:pt x="13331" y="12288"/>
                        </a:lnTo>
                        <a:lnTo>
                          <a:pt x="13331" y="12303"/>
                        </a:lnTo>
                        <a:lnTo>
                          <a:pt x="13425" y="12303"/>
                        </a:lnTo>
                        <a:lnTo>
                          <a:pt x="13499" y="12365"/>
                        </a:lnTo>
                        <a:lnTo>
                          <a:pt x="13509" y="12419"/>
                        </a:lnTo>
                        <a:lnTo>
                          <a:pt x="13499" y="12427"/>
                        </a:lnTo>
                        <a:lnTo>
                          <a:pt x="13583" y="12504"/>
                        </a:lnTo>
                        <a:lnTo>
                          <a:pt x="13583" y="12550"/>
                        </a:lnTo>
                        <a:lnTo>
                          <a:pt x="13611" y="12573"/>
                        </a:lnTo>
                        <a:lnTo>
                          <a:pt x="13630" y="12550"/>
                        </a:lnTo>
                        <a:lnTo>
                          <a:pt x="13658" y="12550"/>
                        </a:lnTo>
                        <a:lnTo>
                          <a:pt x="13695" y="12611"/>
                        </a:lnTo>
                        <a:lnTo>
                          <a:pt x="13723" y="12688"/>
                        </a:lnTo>
                        <a:lnTo>
                          <a:pt x="13733" y="12735"/>
                        </a:lnTo>
                        <a:lnTo>
                          <a:pt x="13723" y="12819"/>
                        </a:lnTo>
                        <a:lnTo>
                          <a:pt x="13667" y="12850"/>
                        </a:lnTo>
                        <a:lnTo>
                          <a:pt x="13583" y="12873"/>
                        </a:lnTo>
                        <a:lnTo>
                          <a:pt x="13574" y="12812"/>
                        </a:lnTo>
                        <a:lnTo>
                          <a:pt x="13574" y="12819"/>
                        </a:lnTo>
                        <a:lnTo>
                          <a:pt x="13574" y="12912"/>
                        </a:lnTo>
                        <a:lnTo>
                          <a:pt x="13537" y="12935"/>
                        </a:lnTo>
                        <a:lnTo>
                          <a:pt x="13499" y="12942"/>
                        </a:lnTo>
                        <a:lnTo>
                          <a:pt x="13462" y="12912"/>
                        </a:lnTo>
                        <a:lnTo>
                          <a:pt x="13397" y="12842"/>
                        </a:lnTo>
                        <a:lnTo>
                          <a:pt x="13331" y="12781"/>
                        </a:lnTo>
                        <a:lnTo>
                          <a:pt x="13285" y="12765"/>
                        </a:lnTo>
                        <a:lnTo>
                          <a:pt x="13238" y="12750"/>
                        </a:lnTo>
                        <a:lnTo>
                          <a:pt x="13182" y="12673"/>
                        </a:lnTo>
                        <a:lnTo>
                          <a:pt x="13135" y="12634"/>
                        </a:lnTo>
                        <a:lnTo>
                          <a:pt x="13070" y="12611"/>
                        </a:lnTo>
                        <a:lnTo>
                          <a:pt x="13098" y="12542"/>
                        </a:lnTo>
                        <a:lnTo>
                          <a:pt x="13107" y="12504"/>
                        </a:lnTo>
                        <a:lnTo>
                          <a:pt x="13070" y="12488"/>
                        </a:lnTo>
                        <a:lnTo>
                          <a:pt x="13033" y="12511"/>
                        </a:lnTo>
                        <a:lnTo>
                          <a:pt x="13023" y="12504"/>
                        </a:lnTo>
                        <a:lnTo>
                          <a:pt x="12995" y="12473"/>
                        </a:lnTo>
                        <a:lnTo>
                          <a:pt x="12948" y="12411"/>
                        </a:lnTo>
                        <a:lnTo>
                          <a:pt x="12902" y="12303"/>
                        </a:lnTo>
                        <a:lnTo>
                          <a:pt x="12864" y="12257"/>
                        </a:lnTo>
                        <a:lnTo>
                          <a:pt x="12827" y="12196"/>
                        </a:lnTo>
                        <a:lnTo>
                          <a:pt x="12808" y="12111"/>
                        </a:lnTo>
                        <a:lnTo>
                          <a:pt x="12836" y="12042"/>
                        </a:lnTo>
                        <a:lnTo>
                          <a:pt x="12846" y="11872"/>
                        </a:lnTo>
                        <a:lnTo>
                          <a:pt x="12883" y="11826"/>
                        </a:lnTo>
                        <a:lnTo>
                          <a:pt x="12948" y="11780"/>
                        </a:lnTo>
                        <a:lnTo>
                          <a:pt x="13023" y="11711"/>
                        </a:lnTo>
                        <a:lnTo>
                          <a:pt x="13014" y="11672"/>
                        </a:lnTo>
                        <a:lnTo>
                          <a:pt x="12883" y="11580"/>
                        </a:lnTo>
                        <a:lnTo>
                          <a:pt x="12939" y="11641"/>
                        </a:lnTo>
                        <a:lnTo>
                          <a:pt x="12977" y="11680"/>
                        </a:lnTo>
                        <a:lnTo>
                          <a:pt x="12948" y="11718"/>
                        </a:lnTo>
                        <a:lnTo>
                          <a:pt x="12911" y="11718"/>
                        </a:lnTo>
                        <a:lnTo>
                          <a:pt x="12864" y="11703"/>
                        </a:lnTo>
                        <a:lnTo>
                          <a:pt x="12836" y="11764"/>
                        </a:lnTo>
                        <a:lnTo>
                          <a:pt x="12808" y="11811"/>
                        </a:lnTo>
                        <a:lnTo>
                          <a:pt x="12771" y="11795"/>
                        </a:lnTo>
                        <a:lnTo>
                          <a:pt x="12762" y="11803"/>
                        </a:lnTo>
                        <a:lnTo>
                          <a:pt x="12790" y="11888"/>
                        </a:lnTo>
                        <a:lnTo>
                          <a:pt x="12771" y="11980"/>
                        </a:lnTo>
                        <a:lnTo>
                          <a:pt x="12771" y="11995"/>
                        </a:lnTo>
                        <a:lnTo>
                          <a:pt x="12659" y="11988"/>
                        </a:lnTo>
                        <a:lnTo>
                          <a:pt x="12640" y="12026"/>
                        </a:lnTo>
                        <a:lnTo>
                          <a:pt x="12640" y="12072"/>
                        </a:lnTo>
                        <a:lnTo>
                          <a:pt x="12612" y="12026"/>
                        </a:lnTo>
                        <a:lnTo>
                          <a:pt x="12528" y="11934"/>
                        </a:lnTo>
                        <a:lnTo>
                          <a:pt x="12463" y="11895"/>
                        </a:lnTo>
                        <a:lnTo>
                          <a:pt x="12388" y="11865"/>
                        </a:lnTo>
                        <a:lnTo>
                          <a:pt x="12388" y="11841"/>
                        </a:lnTo>
                        <a:lnTo>
                          <a:pt x="12379" y="11826"/>
                        </a:lnTo>
                        <a:lnTo>
                          <a:pt x="12323" y="11826"/>
                        </a:lnTo>
                        <a:lnTo>
                          <a:pt x="12286" y="11803"/>
                        </a:lnTo>
                        <a:lnTo>
                          <a:pt x="12276" y="11772"/>
                        </a:lnTo>
                        <a:lnTo>
                          <a:pt x="12248" y="11764"/>
                        </a:lnTo>
                        <a:lnTo>
                          <a:pt x="12211" y="11741"/>
                        </a:lnTo>
                        <a:lnTo>
                          <a:pt x="12164" y="11734"/>
                        </a:lnTo>
                        <a:lnTo>
                          <a:pt x="12136" y="11687"/>
                        </a:lnTo>
                        <a:lnTo>
                          <a:pt x="12164" y="11657"/>
                        </a:lnTo>
                        <a:lnTo>
                          <a:pt x="12192" y="11618"/>
                        </a:lnTo>
                        <a:lnTo>
                          <a:pt x="12230" y="11610"/>
                        </a:lnTo>
                        <a:lnTo>
                          <a:pt x="12239" y="11580"/>
                        </a:lnTo>
                        <a:lnTo>
                          <a:pt x="12248" y="11526"/>
                        </a:lnTo>
                        <a:lnTo>
                          <a:pt x="12248" y="11472"/>
                        </a:lnTo>
                        <a:lnTo>
                          <a:pt x="12239" y="11441"/>
                        </a:lnTo>
                        <a:lnTo>
                          <a:pt x="12230" y="11395"/>
                        </a:lnTo>
                        <a:lnTo>
                          <a:pt x="12239" y="11333"/>
                        </a:lnTo>
                        <a:lnTo>
                          <a:pt x="12248" y="11279"/>
                        </a:lnTo>
                        <a:lnTo>
                          <a:pt x="12286" y="11226"/>
                        </a:lnTo>
                        <a:lnTo>
                          <a:pt x="12304" y="11249"/>
                        </a:lnTo>
                        <a:lnTo>
                          <a:pt x="12323" y="11310"/>
                        </a:lnTo>
                        <a:lnTo>
                          <a:pt x="12342" y="11372"/>
                        </a:lnTo>
                        <a:lnTo>
                          <a:pt x="12323" y="11426"/>
                        </a:lnTo>
                        <a:lnTo>
                          <a:pt x="12342" y="11595"/>
                        </a:lnTo>
                        <a:lnTo>
                          <a:pt x="12379" y="11649"/>
                        </a:lnTo>
                        <a:lnTo>
                          <a:pt x="12388" y="11610"/>
                        </a:lnTo>
                        <a:lnTo>
                          <a:pt x="12388" y="11533"/>
                        </a:lnTo>
                        <a:lnTo>
                          <a:pt x="12379" y="11487"/>
                        </a:lnTo>
                        <a:lnTo>
                          <a:pt x="12379" y="11426"/>
                        </a:lnTo>
                        <a:lnTo>
                          <a:pt x="12435" y="11364"/>
                        </a:lnTo>
                        <a:lnTo>
                          <a:pt x="12463" y="11349"/>
                        </a:lnTo>
                        <a:lnTo>
                          <a:pt x="12379" y="11310"/>
                        </a:lnTo>
                        <a:lnTo>
                          <a:pt x="12342" y="11272"/>
                        </a:lnTo>
                        <a:lnTo>
                          <a:pt x="12276" y="11195"/>
                        </a:lnTo>
                        <a:lnTo>
                          <a:pt x="12248" y="11133"/>
                        </a:lnTo>
                        <a:lnTo>
                          <a:pt x="12211" y="11164"/>
                        </a:lnTo>
                        <a:lnTo>
                          <a:pt x="12192" y="11241"/>
                        </a:lnTo>
                        <a:lnTo>
                          <a:pt x="12155" y="11279"/>
                        </a:lnTo>
                        <a:lnTo>
                          <a:pt x="12062" y="11410"/>
                        </a:lnTo>
                        <a:lnTo>
                          <a:pt x="12006" y="11456"/>
                        </a:lnTo>
                        <a:lnTo>
                          <a:pt x="11931" y="11487"/>
                        </a:lnTo>
                        <a:lnTo>
                          <a:pt x="11782" y="11464"/>
                        </a:lnTo>
                        <a:lnTo>
                          <a:pt x="11614" y="11426"/>
                        </a:lnTo>
                        <a:lnTo>
                          <a:pt x="11464" y="11341"/>
                        </a:lnTo>
                        <a:lnTo>
                          <a:pt x="11427" y="11310"/>
                        </a:lnTo>
                        <a:lnTo>
                          <a:pt x="11445" y="11279"/>
                        </a:lnTo>
                        <a:lnTo>
                          <a:pt x="11492" y="11256"/>
                        </a:lnTo>
                        <a:lnTo>
                          <a:pt x="11492" y="11226"/>
                        </a:lnTo>
                        <a:lnTo>
                          <a:pt x="11445" y="11187"/>
                        </a:lnTo>
                        <a:lnTo>
                          <a:pt x="11380" y="11210"/>
                        </a:lnTo>
                        <a:lnTo>
                          <a:pt x="11315" y="11249"/>
                        </a:lnTo>
                        <a:lnTo>
                          <a:pt x="11259" y="11249"/>
                        </a:lnTo>
                        <a:lnTo>
                          <a:pt x="11193" y="11226"/>
                        </a:lnTo>
                        <a:lnTo>
                          <a:pt x="11081" y="11195"/>
                        </a:lnTo>
                        <a:lnTo>
                          <a:pt x="11016" y="11187"/>
                        </a:lnTo>
                        <a:lnTo>
                          <a:pt x="10969" y="11133"/>
                        </a:lnTo>
                        <a:lnTo>
                          <a:pt x="10867" y="11118"/>
                        </a:lnTo>
                        <a:lnTo>
                          <a:pt x="10848" y="11149"/>
                        </a:lnTo>
                        <a:lnTo>
                          <a:pt x="10792" y="11118"/>
                        </a:lnTo>
                        <a:lnTo>
                          <a:pt x="10755" y="11102"/>
                        </a:lnTo>
                        <a:lnTo>
                          <a:pt x="10745" y="11164"/>
                        </a:lnTo>
                        <a:lnTo>
                          <a:pt x="10596" y="11179"/>
                        </a:lnTo>
                        <a:lnTo>
                          <a:pt x="10531" y="11179"/>
                        </a:lnTo>
                        <a:lnTo>
                          <a:pt x="10484" y="11179"/>
                        </a:lnTo>
                        <a:lnTo>
                          <a:pt x="10419" y="11195"/>
                        </a:lnTo>
                        <a:lnTo>
                          <a:pt x="10381" y="11218"/>
                        </a:lnTo>
                        <a:lnTo>
                          <a:pt x="10344" y="11218"/>
                        </a:lnTo>
                        <a:lnTo>
                          <a:pt x="10288" y="11187"/>
                        </a:lnTo>
                        <a:lnTo>
                          <a:pt x="10297" y="11156"/>
                        </a:lnTo>
                        <a:lnTo>
                          <a:pt x="10288" y="11125"/>
                        </a:lnTo>
                        <a:lnTo>
                          <a:pt x="10251" y="11056"/>
                        </a:lnTo>
                        <a:lnTo>
                          <a:pt x="10194" y="11025"/>
                        </a:lnTo>
                        <a:lnTo>
                          <a:pt x="10157" y="11025"/>
                        </a:lnTo>
                        <a:lnTo>
                          <a:pt x="10120" y="11002"/>
                        </a:lnTo>
                        <a:lnTo>
                          <a:pt x="10101" y="10995"/>
                        </a:lnTo>
                        <a:lnTo>
                          <a:pt x="10082" y="11025"/>
                        </a:lnTo>
                        <a:lnTo>
                          <a:pt x="10064" y="11002"/>
                        </a:lnTo>
                        <a:lnTo>
                          <a:pt x="10026" y="10948"/>
                        </a:lnTo>
                        <a:lnTo>
                          <a:pt x="9952" y="10902"/>
                        </a:lnTo>
                        <a:lnTo>
                          <a:pt x="9952" y="10825"/>
                        </a:lnTo>
                        <a:lnTo>
                          <a:pt x="9933" y="10764"/>
                        </a:lnTo>
                        <a:lnTo>
                          <a:pt x="9914" y="10733"/>
                        </a:lnTo>
                        <a:lnTo>
                          <a:pt x="9896" y="10733"/>
                        </a:lnTo>
                        <a:lnTo>
                          <a:pt x="9858" y="10733"/>
                        </a:lnTo>
                        <a:lnTo>
                          <a:pt x="9840" y="10764"/>
                        </a:lnTo>
                        <a:lnTo>
                          <a:pt x="9840" y="10810"/>
                        </a:lnTo>
                        <a:lnTo>
                          <a:pt x="9821" y="10841"/>
                        </a:lnTo>
                        <a:lnTo>
                          <a:pt x="9821" y="10879"/>
                        </a:lnTo>
                        <a:lnTo>
                          <a:pt x="9765" y="10887"/>
                        </a:lnTo>
                        <a:lnTo>
                          <a:pt x="9709" y="10848"/>
                        </a:lnTo>
                        <a:lnTo>
                          <a:pt x="9625" y="10748"/>
                        </a:lnTo>
                        <a:lnTo>
                          <a:pt x="9588" y="10702"/>
                        </a:lnTo>
                        <a:lnTo>
                          <a:pt x="9541" y="10687"/>
                        </a:lnTo>
                        <a:lnTo>
                          <a:pt x="9550" y="10671"/>
                        </a:lnTo>
                        <a:lnTo>
                          <a:pt x="9578" y="10625"/>
                        </a:lnTo>
                        <a:lnTo>
                          <a:pt x="9588" y="10571"/>
                        </a:lnTo>
                        <a:lnTo>
                          <a:pt x="9578" y="10548"/>
                        </a:lnTo>
                        <a:lnTo>
                          <a:pt x="9504" y="10563"/>
                        </a:lnTo>
                        <a:lnTo>
                          <a:pt x="9485" y="10540"/>
                        </a:lnTo>
                        <a:lnTo>
                          <a:pt x="9466" y="10533"/>
                        </a:lnTo>
                        <a:lnTo>
                          <a:pt x="9326" y="10571"/>
                        </a:lnTo>
                        <a:lnTo>
                          <a:pt x="9438" y="10417"/>
                        </a:lnTo>
                        <a:lnTo>
                          <a:pt x="9401" y="10394"/>
                        </a:lnTo>
                        <a:lnTo>
                          <a:pt x="9326" y="10448"/>
                        </a:lnTo>
                        <a:lnTo>
                          <a:pt x="9261" y="10517"/>
                        </a:lnTo>
                        <a:lnTo>
                          <a:pt x="9149" y="10502"/>
                        </a:lnTo>
                        <a:lnTo>
                          <a:pt x="9177" y="10479"/>
                        </a:lnTo>
                        <a:lnTo>
                          <a:pt x="9242" y="10456"/>
                        </a:lnTo>
                        <a:lnTo>
                          <a:pt x="9298" y="10417"/>
                        </a:lnTo>
                        <a:lnTo>
                          <a:pt x="9364" y="10379"/>
                        </a:lnTo>
                        <a:lnTo>
                          <a:pt x="9364" y="10325"/>
                        </a:lnTo>
                        <a:lnTo>
                          <a:pt x="9298" y="10332"/>
                        </a:lnTo>
                        <a:lnTo>
                          <a:pt x="9224" y="10386"/>
                        </a:lnTo>
                        <a:lnTo>
                          <a:pt x="9177" y="10363"/>
                        </a:lnTo>
                        <a:lnTo>
                          <a:pt x="9177" y="10294"/>
                        </a:lnTo>
                        <a:lnTo>
                          <a:pt x="9177" y="10263"/>
                        </a:lnTo>
                        <a:lnTo>
                          <a:pt x="9186" y="10225"/>
                        </a:lnTo>
                        <a:lnTo>
                          <a:pt x="9205" y="10148"/>
                        </a:lnTo>
                        <a:lnTo>
                          <a:pt x="9317" y="10132"/>
                        </a:lnTo>
                        <a:lnTo>
                          <a:pt x="9326" y="10086"/>
                        </a:lnTo>
                        <a:lnTo>
                          <a:pt x="9224" y="10086"/>
                        </a:lnTo>
                        <a:lnTo>
                          <a:pt x="9140" y="10140"/>
                        </a:lnTo>
                        <a:lnTo>
                          <a:pt x="9093" y="10232"/>
                        </a:lnTo>
                        <a:lnTo>
                          <a:pt x="9018" y="10255"/>
                        </a:lnTo>
                        <a:lnTo>
                          <a:pt x="8962" y="10232"/>
                        </a:lnTo>
                        <a:lnTo>
                          <a:pt x="8916" y="10255"/>
                        </a:lnTo>
                        <a:lnTo>
                          <a:pt x="8841" y="10255"/>
                        </a:lnTo>
                        <a:lnTo>
                          <a:pt x="8775" y="10255"/>
                        </a:lnTo>
                        <a:lnTo>
                          <a:pt x="8775" y="10178"/>
                        </a:lnTo>
                        <a:lnTo>
                          <a:pt x="8738" y="10055"/>
                        </a:lnTo>
                        <a:lnTo>
                          <a:pt x="8729" y="10148"/>
                        </a:lnTo>
                        <a:lnTo>
                          <a:pt x="8729" y="10294"/>
                        </a:lnTo>
                        <a:lnTo>
                          <a:pt x="8701" y="10332"/>
                        </a:lnTo>
                        <a:lnTo>
                          <a:pt x="8626" y="10332"/>
                        </a:lnTo>
                        <a:lnTo>
                          <a:pt x="8589" y="10294"/>
                        </a:lnTo>
                        <a:lnTo>
                          <a:pt x="8617" y="10202"/>
                        </a:lnTo>
                        <a:lnTo>
                          <a:pt x="8691" y="10055"/>
                        </a:lnTo>
                        <a:lnTo>
                          <a:pt x="8691" y="9963"/>
                        </a:lnTo>
                        <a:lnTo>
                          <a:pt x="8607" y="10055"/>
                        </a:lnTo>
                        <a:lnTo>
                          <a:pt x="8570" y="10163"/>
                        </a:lnTo>
                        <a:lnTo>
                          <a:pt x="8542" y="10171"/>
                        </a:lnTo>
                        <a:lnTo>
                          <a:pt x="8533" y="10132"/>
                        </a:lnTo>
                        <a:lnTo>
                          <a:pt x="8533" y="10109"/>
                        </a:lnTo>
                        <a:lnTo>
                          <a:pt x="8514" y="10101"/>
                        </a:lnTo>
                        <a:lnTo>
                          <a:pt x="8477" y="10117"/>
                        </a:lnTo>
                        <a:lnTo>
                          <a:pt x="8402" y="10225"/>
                        </a:lnTo>
                        <a:lnTo>
                          <a:pt x="8467" y="10232"/>
                        </a:lnTo>
                        <a:lnTo>
                          <a:pt x="8495" y="10240"/>
                        </a:lnTo>
                        <a:lnTo>
                          <a:pt x="8439" y="10332"/>
                        </a:lnTo>
                        <a:lnTo>
                          <a:pt x="8355" y="10363"/>
                        </a:lnTo>
                        <a:lnTo>
                          <a:pt x="8327" y="10425"/>
                        </a:lnTo>
                        <a:lnTo>
                          <a:pt x="8355" y="10440"/>
                        </a:lnTo>
                        <a:lnTo>
                          <a:pt x="8355" y="10502"/>
                        </a:lnTo>
                        <a:lnTo>
                          <a:pt x="8430" y="10479"/>
                        </a:lnTo>
                        <a:lnTo>
                          <a:pt x="8430" y="10533"/>
                        </a:lnTo>
                        <a:lnTo>
                          <a:pt x="8477" y="10486"/>
                        </a:lnTo>
                        <a:lnTo>
                          <a:pt x="8495" y="10486"/>
                        </a:lnTo>
                        <a:lnTo>
                          <a:pt x="8495" y="10571"/>
                        </a:lnTo>
                        <a:lnTo>
                          <a:pt x="8421" y="10633"/>
                        </a:lnTo>
                        <a:lnTo>
                          <a:pt x="8327" y="10663"/>
                        </a:lnTo>
                        <a:lnTo>
                          <a:pt x="8346" y="10733"/>
                        </a:lnTo>
                        <a:lnTo>
                          <a:pt x="8430" y="10702"/>
                        </a:lnTo>
                        <a:lnTo>
                          <a:pt x="8477" y="10702"/>
                        </a:lnTo>
                        <a:lnTo>
                          <a:pt x="8551" y="10625"/>
                        </a:lnTo>
                        <a:lnTo>
                          <a:pt x="8589" y="10687"/>
                        </a:lnTo>
                        <a:lnTo>
                          <a:pt x="8589" y="10733"/>
                        </a:lnTo>
                        <a:lnTo>
                          <a:pt x="8570" y="10779"/>
                        </a:lnTo>
                        <a:lnTo>
                          <a:pt x="8533" y="10787"/>
                        </a:lnTo>
                        <a:lnTo>
                          <a:pt x="8514" y="10817"/>
                        </a:lnTo>
                        <a:lnTo>
                          <a:pt x="8467" y="10871"/>
                        </a:lnTo>
                        <a:lnTo>
                          <a:pt x="8430" y="10948"/>
                        </a:lnTo>
                        <a:lnTo>
                          <a:pt x="8458" y="10948"/>
                        </a:lnTo>
                        <a:lnTo>
                          <a:pt x="8495" y="10941"/>
                        </a:lnTo>
                        <a:lnTo>
                          <a:pt x="8505" y="10971"/>
                        </a:lnTo>
                        <a:lnTo>
                          <a:pt x="8533" y="10979"/>
                        </a:lnTo>
                        <a:lnTo>
                          <a:pt x="8495" y="11056"/>
                        </a:lnTo>
                        <a:lnTo>
                          <a:pt x="8439" y="11087"/>
                        </a:lnTo>
                        <a:lnTo>
                          <a:pt x="8402" y="11072"/>
                        </a:lnTo>
                        <a:lnTo>
                          <a:pt x="8393" y="11149"/>
                        </a:lnTo>
                        <a:lnTo>
                          <a:pt x="8383" y="11195"/>
                        </a:lnTo>
                        <a:lnTo>
                          <a:pt x="8327" y="11210"/>
                        </a:lnTo>
                        <a:lnTo>
                          <a:pt x="8271" y="11256"/>
                        </a:lnTo>
                        <a:lnTo>
                          <a:pt x="8206" y="11249"/>
                        </a:lnTo>
                        <a:lnTo>
                          <a:pt x="8141" y="11249"/>
                        </a:lnTo>
                        <a:lnTo>
                          <a:pt x="8094" y="11210"/>
                        </a:lnTo>
                        <a:lnTo>
                          <a:pt x="8057" y="11210"/>
                        </a:lnTo>
                        <a:lnTo>
                          <a:pt x="8019" y="11226"/>
                        </a:lnTo>
                        <a:lnTo>
                          <a:pt x="7991" y="11118"/>
                        </a:lnTo>
                        <a:lnTo>
                          <a:pt x="7991" y="11210"/>
                        </a:lnTo>
                        <a:lnTo>
                          <a:pt x="7945" y="11256"/>
                        </a:lnTo>
                        <a:lnTo>
                          <a:pt x="7945" y="11372"/>
                        </a:lnTo>
                        <a:lnTo>
                          <a:pt x="7917" y="11503"/>
                        </a:lnTo>
                        <a:lnTo>
                          <a:pt x="7898" y="11395"/>
                        </a:lnTo>
                        <a:lnTo>
                          <a:pt x="7870" y="11256"/>
                        </a:lnTo>
                        <a:lnTo>
                          <a:pt x="7842" y="11318"/>
                        </a:lnTo>
                        <a:lnTo>
                          <a:pt x="7842" y="11349"/>
                        </a:lnTo>
                        <a:lnTo>
                          <a:pt x="7861" y="11441"/>
                        </a:lnTo>
                        <a:lnTo>
                          <a:pt x="7823" y="11518"/>
                        </a:lnTo>
                        <a:lnTo>
                          <a:pt x="7786" y="11487"/>
                        </a:lnTo>
                        <a:lnTo>
                          <a:pt x="7711" y="11533"/>
                        </a:lnTo>
                        <a:lnTo>
                          <a:pt x="7683" y="11549"/>
                        </a:lnTo>
                        <a:lnTo>
                          <a:pt x="7683" y="11649"/>
                        </a:lnTo>
                        <a:lnTo>
                          <a:pt x="7618" y="11749"/>
                        </a:lnTo>
                        <a:lnTo>
                          <a:pt x="7581" y="11841"/>
                        </a:lnTo>
                        <a:lnTo>
                          <a:pt x="7609" y="11734"/>
                        </a:lnTo>
                        <a:lnTo>
                          <a:pt x="7609" y="11626"/>
                        </a:lnTo>
                        <a:lnTo>
                          <a:pt x="7543" y="11672"/>
                        </a:lnTo>
                        <a:lnTo>
                          <a:pt x="7506" y="11672"/>
                        </a:lnTo>
                        <a:lnTo>
                          <a:pt x="7431" y="11772"/>
                        </a:lnTo>
                        <a:lnTo>
                          <a:pt x="7384" y="11872"/>
                        </a:lnTo>
                        <a:lnTo>
                          <a:pt x="7347" y="11934"/>
                        </a:lnTo>
                        <a:lnTo>
                          <a:pt x="7310" y="11888"/>
                        </a:lnTo>
                        <a:lnTo>
                          <a:pt x="7244" y="11865"/>
                        </a:lnTo>
                        <a:lnTo>
                          <a:pt x="7235" y="11872"/>
                        </a:lnTo>
                        <a:lnTo>
                          <a:pt x="7235" y="11980"/>
                        </a:lnTo>
                        <a:lnTo>
                          <a:pt x="7170" y="11965"/>
                        </a:lnTo>
                        <a:lnTo>
                          <a:pt x="7114" y="11980"/>
                        </a:lnTo>
                        <a:lnTo>
                          <a:pt x="7020" y="12019"/>
                        </a:lnTo>
                        <a:lnTo>
                          <a:pt x="6983" y="11980"/>
                        </a:lnTo>
                        <a:lnTo>
                          <a:pt x="6927" y="11949"/>
                        </a:lnTo>
                        <a:lnTo>
                          <a:pt x="6927" y="11872"/>
                        </a:lnTo>
                        <a:lnTo>
                          <a:pt x="6974" y="11857"/>
                        </a:lnTo>
                        <a:lnTo>
                          <a:pt x="6964" y="11795"/>
                        </a:lnTo>
                        <a:lnTo>
                          <a:pt x="7002" y="11734"/>
                        </a:lnTo>
                        <a:lnTo>
                          <a:pt x="7039" y="11795"/>
                        </a:lnTo>
                        <a:lnTo>
                          <a:pt x="7048" y="11741"/>
                        </a:lnTo>
                        <a:lnTo>
                          <a:pt x="7076" y="11718"/>
                        </a:lnTo>
                        <a:lnTo>
                          <a:pt x="7095" y="11711"/>
                        </a:lnTo>
                        <a:lnTo>
                          <a:pt x="7132" y="11741"/>
                        </a:lnTo>
                        <a:lnTo>
                          <a:pt x="7188" y="11749"/>
                        </a:lnTo>
                        <a:lnTo>
                          <a:pt x="7151" y="11711"/>
                        </a:lnTo>
                        <a:lnTo>
                          <a:pt x="7160" y="11672"/>
                        </a:lnTo>
                        <a:lnTo>
                          <a:pt x="7207" y="11672"/>
                        </a:lnTo>
                        <a:lnTo>
                          <a:pt x="7263" y="11618"/>
                        </a:lnTo>
                        <a:lnTo>
                          <a:pt x="7300" y="11549"/>
                        </a:lnTo>
                        <a:lnTo>
                          <a:pt x="7338" y="11433"/>
                        </a:lnTo>
                        <a:lnTo>
                          <a:pt x="7300" y="11426"/>
                        </a:lnTo>
                        <a:lnTo>
                          <a:pt x="7226" y="11495"/>
                        </a:lnTo>
                        <a:lnTo>
                          <a:pt x="7132" y="11557"/>
                        </a:lnTo>
                        <a:lnTo>
                          <a:pt x="7095" y="11580"/>
                        </a:lnTo>
                        <a:lnTo>
                          <a:pt x="7048" y="11557"/>
                        </a:lnTo>
                        <a:lnTo>
                          <a:pt x="7002" y="11518"/>
                        </a:lnTo>
                        <a:lnTo>
                          <a:pt x="6964" y="11456"/>
                        </a:lnTo>
                        <a:lnTo>
                          <a:pt x="6974" y="11364"/>
                        </a:lnTo>
                        <a:lnTo>
                          <a:pt x="7020" y="11272"/>
                        </a:lnTo>
                        <a:lnTo>
                          <a:pt x="7039" y="11210"/>
                        </a:lnTo>
                        <a:lnTo>
                          <a:pt x="7076" y="11102"/>
                        </a:lnTo>
                        <a:lnTo>
                          <a:pt x="7132" y="11025"/>
                        </a:lnTo>
                        <a:lnTo>
                          <a:pt x="7170" y="10941"/>
                        </a:lnTo>
                        <a:lnTo>
                          <a:pt x="7188" y="10787"/>
                        </a:lnTo>
                        <a:lnTo>
                          <a:pt x="7188" y="10656"/>
                        </a:lnTo>
                        <a:lnTo>
                          <a:pt x="7160" y="10540"/>
                        </a:lnTo>
                        <a:lnTo>
                          <a:pt x="7198" y="10471"/>
                        </a:lnTo>
                        <a:lnTo>
                          <a:pt x="7207" y="10456"/>
                        </a:lnTo>
                        <a:lnTo>
                          <a:pt x="7412" y="10348"/>
                        </a:lnTo>
                        <a:lnTo>
                          <a:pt x="7487" y="10271"/>
                        </a:lnTo>
                        <a:lnTo>
                          <a:pt x="7534" y="10232"/>
                        </a:lnTo>
                        <a:lnTo>
                          <a:pt x="7599" y="10209"/>
                        </a:lnTo>
                        <a:lnTo>
                          <a:pt x="7646" y="10317"/>
                        </a:lnTo>
                        <a:lnTo>
                          <a:pt x="7693" y="10332"/>
                        </a:lnTo>
                        <a:lnTo>
                          <a:pt x="7767" y="10294"/>
                        </a:lnTo>
                        <a:lnTo>
                          <a:pt x="7833" y="10271"/>
                        </a:lnTo>
                        <a:lnTo>
                          <a:pt x="8122" y="10332"/>
                        </a:lnTo>
                        <a:lnTo>
                          <a:pt x="8169" y="10332"/>
                        </a:lnTo>
                        <a:lnTo>
                          <a:pt x="8141" y="10302"/>
                        </a:lnTo>
                        <a:lnTo>
                          <a:pt x="8057" y="10271"/>
                        </a:lnTo>
                        <a:lnTo>
                          <a:pt x="8010" y="10240"/>
                        </a:lnTo>
                        <a:lnTo>
                          <a:pt x="7917" y="10202"/>
                        </a:lnTo>
                        <a:lnTo>
                          <a:pt x="7842" y="10194"/>
                        </a:lnTo>
                        <a:lnTo>
                          <a:pt x="7805" y="10178"/>
                        </a:lnTo>
                        <a:lnTo>
                          <a:pt x="7749" y="10117"/>
                        </a:lnTo>
                        <a:lnTo>
                          <a:pt x="7730" y="10040"/>
                        </a:lnTo>
                        <a:lnTo>
                          <a:pt x="7786" y="10009"/>
                        </a:lnTo>
                        <a:lnTo>
                          <a:pt x="7805" y="9978"/>
                        </a:lnTo>
                        <a:lnTo>
                          <a:pt x="7842" y="9894"/>
                        </a:lnTo>
                        <a:lnTo>
                          <a:pt x="7917" y="9832"/>
                        </a:lnTo>
                        <a:lnTo>
                          <a:pt x="7982" y="9801"/>
                        </a:lnTo>
                        <a:lnTo>
                          <a:pt x="8047" y="9709"/>
                        </a:lnTo>
                        <a:lnTo>
                          <a:pt x="7973" y="9716"/>
                        </a:lnTo>
                        <a:lnTo>
                          <a:pt x="7861" y="9793"/>
                        </a:lnTo>
                        <a:lnTo>
                          <a:pt x="7711" y="9963"/>
                        </a:lnTo>
                        <a:lnTo>
                          <a:pt x="7637" y="9986"/>
                        </a:lnTo>
                        <a:lnTo>
                          <a:pt x="7543" y="9986"/>
                        </a:lnTo>
                        <a:lnTo>
                          <a:pt x="7496" y="9932"/>
                        </a:lnTo>
                        <a:lnTo>
                          <a:pt x="7506" y="9832"/>
                        </a:lnTo>
                        <a:lnTo>
                          <a:pt x="7534" y="9709"/>
                        </a:lnTo>
                        <a:lnTo>
                          <a:pt x="7618" y="9524"/>
                        </a:lnTo>
                        <a:lnTo>
                          <a:pt x="7674" y="9408"/>
                        </a:lnTo>
                        <a:lnTo>
                          <a:pt x="7674" y="9278"/>
                        </a:lnTo>
                        <a:lnTo>
                          <a:pt x="7693" y="9147"/>
                        </a:lnTo>
                        <a:lnTo>
                          <a:pt x="7711" y="9054"/>
                        </a:lnTo>
                        <a:lnTo>
                          <a:pt x="7693" y="8977"/>
                        </a:lnTo>
                        <a:lnTo>
                          <a:pt x="7655" y="8962"/>
                        </a:lnTo>
                        <a:lnTo>
                          <a:pt x="7637" y="9054"/>
                        </a:lnTo>
                        <a:lnTo>
                          <a:pt x="7637" y="9131"/>
                        </a:lnTo>
                        <a:lnTo>
                          <a:pt x="7618" y="9208"/>
                        </a:lnTo>
                        <a:lnTo>
                          <a:pt x="7581" y="9316"/>
                        </a:lnTo>
                        <a:lnTo>
                          <a:pt x="7562" y="9424"/>
                        </a:lnTo>
                        <a:lnTo>
                          <a:pt x="7525" y="9524"/>
                        </a:lnTo>
                        <a:lnTo>
                          <a:pt x="7468" y="9616"/>
                        </a:lnTo>
                        <a:lnTo>
                          <a:pt x="7450" y="9686"/>
                        </a:lnTo>
                        <a:lnTo>
                          <a:pt x="7431" y="9801"/>
                        </a:lnTo>
                        <a:lnTo>
                          <a:pt x="7450" y="9870"/>
                        </a:lnTo>
                        <a:lnTo>
                          <a:pt x="7431" y="9932"/>
                        </a:lnTo>
                        <a:lnTo>
                          <a:pt x="7356" y="10040"/>
                        </a:lnTo>
                        <a:lnTo>
                          <a:pt x="7310" y="10086"/>
                        </a:lnTo>
                        <a:lnTo>
                          <a:pt x="7244" y="10148"/>
                        </a:lnTo>
                        <a:lnTo>
                          <a:pt x="7160" y="10202"/>
                        </a:lnTo>
                        <a:lnTo>
                          <a:pt x="6983" y="10302"/>
                        </a:lnTo>
                        <a:lnTo>
                          <a:pt x="6974" y="10425"/>
                        </a:lnTo>
                        <a:lnTo>
                          <a:pt x="6871" y="10563"/>
                        </a:lnTo>
                        <a:lnTo>
                          <a:pt x="6834" y="10610"/>
                        </a:lnTo>
                        <a:lnTo>
                          <a:pt x="6824" y="10633"/>
                        </a:lnTo>
                        <a:lnTo>
                          <a:pt x="6778" y="10817"/>
                        </a:lnTo>
                        <a:lnTo>
                          <a:pt x="6740" y="10871"/>
                        </a:lnTo>
                        <a:lnTo>
                          <a:pt x="6675" y="10918"/>
                        </a:lnTo>
                        <a:lnTo>
                          <a:pt x="6638" y="10979"/>
                        </a:lnTo>
                        <a:lnTo>
                          <a:pt x="6535" y="10971"/>
                        </a:lnTo>
                        <a:lnTo>
                          <a:pt x="6479" y="10910"/>
                        </a:lnTo>
                        <a:lnTo>
                          <a:pt x="6423" y="10918"/>
                        </a:lnTo>
                        <a:lnTo>
                          <a:pt x="6488" y="10979"/>
                        </a:lnTo>
                        <a:lnTo>
                          <a:pt x="6554" y="11033"/>
                        </a:lnTo>
                        <a:lnTo>
                          <a:pt x="6591" y="11087"/>
                        </a:lnTo>
                        <a:lnTo>
                          <a:pt x="6610" y="11133"/>
                        </a:lnTo>
                        <a:lnTo>
                          <a:pt x="6600" y="11195"/>
                        </a:lnTo>
                        <a:lnTo>
                          <a:pt x="6572" y="11256"/>
                        </a:lnTo>
                        <a:lnTo>
                          <a:pt x="6535" y="11310"/>
                        </a:lnTo>
                        <a:lnTo>
                          <a:pt x="6414" y="11318"/>
                        </a:lnTo>
                        <a:lnTo>
                          <a:pt x="6367" y="11349"/>
                        </a:lnTo>
                        <a:lnTo>
                          <a:pt x="6442" y="11379"/>
                        </a:lnTo>
                        <a:lnTo>
                          <a:pt x="6442" y="11456"/>
                        </a:lnTo>
                        <a:lnTo>
                          <a:pt x="6386" y="11503"/>
                        </a:lnTo>
                        <a:lnTo>
                          <a:pt x="6311" y="11518"/>
                        </a:lnTo>
                        <a:lnTo>
                          <a:pt x="6311" y="11433"/>
                        </a:lnTo>
                        <a:lnTo>
                          <a:pt x="6255" y="11456"/>
                        </a:lnTo>
                        <a:lnTo>
                          <a:pt x="6236" y="11526"/>
                        </a:lnTo>
                        <a:lnTo>
                          <a:pt x="6190" y="11503"/>
                        </a:lnTo>
                        <a:lnTo>
                          <a:pt x="6199" y="11580"/>
                        </a:lnTo>
                        <a:lnTo>
                          <a:pt x="6199" y="11649"/>
                        </a:lnTo>
                        <a:lnTo>
                          <a:pt x="6152" y="11680"/>
                        </a:lnTo>
                        <a:lnTo>
                          <a:pt x="6152" y="11741"/>
                        </a:lnTo>
                        <a:lnTo>
                          <a:pt x="6105" y="11795"/>
                        </a:lnTo>
                        <a:lnTo>
                          <a:pt x="6003" y="11811"/>
                        </a:lnTo>
                        <a:lnTo>
                          <a:pt x="6003" y="11857"/>
                        </a:lnTo>
                        <a:lnTo>
                          <a:pt x="5956" y="12080"/>
                        </a:lnTo>
                        <a:lnTo>
                          <a:pt x="5928" y="12142"/>
                        </a:lnTo>
                        <a:lnTo>
                          <a:pt x="5965" y="12173"/>
                        </a:lnTo>
                        <a:lnTo>
                          <a:pt x="6077" y="12119"/>
                        </a:lnTo>
                        <a:lnTo>
                          <a:pt x="6152" y="12149"/>
                        </a:lnTo>
                        <a:lnTo>
                          <a:pt x="6162" y="12203"/>
                        </a:lnTo>
                        <a:lnTo>
                          <a:pt x="6274" y="12265"/>
                        </a:lnTo>
                        <a:lnTo>
                          <a:pt x="6302" y="12303"/>
                        </a:lnTo>
                        <a:lnTo>
                          <a:pt x="6302" y="12365"/>
                        </a:lnTo>
                        <a:lnTo>
                          <a:pt x="6292" y="12442"/>
                        </a:lnTo>
                        <a:lnTo>
                          <a:pt x="6274" y="12480"/>
                        </a:lnTo>
                        <a:lnTo>
                          <a:pt x="6236" y="12511"/>
                        </a:lnTo>
                        <a:lnTo>
                          <a:pt x="6218" y="12534"/>
                        </a:lnTo>
                        <a:lnTo>
                          <a:pt x="6105" y="12573"/>
                        </a:lnTo>
                        <a:lnTo>
                          <a:pt x="6068" y="12627"/>
                        </a:lnTo>
                        <a:lnTo>
                          <a:pt x="6049" y="12665"/>
                        </a:lnTo>
                        <a:lnTo>
                          <a:pt x="6003" y="12673"/>
                        </a:lnTo>
                        <a:lnTo>
                          <a:pt x="6003" y="12727"/>
                        </a:lnTo>
                        <a:lnTo>
                          <a:pt x="6012" y="12781"/>
                        </a:lnTo>
                        <a:lnTo>
                          <a:pt x="6012" y="12812"/>
                        </a:lnTo>
                        <a:lnTo>
                          <a:pt x="5937" y="12850"/>
                        </a:lnTo>
                        <a:lnTo>
                          <a:pt x="5965" y="12889"/>
                        </a:lnTo>
                        <a:lnTo>
                          <a:pt x="5993" y="12904"/>
                        </a:lnTo>
                        <a:lnTo>
                          <a:pt x="5975" y="12966"/>
                        </a:lnTo>
                        <a:lnTo>
                          <a:pt x="5975" y="12996"/>
                        </a:lnTo>
                        <a:lnTo>
                          <a:pt x="5891" y="13058"/>
                        </a:lnTo>
                        <a:lnTo>
                          <a:pt x="5853" y="13027"/>
                        </a:lnTo>
                        <a:lnTo>
                          <a:pt x="5816" y="13073"/>
                        </a:lnTo>
                        <a:lnTo>
                          <a:pt x="5788" y="13120"/>
                        </a:lnTo>
                        <a:lnTo>
                          <a:pt x="5741" y="13127"/>
                        </a:lnTo>
                        <a:lnTo>
                          <a:pt x="5732" y="13135"/>
                        </a:lnTo>
                        <a:lnTo>
                          <a:pt x="5695" y="13135"/>
                        </a:lnTo>
                        <a:lnTo>
                          <a:pt x="5592" y="13181"/>
                        </a:lnTo>
                        <a:lnTo>
                          <a:pt x="5583" y="13243"/>
                        </a:lnTo>
                        <a:lnTo>
                          <a:pt x="5545" y="13289"/>
                        </a:lnTo>
                        <a:lnTo>
                          <a:pt x="5508" y="13343"/>
                        </a:lnTo>
                        <a:lnTo>
                          <a:pt x="5471" y="13343"/>
                        </a:lnTo>
                        <a:lnTo>
                          <a:pt x="5443" y="13404"/>
                        </a:lnTo>
                        <a:lnTo>
                          <a:pt x="5433" y="13458"/>
                        </a:lnTo>
                        <a:lnTo>
                          <a:pt x="5359" y="13412"/>
                        </a:lnTo>
                        <a:lnTo>
                          <a:pt x="5303" y="13404"/>
                        </a:lnTo>
                        <a:lnTo>
                          <a:pt x="5293" y="13497"/>
                        </a:lnTo>
                        <a:lnTo>
                          <a:pt x="5284" y="13551"/>
                        </a:lnTo>
                        <a:lnTo>
                          <a:pt x="5265" y="13589"/>
                        </a:lnTo>
                        <a:lnTo>
                          <a:pt x="5191" y="13597"/>
                        </a:lnTo>
                        <a:lnTo>
                          <a:pt x="5172" y="13589"/>
                        </a:lnTo>
                        <a:lnTo>
                          <a:pt x="5135" y="13712"/>
                        </a:lnTo>
                        <a:lnTo>
                          <a:pt x="5107" y="13674"/>
                        </a:lnTo>
                        <a:lnTo>
                          <a:pt x="4995" y="13774"/>
                        </a:lnTo>
                        <a:lnTo>
                          <a:pt x="4985" y="13797"/>
                        </a:lnTo>
                        <a:lnTo>
                          <a:pt x="4948" y="13843"/>
                        </a:lnTo>
                        <a:lnTo>
                          <a:pt x="4957" y="13874"/>
                        </a:lnTo>
                        <a:lnTo>
                          <a:pt x="5004" y="13874"/>
                        </a:lnTo>
                        <a:lnTo>
                          <a:pt x="5004" y="13959"/>
                        </a:lnTo>
                        <a:lnTo>
                          <a:pt x="5004" y="13997"/>
                        </a:lnTo>
                        <a:lnTo>
                          <a:pt x="4967" y="14082"/>
                        </a:lnTo>
                        <a:lnTo>
                          <a:pt x="4920" y="14136"/>
                        </a:lnTo>
                        <a:lnTo>
                          <a:pt x="4892" y="14167"/>
                        </a:lnTo>
                        <a:lnTo>
                          <a:pt x="4855" y="14136"/>
                        </a:lnTo>
                        <a:lnTo>
                          <a:pt x="4845" y="14182"/>
                        </a:lnTo>
                        <a:lnTo>
                          <a:pt x="4836" y="14205"/>
                        </a:lnTo>
                        <a:lnTo>
                          <a:pt x="4799" y="14182"/>
                        </a:lnTo>
                        <a:lnTo>
                          <a:pt x="4780" y="14236"/>
                        </a:lnTo>
                        <a:lnTo>
                          <a:pt x="4668" y="14351"/>
                        </a:lnTo>
                        <a:lnTo>
                          <a:pt x="4630" y="14351"/>
                        </a:lnTo>
                        <a:lnTo>
                          <a:pt x="4584" y="14305"/>
                        </a:lnTo>
                        <a:lnTo>
                          <a:pt x="4537" y="14336"/>
                        </a:lnTo>
                        <a:lnTo>
                          <a:pt x="4518" y="14398"/>
                        </a:lnTo>
                        <a:lnTo>
                          <a:pt x="4537" y="14521"/>
                        </a:lnTo>
                        <a:lnTo>
                          <a:pt x="4462" y="14521"/>
                        </a:lnTo>
                        <a:lnTo>
                          <a:pt x="4425" y="14482"/>
                        </a:lnTo>
                        <a:lnTo>
                          <a:pt x="4397" y="14490"/>
                        </a:lnTo>
                        <a:lnTo>
                          <a:pt x="4322" y="14552"/>
                        </a:lnTo>
                        <a:lnTo>
                          <a:pt x="4294" y="14598"/>
                        </a:lnTo>
                        <a:lnTo>
                          <a:pt x="4369" y="14582"/>
                        </a:lnTo>
                        <a:lnTo>
                          <a:pt x="4388" y="14598"/>
                        </a:lnTo>
                        <a:lnTo>
                          <a:pt x="4360" y="14667"/>
                        </a:lnTo>
                        <a:lnTo>
                          <a:pt x="4257" y="14667"/>
                        </a:lnTo>
                        <a:lnTo>
                          <a:pt x="4220" y="14675"/>
                        </a:lnTo>
                        <a:lnTo>
                          <a:pt x="4145" y="14706"/>
                        </a:lnTo>
                        <a:lnTo>
                          <a:pt x="4089" y="14767"/>
                        </a:lnTo>
                        <a:lnTo>
                          <a:pt x="4024" y="14852"/>
                        </a:lnTo>
                        <a:lnTo>
                          <a:pt x="3949" y="14844"/>
                        </a:lnTo>
                        <a:lnTo>
                          <a:pt x="3912" y="14767"/>
                        </a:lnTo>
                        <a:lnTo>
                          <a:pt x="3884" y="14667"/>
                        </a:lnTo>
                        <a:lnTo>
                          <a:pt x="3837" y="14659"/>
                        </a:lnTo>
                        <a:lnTo>
                          <a:pt x="3865" y="14759"/>
                        </a:lnTo>
                        <a:lnTo>
                          <a:pt x="3902" y="14844"/>
                        </a:lnTo>
                        <a:lnTo>
                          <a:pt x="3977" y="14906"/>
                        </a:lnTo>
                        <a:lnTo>
                          <a:pt x="4033" y="14937"/>
                        </a:lnTo>
                        <a:lnTo>
                          <a:pt x="4033" y="14998"/>
                        </a:lnTo>
                        <a:lnTo>
                          <a:pt x="4052" y="15098"/>
                        </a:lnTo>
                        <a:lnTo>
                          <a:pt x="4024" y="15137"/>
                        </a:lnTo>
                        <a:lnTo>
                          <a:pt x="3977" y="15137"/>
                        </a:lnTo>
                        <a:lnTo>
                          <a:pt x="3921" y="15198"/>
                        </a:lnTo>
                        <a:lnTo>
                          <a:pt x="3884" y="15229"/>
                        </a:lnTo>
                        <a:lnTo>
                          <a:pt x="3809" y="15245"/>
                        </a:lnTo>
                        <a:lnTo>
                          <a:pt x="3753" y="15260"/>
                        </a:lnTo>
                        <a:lnTo>
                          <a:pt x="3716" y="15260"/>
                        </a:lnTo>
                        <a:lnTo>
                          <a:pt x="3688" y="15245"/>
                        </a:lnTo>
                        <a:lnTo>
                          <a:pt x="3688" y="15252"/>
                        </a:lnTo>
                        <a:lnTo>
                          <a:pt x="3688" y="15306"/>
                        </a:lnTo>
                        <a:lnTo>
                          <a:pt x="3660" y="15383"/>
                        </a:lnTo>
                        <a:lnTo>
                          <a:pt x="3622" y="15506"/>
                        </a:lnTo>
                        <a:lnTo>
                          <a:pt x="3604" y="15568"/>
                        </a:lnTo>
                        <a:lnTo>
                          <a:pt x="3585" y="15560"/>
                        </a:lnTo>
                        <a:lnTo>
                          <a:pt x="3604" y="15475"/>
                        </a:lnTo>
                        <a:lnTo>
                          <a:pt x="3604" y="15368"/>
                        </a:lnTo>
                        <a:lnTo>
                          <a:pt x="3585" y="15306"/>
                        </a:lnTo>
                        <a:lnTo>
                          <a:pt x="3529" y="15306"/>
                        </a:lnTo>
                        <a:lnTo>
                          <a:pt x="3501" y="15352"/>
                        </a:lnTo>
                        <a:lnTo>
                          <a:pt x="3464" y="15352"/>
                        </a:lnTo>
                        <a:lnTo>
                          <a:pt x="3426" y="15383"/>
                        </a:lnTo>
                        <a:lnTo>
                          <a:pt x="3389" y="15437"/>
                        </a:lnTo>
                        <a:lnTo>
                          <a:pt x="3314" y="15460"/>
                        </a:lnTo>
                        <a:lnTo>
                          <a:pt x="3286" y="15491"/>
                        </a:lnTo>
                        <a:lnTo>
                          <a:pt x="3277" y="15522"/>
                        </a:lnTo>
                        <a:lnTo>
                          <a:pt x="3239" y="15599"/>
                        </a:lnTo>
                        <a:lnTo>
                          <a:pt x="3211" y="15583"/>
                        </a:lnTo>
                        <a:lnTo>
                          <a:pt x="3193" y="15537"/>
                        </a:lnTo>
                        <a:lnTo>
                          <a:pt x="3165" y="15583"/>
                        </a:lnTo>
                        <a:lnTo>
                          <a:pt x="3155" y="15599"/>
                        </a:lnTo>
                        <a:lnTo>
                          <a:pt x="3155" y="15660"/>
                        </a:lnTo>
                        <a:lnTo>
                          <a:pt x="3137" y="15660"/>
                        </a:lnTo>
                        <a:lnTo>
                          <a:pt x="3043" y="15629"/>
                        </a:lnTo>
                        <a:lnTo>
                          <a:pt x="2987" y="15691"/>
                        </a:lnTo>
                        <a:lnTo>
                          <a:pt x="2931" y="15722"/>
                        </a:lnTo>
                        <a:lnTo>
                          <a:pt x="2875" y="15737"/>
                        </a:lnTo>
                        <a:lnTo>
                          <a:pt x="2829" y="15753"/>
                        </a:lnTo>
                        <a:lnTo>
                          <a:pt x="2801" y="15706"/>
                        </a:lnTo>
                        <a:lnTo>
                          <a:pt x="2857" y="15614"/>
                        </a:lnTo>
                        <a:lnTo>
                          <a:pt x="2838" y="15506"/>
                        </a:lnTo>
                        <a:lnTo>
                          <a:pt x="2791" y="15506"/>
                        </a:lnTo>
                        <a:lnTo>
                          <a:pt x="2745" y="15568"/>
                        </a:lnTo>
                        <a:lnTo>
                          <a:pt x="2717" y="15629"/>
                        </a:lnTo>
                        <a:lnTo>
                          <a:pt x="2689" y="15706"/>
                        </a:lnTo>
                        <a:lnTo>
                          <a:pt x="2679" y="15837"/>
                        </a:lnTo>
                        <a:lnTo>
                          <a:pt x="2633" y="15907"/>
                        </a:lnTo>
                        <a:lnTo>
                          <a:pt x="2605" y="15991"/>
                        </a:lnTo>
                        <a:lnTo>
                          <a:pt x="2567" y="16022"/>
                        </a:lnTo>
                        <a:lnTo>
                          <a:pt x="2539" y="15991"/>
                        </a:lnTo>
                        <a:lnTo>
                          <a:pt x="2521" y="16045"/>
                        </a:lnTo>
                        <a:lnTo>
                          <a:pt x="2483" y="16076"/>
                        </a:lnTo>
                        <a:lnTo>
                          <a:pt x="2446" y="16045"/>
                        </a:lnTo>
                        <a:lnTo>
                          <a:pt x="2418" y="16053"/>
                        </a:lnTo>
                        <a:lnTo>
                          <a:pt x="2409" y="16045"/>
                        </a:lnTo>
                        <a:lnTo>
                          <a:pt x="2409" y="16022"/>
                        </a:lnTo>
                        <a:lnTo>
                          <a:pt x="2409" y="15984"/>
                        </a:lnTo>
                        <a:lnTo>
                          <a:pt x="2390" y="15930"/>
                        </a:lnTo>
                        <a:lnTo>
                          <a:pt x="2371" y="15899"/>
                        </a:lnTo>
                        <a:lnTo>
                          <a:pt x="2343" y="15868"/>
                        </a:lnTo>
                        <a:lnTo>
                          <a:pt x="2334" y="15899"/>
                        </a:lnTo>
                        <a:lnTo>
                          <a:pt x="2343" y="15961"/>
                        </a:lnTo>
                        <a:lnTo>
                          <a:pt x="2343" y="16022"/>
                        </a:lnTo>
                        <a:lnTo>
                          <a:pt x="2353" y="16084"/>
                        </a:lnTo>
                        <a:lnTo>
                          <a:pt x="2306" y="16122"/>
                        </a:lnTo>
                        <a:lnTo>
                          <a:pt x="2231" y="16168"/>
                        </a:lnTo>
                        <a:lnTo>
                          <a:pt x="2185" y="16115"/>
                        </a:lnTo>
                        <a:lnTo>
                          <a:pt x="2147" y="16022"/>
                        </a:lnTo>
                        <a:lnTo>
                          <a:pt x="2110" y="16022"/>
                        </a:lnTo>
                        <a:lnTo>
                          <a:pt x="2129" y="16153"/>
                        </a:lnTo>
                        <a:lnTo>
                          <a:pt x="2110" y="16215"/>
                        </a:lnTo>
                        <a:lnTo>
                          <a:pt x="2073" y="16261"/>
                        </a:lnTo>
                        <a:lnTo>
                          <a:pt x="2035" y="16261"/>
                        </a:lnTo>
                        <a:lnTo>
                          <a:pt x="2035" y="16207"/>
                        </a:lnTo>
                        <a:lnTo>
                          <a:pt x="2044" y="16138"/>
                        </a:lnTo>
                        <a:lnTo>
                          <a:pt x="2035" y="16084"/>
                        </a:lnTo>
                        <a:lnTo>
                          <a:pt x="2007" y="16030"/>
                        </a:lnTo>
                        <a:lnTo>
                          <a:pt x="1979" y="16045"/>
                        </a:lnTo>
                        <a:lnTo>
                          <a:pt x="1970" y="16022"/>
                        </a:lnTo>
                        <a:lnTo>
                          <a:pt x="2016" y="15984"/>
                        </a:lnTo>
                        <a:lnTo>
                          <a:pt x="2054" y="15984"/>
                        </a:lnTo>
                        <a:lnTo>
                          <a:pt x="2082" y="15953"/>
                        </a:lnTo>
                        <a:lnTo>
                          <a:pt x="2119" y="15930"/>
                        </a:lnTo>
                        <a:lnTo>
                          <a:pt x="2147" y="15891"/>
                        </a:lnTo>
                        <a:lnTo>
                          <a:pt x="2166" y="15876"/>
                        </a:lnTo>
                        <a:lnTo>
                          <a:pt x="2203" y="15922"/>
                        </a:lnTo>
                        <a:lnTo>
                          <a:pt x="2241" y="15876"/>
                        </a:lnTo>
                        <a:lnTo>
                          <a:pt x="2241" y="15830"/>
                        </a:lnTo>
                        <a:lnTo>
                          <a:pt x="2278" y="15799"/>
                        </a:lnTo>
                        <a:lnTo>
                          <a:pt x="2343" y="15753"/>
                        </a:lnTo>
                        <a:lnTo>
                          <a:pt x="2353" y="15706"/>
                        </a:lnTo>
                        <a:lnTo>
                          <a:pt x="2343" y="15676"/>
                        </a:lnTo>
                        <a:lnTo>
                          <a:pt x="2353" y="15645"/>
                        </a:lnTo>
                        <a:lnTo>
                          <a:pt x="2381" y="15622"/>
                        </a:lnTo>
                        <a:lnTo>
                          <a:pt x="2427" y="15522"/>
                        </a:lnTo>
                        <a:lnTo>
                          <a:pt x="2558" y="15368"/>
                        </a:lnTo>
                        <a:lnTo>
                          <a:pt x="2745" y="15221"/>
                        </a:lnTo>
                        <a:lnTo>
                          <a:pt x="2838" y="15168"/>
                        </a:lnTo>
                        <a:lnTo>
                          <a:pt x="2866" y="15160"/>
                        </a:lnTo>
                        <a:lnTo>
                          <a:pt x="2875" y="15137"/>
                        </a:lnTo>
                        <a:lnTo>
                          <a:pt x="2903" y="15121"/>
                        </a:lnTo>
                        <a:lnTo>
                          <a:pt x="2941" y="15106"/>
                        </a:lnTo>
                        <a:lnTo>
                          <a:pt x="2978" y="15137"/>
                        </a:lnTo>
                        <a:lnTo>
                          <a:pt x="3006" y="15137"/>
                        </a:lnTo>
                        <a:lnTo>
                          <a:pt x="3090" y="15121"/>
                        </a:lnTo>
                        <a:lnTo>
                          <a:pt x="3081" y="15168"/>
                        </a:lnTo>
                        <a:lnTo>
                          <a:pt x="3053" y="15221"/>
                        </a:lnTo>
                        <a:lnTo>
                          <a:pt x="3090" y="15291"/>
                        </a:lnTo>
                        <a:lnTo>
                          <a:pt x="3127" y="15322"/>
                        </a:lnTo>
                        <a:lnTo>
                          <a:pt x="3165" y="15291"/>
                        </a:lnTo>
                        <a:lnTo>
                          <a:pt x="3165" y="15245"/>
                        </a:lnTo>
                        <a:lnTo>
                          <a:pt x="3230" y="15260"/>
                        </a:lnTo>
                        <a:lnTo>
                          <a:pt x="3277" y="15314"/>
                        </a:lnTo>
                        <a:lnTo>
                          <a:pt x="3323" y="15322"/>
                        </a:lnTo>
                        <a:lnTo>
                          <a:pt x="3351" y="15322"/>
                        </a:lnTo>
                        <a:lnTo>
                          <a:pt x="3342" y="15322"/>
                        </a:lnTo>
                        <a:lnTo>
                          <a:pt x="3342" y="15314"/>
                        </a:lnTo>
                        <a:lnTo>
                          <a:pt x="3323" y="15275"/>
                        </a:lnTo>
                        <a:lnTo>
                          <a:pt x="3230" y="15221"/>
                        </a:lnTo>
                        <a:lnTo>
                          <a:pt x="3230" y="15198"/>
                        </a:lnTo>
                        <a:lnTo>
                          <a:pt x="3249" y="15075"/>
                        </a:lnTo>
                        <a:lnTo>
                          <a:pt x="3267" y="15006"/>
                        </a:lnTo>
                        <a:lnTo>
                          <a:pt x="3314" y="14937"/>
                        </a:lnTo>
                        <a:lnTo>
                          <a:pt x="3379" y="14790"/>
                        </a:lnTo>
                        <a:lnTo>
                          <a:pt x="3398" y="14759"/>
                        </a:lnTo>
                        <a:lnTo>
                          <a:pt x="3501" y="14644"/>
                        </a:lnTo>
                        <a:lnTo>
                          <a:pt x="3538" y="14598"/>
                        </a:lnTo>
                        <a:lnTo>
                          <a:pt x="3576" y="14598"/>
                        </a:lnTo>
                        <a:lnTo>
                          <a:pt x="3697" y="14482"/>
                        </a:lnTo>
                        <a:lnTo>
                          <a:pt x="3753" y="14482"/>
                        </a:lnTo>
                        <a:lnTo>
                          <a:pt x="3790" y="14451"/>
                        </a:lnTo>
                        <a:lnTo>
                          <a:pt x="3902" y="14321"/>
                        </a:lnTo>
                        <a:lnTo>
                          <a:pt x="3940" y="14351"/>
                        </a:lnTo>
                        <a:lnTo>
                          <a:pt x="3977" y="14321"/>
                        </a:lnTo>
                        <a:lnTo>
                          <a:pt x="4024" y="14336"/>
                        </a:lnTo>
                        <a:lnTo>
                          <a:pt x="4052" y="14274"/>
                        </a:lnTo>
                        <a:lnTo>
                          <a:pt x="4061" y="14151"/>
                        </a:lnTo>
                        <a:lnTo>
                          <a:pt x="4098" y="14059"/>
                        </a:lnTo>
                        <a:lnTo>
                          <a:pt x="4108" y="14059"/>
                        </a:lnTo>
                        <a:lnTo>
                          <a:pt x="4145" y="13997"/>
                        </a:lnTo>
                        <a:lnTo>
                          <a:pt x="4182" y="13959"/>
                        </a:lnTo>
                        <a:lnTo>
                          <a:pt x="4220" y="13889"/>
                        </a:lnTo>
                        <a:lnTo>
                          <a:pt x="4238" y="13812"/>
                        </a:lnTo>
                        <a:lnTo>
                          <a:pt x="4276" y="13805"/>
                        </a:lnTo>
                        <a:lnTo>
                          <a:pt x="4294" y="13843"/>
                        </a:lnTo>
                        <a:lnTo>
                          <a:pt x="4397" y="13628"/>
                        </a:lnTo>
                        <a:lnTo>
                          <a:pt x="4425" y="13589"/>
                        </a:lnTo>
                        <a:lnTo>
                          <a:pt x="4444" y="13535"/>
                        </a:lnTo>
                        <a:lnTo>
                          <a:pt x="4462" y="13458"/>
                        </a:lnTo>
                        <a:lnTo>
                          <a:pt x="4472" y="13320"/>
                        </a:lnTo>
                        <a:lnTo>
                          <a:pt x="4500" y="13127"/>
                        </a:lnTo>
                        <a:lnTo>
                          <a:pt x="4509" y="13027"/>
                        </a:lnTo>
                        <a:lnTo>
                          <a:pt x="4584" y="12935"/>
                        </a:lnTo>
                        <a:lnTo>
                          <a:pt x="4621" y="12881"/>
                        </a:lnTo>
                        <a:lnTo>
                          <a:pt x="4584" y="12873"/>
                        </a:lnTo>
                        <a:lnTo>
                          <a:pt x="4546" y="12881"/>
                        </a:lnTo>
                        <a:lnTo>
                          <a:pt x="4537" y="12873"/>
                        </a:lnTo>
                        <a:lnTo>
                          <a:pt x="4556" y="12727"/>
                        </a:lnTo>
                        <a:lnTo>
                          <a:pt x="4584" y="12611"/>
                        </a:lnTo>
                        <a:lnTo>
                          <a:pt x="4658" y="12542"/>
                        </a:lnTo>
                        <a:lnTo>
                          <a:pt x="4733" y="12427"/>
                        </a:lnTo>
                        <a:lnTo>
                          <a:pt x="4724" y="12411"/>
                        </a:lnTo>
                        <a:lnTo>
                          <a:pt x="4696" y="12396"/>
                        </a:lnTo>
                        <a:lnTo>
                          <a:pt x="4742" y="12350"/>
                        </a:lnTo>
                        <a:lnTo>
                          <a:pt x="4780" y="12265"/>
                        </a:lnTo>
                        <a:lnTo>
                          <a:pt x="4836" y="12196"/>
                        </a:lnTo>
                        <a:lnTo>
                          <a:pt x="4873" y="12111"/>
                        </a:lnTo>
                        <a:lnTo>
                          <a:pt x="4855" y="12080"/>
                        </a:lnTo>
                        <a:lnTo>
                          <a:pt x="4808" y="12103"/>
                        </a:lnTo>
                        <a:lnTo>
                          <a:pt x="4761" y="12142"/>
                        </a:lnTo>
                        <a:lnTo>
                          <a:pt x="4686" y="12211"/>
                        </a:lnTo>
                        <a:lnTo>
                          <a:pt x="4658" y="12265"/>
                        </a:lnTo>
                        <a:lnTo>
                          <a:pt x="4621" y="12303"/>
                        </a:lnTo>
                        <a:lnTo>
                          <a:pt x="4500" y="12427"/>
                        </a:lnTo>
                        <a:lnTo>
                          <a:pt x="4444" y="12457"/>
                        </a:lnTo>
                        <a:lnTo>
                          <a:pt x="4397" y="12480"/>
                        </a:lnTo>
                        <a:lnTo>
                          <a:pt x="4294" y="12542"/>
                        </a:lnTo>
                        <a:lnTo>
                          <a:pt x="4248" y="12542"/>
                        </a:lnTo>
                        <a:lnTo>
                          <a:pt x="4220" y="12519"/>
                        </a:lnTo>
                        <a:lnTo>
                          <a:pt x="4182" y="12473"/>
                        </a:lnTo>
                        <a:lnTo>
                          <a:pt x="4136" y="12419"/>
                        </a:lnTo>
                        <a:lnTo>
                          <a:pt x="4098" y="12365"/>
                        </a:lnTo>
                        <a:lnTo>
                          <a:pt x="4108" y="12303"/>
                        </a:lnTo>
                        <a:lnTo>
                          <a:pt x="4126" y="12242"/>
                        </a:lnTo>
                        <a:lnTo>
                          <a:pt x="4126" y="12180"/>
                        </a:lnTo>
                        <a:lnTo>
                          <a:pt x="4098" y="12196"/>
                        </a:lnTo>
                        <a:lnTo>
                          <a:pt x="4070" y="12242"/>
                        </a:lnTo>
                        <a:lnTo>
                          <a:pt x="3996" y="12319"/>
                        </a:lnTo>
                        <a:lnTo>
                          <a:pt x="3977" y="12411"/>
                        </a:lnTo>
                        <a:lnTo>
                          <a:pt x="3949" y="12442"/>
                        </a:lnTo>
                        <a:lnTo>
                          <a:pt x="3986" y="12534"/>
                        </a:lnTo>
                        <a:lnTo>
                          <a:pt x="3996" y="12642"/>
                        </a:lnTo>
                        <a:lnTo>
                          <a:pt x="3986" y="12688"/>
                        </a:lnTo>
                        <a:lnTo>
                          <a:pt x="3921" y="12765"/>
                        </a:lnTo>
                        <a:lnTo>
                          <a:pt x="3902" y="12765"/>
                        </a:lnTo>
                        <a:lnTo>
                          <a:pt x="3902" y="12781"/>
                        </a:lnTo>
                        <a:lnTo>
                          <a:pt x="3846" y="12735"/>
                        </a:lnTo>
                        <a:lnTo>
                          <a:pt x="3828" y="12673"/>
                        </a:lnTo>
                        <a:lnTo>
                          <a:pt x="3734" y="12457"/>
                        </a:lnTo>
                        <a:lnTo>
                          <a:pt x="3688" y="12380"/>
                        </a:lnTo>
                        <a:lnTo>
                          <a:pt x="3650" y="12350"/>
                        </a:lnTo>
                        <a:lnTo>
                          <a:pt x="3650" y="12296"/>
                        </a:lnTo>
                        <a:lnTo>
                          <a:pt x="3613" y="12288"/>
                        </a:lnTo>
                        <a:lnTo>
                          <a:pt x="3585" y="12257"/>
                        </a:lnTo>
                        <a:lnTo>
                          <a:pt x="3576" y="12303"/>
                        </a:lnTo>
                        <a:lnTo>
                          <a:pt x="3529" y="12334"/>
                        </a:lnTo>
                        <a:lnTo>
                          <a:pt x="3501" y="12380"/>
                        </a:lnTo>
                        <a:lnTo>
                          <a:pt x="3454" y="12357"/>
                        </a:lnTo>
                        <a:lnTo>
                          <a:pt x="3417" y="12303"/>
                        </a:lnTo>
                        <a:lnTo>
                          <a:pt x="3389" y="12319"/>
                        </a:lnTo>
                        <a:lnTo>
                          <a:pt x="3361" y="12273"/>
                        </a:lnTo>
                        <a:lnTo>
                          <a:pt x="3342" y="12257"/>
                        </a:lnTo>
                        <a:lnTo>
                          <a:pt x="3323" y="12203"/>
                        </a:lnTo>
                        <a:lnTo>
                          <a:pt x="3342" y="12134"/>
                        </a:lnTo>
                        <a:lnTo>
                          <a:pt x="3361" y="12088"/>
                        </a:lnTo>
                        <a:lnTo>
                          <a:pt x="3361" y="11988"/>
                        </a:lnTo>
                        <a:lnTo>
                          <a:pt x="3342" y="11918"/>
                        </a:lnTo>
                        <a:lnTo>
                          <a:pt x="3277" y="12072"/>
                        </a:lnTo>
                        <a:lnTo>
                          <a:pt x="3239" y="12149"/>
                        </a:lnTo>
                        <a:lnTo>
                          <a:pt x="3127" y="12265"/>
                        </a:lnTo>
                        <a:lnTo>
                          <a:pt x="3090" y="12288"/>
                        </a:lnTo>
                        <a:lnTo>
                          <a:pt x="3043" y="12265"/>
                        </a:lnTo>
                        <a:lnTo>
                          <a:pt x="2931" y="12380"/>
                        </a:lnTo>
                        <a:lnTo>
                          <a:pt x="2866" y="12411"/>
                        </a:lnTo>
                        <a:lnTo>
                          <a:pt x="2857" y="12427"/>
                        </a:lnTo>
                        <a:lnTo>
                          <a:pt x="2838" y="12457"/>
                        </a:lnTo>
                        <a:lnTo>
                          <a:pt x="2801" y="12519"/>
                        </a:lnTo>
                        <a:lnTo>
                          <a:pt x="2707" y="12581"/>
                        </a:lnTo>
                        <a:lnTo>
                          <a:pt x="2633" y="12573"/>
                        </a:lnTo>
                        <a:lnTo>
                          <a:pt x="2558" y="12550"/>
                        </a:lnTo>
                        <a:lnTo>
                          <a:pt x="2605" y="12488"/>
                        </a:lnTo>
                        <a:lnTo>
                          <a:pt x="2679" y="12480"/>
                        </a:lnTo>
                        <a:lnTo>
                          <a:pt x="2754" y="12380"/>
                        </a:lnTo>
                        <a:lnTo>
                          <a:pt x="2791" y="12380"/>
                        </a:lnTo>
                        <a:lnTo>
                          <a:pt x="2754" y="12334"/>
                        </a:lnTo>
                        <a:lnTo>
                          <a:pt x="2717" y="12350"/>
                        </a:lnTo>
                        <a:lnTo>
                          <a:pt x="2707" y="12196"/>
                        </a:lnTo>
                        <a:lnTo>
                          <a:pt x="2754" y="12119"/>
                        </a:lnTo>
                        <a:lnTo>
                          <a:pt x="2791" y="12103"/>
                        </a:lnTo>
                        <a:lnTo>
                          <a:pt x="2745" y="12057"/>
                        </a:lnTo>
                        <a:lnTo>
                          <a:pt x="2689" y="12057"/>
                        </a:lnTo>
                        <a:lnTo>
                          <a:pt x="2651" y="12103"/>
                        </a:lnTo>
                        <a:lnTo>
                          <a:pt x="2605" y="11965"/>
                        </a:lnTo>
                        <a:lnTo>
                          <a:pt x="2614" y="11895"/>
                        </a:lnTo>
                        <a:lnTo>
                          <a:pt x="2642" y="11888"/>
                        </a:lnTo>
                        <a:lnTo>
                          <a:pt x="2651" y="11841"/>
                        </a:lnTo>
                        <a:lnTo>
                          <a:pt x="2717" y="11749"/>
                        </a:lnTo>
                        <a:lnTo>
                          <a:pt x="2726" y="11711"/>
                        </a:lnTo>
                        <a:lnTo>
                          <a:pt x="2726" y="11657"/>
                        </a:lnTo>
                        <a:lnTo>
                          <a:pt x="2689" y="11587"/>
                        </a:lnTo>
                        <a:lnTo>
                          <a:pt x="2651" y="11426"/>
                        </a:lnTo>
                        <a:lnTo>
                          <a:pt x="2614" y="11318"/>
                        </a:lnTo>
                        <a:lnTo>
                          <a:pt x="2558" y="11241"/>
                        </a:lnTo>
                        <a:lnTo>
                          <a:pt x="2521" y="11156"/>
                        </a:lnTo>
                        <a:lnTo>
                          <a:pt x="2521" y="11072"/>
                        </a:lnTo>
                        <a:lnTo>
                          <a:pt x="2493" y="10979"/>
                        </a:lnTo>
                        <a:lnTo>
                          <a:pt x="2446" y="10941"/>
                        </a:lnTo>
                        <a:lnTo>
                          <a:pt x="2427" y="10910"/>
                        </a:lnTo>
                        <a:lnTo>
                          <a:pt x="2446" y="10856"/>
                        </a:lnTo>
                        <a:lnTo>
                          <a:pt x="2567" y="10656"/>
                        </a:lnTo>
                        <a:lnTo>
                          <a:pt x="2651" y="10571"/>
                        </a:lnTo>
                        <a:lnTo>
                          <a:pt x="2782" y="10425"/>
                        </a:lnTo>
                        <a:lnTo>
                          <a:pt x="2829" y="10386"/>
                        </a:lnTo>
                        <a:lnTo>
                          <a:pt x="2829" y="10379"/>
                        </a:lnTo>
                        <a:lnTo>
                          <a:pt x="2829" y="10363"/>
                        </a:lnTo>
                        <a:lnTo>
                          <a:pt x="2791" y="10386"/>
                        </a:lnTo>
                        <a:lnTo>
                          <a:pt x="2726" y="10386"/>
                        </a:lnTo>
                        <a:lnTo>
                          <a:pt x="2679" y="10425"/>
                        </a:lnTo>
                        <a:lnTo>
                          <a:pt x="2614" y="10517"/>
                        </a:lnTo>
                        <a:lnTo>
                          <a:pt x="2530" y="10571"/>
                        </a:lnTo>
                        <a:lnTo>
                          <a:pt x="2493" y="10610"/>
                        </a:lnTo>
                        <a:lnTo>
                          <a:pt x="2390" y="10817"/>
                        </a:lnTo>
                        <a:lnTo>
                          <a:pt x="2353" y="10871"/>
                        </a:lnTo>
                        <a:lnTo>
                          <a:pt x="2390" y="10971"/>
                        </a:lnTo>
                        <a:lnTo>
                          <a:pt x="2446" y="11010"/>
                        </a:lnTo>
                        <a:lnTo>
                          <a:pt x="2455" y="11056"/>
                        </a:lnTo>
                        <a:lnTo>
                          <a:pt x="2409" y="11087"/>
                        </a:lnTo>
                        <a:lnTo>
                          <a:pt x="2390" y="11133"/>
                        </a:lnTo>
                        <a:lnTo>
                          <a:pt x="2371" y="11226"/>
                        </a:lnTo>
                        <a:lnTo>
                          <a:pt x="2334" y="11302"/>
                        </a:lnTo>
                        <a:lnTo>
                          <a:pt x="2278" y="11364"/>
                        </a:lnTo>
                        <a:lnTo>
                          <a:pt x="2231" y="11433"/>
                        </a:lnTo>
                        <a:lnTo>
                          <a:pt x="2185" y="11495"/>
                        </a:lnTo>
                        <a:lnTo>
                          <a:pt x="2166" y="11549"/>
                        </a:lnTo>
                        <a:lnTo>
                          <a:pt x="2110" y="11549"/>
                        </a:lnTo>
                        <a:lnTo>
                          <a:pt x="2044" y="11518"/>
                        </a:lnTo>
                        <a:lnTo>
                          <a:pt x="1998" y="11518"/>
                        </a:lnTo>
                        <a:lnTo>
                          <a:pt x="1942" y="11495"/>
                        </a:lnTo>
                        <a:lnTo>
                          <a:pt x="1904" y="11503"/>
                        </a:lnTo>
                        <a:lnTo>
                          <a:pt x="1867" y="11472"/>
                        </a:lnTo>
                        <a:lnTo>
                          <a:pt x="1820" y="11472"/>
                        </a:lnTo>
                        <a:lnTo>
                          <a:pt x="1792" y="11441"/>
                        </a:lnTo>
                        <a:lnTo>
                          <a:pt x="1736" y="11379"/>
                        </a:lnTo>
                        <a:lnTo>
                          <a:pt x="1699" y="11310"/>
                        </a:lnTo>
                        <a:lnTo>
                          <a:pt x="1746" y="11279"/>
                        </a:lnTo>
                        <a:lnTo>
                          <a:pt x="1848" y="11272"/>
                        </a:lnTo>
                        <a:lnTo>
                          <a:pt x="1867" y="11241"/>
                        </a:lnTo>
                        <a:lnTo>
                          <a:pt x="1811" y="11241"/>
                        </a:lnTo>
                        <a:lnTo>
                          <a:pt x="1746" y="11249"/>
                        </a:lnTo>
                        <a:lnTo>
                          <a:pt x="1746" y="11218"/>
                        </a:lnTo>
                        <a:lnTo>
                          <a:pt x="1774" y="11187"/>
                        </a:lnTo>
                        <a:lnTo>
                          <a:pt x="1755" y="11149"/>
                        </a:lnTo>
                        <a:lnTo>
                          <a:pt x="1699" y="11164"/>
                        </a:lnTo>
                        <a:lnTo>
                          <a:pt x="1634" y="11210"/>
                        </a:lnTo>
                        <a:lnTo>
                          <a:pt x="1596" y="11195"/>
                        </a:lnTo>
                        <a:lnTo>
                          <a:pt x="1568" y="11125"/>
                        </a:lnTo>
                        <a:lnTo>
                          <a:pt x="1531" y="11025"/>
                        </a:lnTo>
                        <a:lnTo>
                          <a:pt x="1531" y="10948"/>
                        </a:lnTo>
                        <a:lnTo>
                          <a:pt x="1550" y="10879"/>
                        </a:lnTo>
                        <a:lnTo>
                          <a:pt x="1596" y="10794"/>
                        </a:lnTo>
                        <a:lnTo>
                          <a:pt x="1634" y="10733"/>
                        </a:lnTo>
                        <a:lnTo>
                          <a:pt x="1680" y="10671"/>
                        </a:lnTo>
                        <a:lnTo>
                          <a:pt x="1708" y="10602"/>
                        </a:lnTo>
                        <a:lnTo>
                          <a:pt x="1736" y="10571"/>
                        </a:lnTo>
                        <a:lnTo>
                          <a:pt x="1792" y="10540"/>
                        </a:lnTo>
                        <a:lnTo>
                          <a:pt x="1858" y="10517"/>
                        </a:lnTo>
                        <a:lnTo>
                          <a:pt x="1895" y="10456"/>
                        </a:lnTo>
                        <a:lnTo>
                          <a:pt x="1867" y="10363"/>
                        </a:lnTo>
                        <a:lnTo>
                          <a:pt x="1811" y="10363"/>
                        </a:lnTo>
                        <a:lnTo>
                          <a:pt x="1755" y="10409"/>
                        </a:lnTo>
                        <a:lnTo>
                          <a:pt x="1708" y="10417"/>
                        </a:lnTo>
                        <a:lnTo>
                          <a:pt x="1643" y="10409"/>
                        </a:lnTo>
                        <a:lnTo>
                          <a:pt x="1606" y="10386"/>
                        </a:lnTo>
                        <a:lnTo>
                          <a:pt x="1550" y="10379"/>
                        </a:lnTo>
                        <a:lnTo>
                          <a:pt x="1447" y="10325"/>
                        </a:lnTo>
                        <a:lnTo>
                          <a:pt x="1494" y="10255"/>
                        </a:lnTo>
                        <a:lnTo>
                          <a:pt x="1522" y="10194"/>
                        </a:lnTo>
                        <a:lnTo>
                          <a:pt x="1456" y="10209"/>
                        </a:lnTo>
                        <a:lnTo>
                          <a:pt x="1410" y="10209"/>
                        </a:lnTo>
                        <a:lnTo>
                          <a:pt x="1372" y="10194"/>
                        </a:lnTo>
                        <a:lnTo>
                          <a:pt x="1372" y="10117"/>
                        </a:lnTo>
                        <a:lnTo>
                          <a:pt x="1335" y="10171"/>
                        </a:lnTo>
                        <a:lnTo>
                          <a:pt x="1298" y="10240"/>
                        </a:lnTo>
                        <a:lnTo>
                          <a:pt x="1260" y="10255"/>
                        </a:lnTo>
                        <a:lnTo>
                          <a:pt x="1223" y="10232"/>
                        </a:lnTo>
                        <a:lnTo>
                          <a:pt x="1195" y="10171"/>
                        </a:lnTo>
                        <a:lnTo>
                          <a:pt x="1186" y="10109"/>
                        </a:lnTo>
                        <a:lnTo>
                          <a:pt x="1158" y="10071"/>
                        </a:lnTo>
                        <a:lnTo>
                          <a:pt x="1148" y="10024"/>
                        </a:lnTo>
                        <a:lnTo>
                          <a:pt x="1139" y="9963"/>
                        </a:lnTo>
                        <a:lnTo>
                          <a:pt x="1148" y="9894"/>
                        </a:lnTo>
                        <a:lnTo>
                          <a:pt x="1186" y="9840"/>
                        </a:lnTo>
                        <a:lnTo>
                          <a:pt x="1139" y="9832"/>
                        </a:lnTo>
                        <a:lnTo>
                          <a:pt x="1083" y="9863"/>
                        </a:lnTo>
                        <a:lnTo>
                          <a:pt x="1036" y="9917"/>
                        </a:lnTo>
                        <a:lnTo>
                          <a:pt x="999" y="9886"/>
                        </a:lnTo>
                        <a:lnTo>
                          <a:pt x="934" y="9832"/>
                        </a:lnTo>
                        <a:lnTo>
                          <a:pt x="934" y="9793"/>
                        </a:lnTo>
                        <a:lnTo>
                          <a:pt x="990" y="9716"/>
                        </a:lnTo>
                        <a:lnTo>
                          <a:pt x="1046" y="9686"/>
                        </a:lnTo>
                        <a:lnTo>
                          <a:pt x="1139" y="9678"/>
                        </a:lnTo>
                        <a:lnTo>
                          <a:pt x="1223" y="9655"/>
                        </a:lnTo>
                        <a:lnTo>
                          <a:pt x="1186" y="9624"/>
                        </a:lnTo>
                        <a:lnTo>
                          <a:pt x="1232" y="9609"/>
                        </a:lnTo>
                        <a:lnTo>
                          <a:pt x="1223" y="9578"/>
                        </a:lnTo>
                        <a:lnTo>
                          <a:pt x="1148" y="9578"/>
                        </a:lnTo>
                        <a:lnTo>
                          <a:pt x="1074" y="9593"/>
                        </a:lnTo>
                        <a:lnTo>
                          <a:pt x="1036" y="9647"/>
                        </a:lnTo>
                        <a:lnTo>
                          <a:pt x="971" y="9670"/>
                        </a:lnTo>
                        <a:lnTo>
                          <a:pt x="924" y="9686"/>
                        </a:lnTo>
                        <a:lnTo>
                          <a:pt x="859" y="9686"/>
                        </a:lnTo>
                        <a:lnTo>
                          <a:pt x="822" y="9701"/>
                        </a:lnTo>
                        <a:lnTo>
                          <a:pt x="803" y="9716"/>
                        </a:lnTo>
                        <a:lnTo>
                          <a:pt x="803" y="9655"/>
                        </a:lnTo>
                        <a:lnTo>
                          <a:pt x="812" y="9593"/>
                        </a:lnTo>
                        <a:lnTo>
                          <a:pt x="859" y="9586"/>
                        </a:lnTo>
                        <a:lnTo>
                          <a:pt x="896" y="9578"/>
                        </a:lnTo>
                        <a:lnTo>
                          <a:pt x="924" y="9547"/>
                        </a:lnTo>
                        <a:lnTo>
                          <a:pt x="896" y="9516"/>
                        </a:lnTo>
                        <a:lnTo>
                          <a:pt x="859" y="9493"/>
                        </a:lnTo>
                        <a:lnTo>
                          <a:pt x="840" y="9470"/>
                        </a:lnTo>
                        <a:lnTo>
                          <a:pt x="840" y="9424"/>
                        </a:lnTo>
                        <a:lnTo>
                          <a:pt x="859" y="9401"/>
                        </a:lnTo>
                        <a:lnTo>
                          <a:pt x="915" y="9408"/>
                        </a:lnTo>
                        <a:lnTo>
                          <a:pt x="990" y="9393"/>
                        </a:lnTo>
                        <a:lnTo>
                          <a:pt x="1008" y="9347"/>
                        </a:lnTo>
                        <a:lnTo>
                          <a:pt x="999" y="9270"/>
                        </a:lnTo>
                        <a:lnTo>
                          <a:pt x="999" y="9208"/>
                        </a:lnTo>
                        <a:lnTo>
                          <a:pt x="1008" y="9154"/>
                        </a:lnTo>
                        <a:lnTo>
                          <a:pt x="1064" y="9008"/>
                        </a:lnTo>
                        <a:lnTo>
                          <a:pt x="1074" y="8970"/>
                        </a:lnTo>
                        <a:lnTo>
                          <a:pt x="1083" y="8916"/>
                        </a:lnTo>
                        <a:lnTo>
                          <a:pt x="1111" y="8877"/>
                        </a:lnTo>
                        <a:lnTo>
                          <a:pt x="1139" y="8870"/>
                        </a:lnTo>
                        <a:lnTo>
                          <a:pt x="1214" y="8777"/>
                        </a:lnTo>
                        <a:lnTo>
                          <a:pt x="1251" y="8746"/>
                        </a:lnTo>
                        <a:lnTo>
                          <a:pt x="1270" y="8692"/>
                        </a:lnTo>
                        <a:lnTo>
                          <a:pt x="1335" y="8685"/>
                        </a:lnTo>
                        <a:lnTo>
                          <a:pt x="1372" y="8700"/>
                        </a:lnTo>
                        <a:lnTo>
                          <a:pt x="1400" y="8631"/>
                        </a:lnTo>
                        <a:lnTo>
                          <a:pt x="1447" y="8577"/>
                        </a:lnTo>
                        <a:lnTo>
                          <a:pt x="1494" y="8515"/>
                        </a:lnTo>
                        <a:lnTo>
                          <a:pt x="1550" y="8500"/>
                        </a:lnTo>
                        <a:lnTo>
                          <a:pt x="1587" y="8500"/>
                        </a:lnTo>
                        <a:lnTo>
                          <a:pt x="1671" y="8515"/>
                        </a:lnTo>
                        <a:lnTo>
                          <a:pt x="1718" y="8531"/>
                        </a:lnTo>
                        <a:lnTo>
                          <a:pt x="1746" y="8485"/>
                        </a:lnTo>
                        <a:lnTo>
                          <a:pt x="1736" y="8415"/>
                        </a:lnTo>
                        <a:lnTo>
                          <a:pt x="1708" y="8384"/>
                        </a:lnTo>
                        <a:lnTo>
                          <a:pt x="1718" y="8354"/>
                        </a:lnTo>
                        <a:lnTo>
                          <a:pt x="1746" y="8300"/>
                        </a:lnTo>
                        <a:lnTo>
                          <a:pt x="1886" y="8254"/>
                        </a:lnTo>
                        <a:close/>
                      </a:path>
                    </a:pathLst>
                  </a:custGeom>
                  <a:solidFill>
                    <a:srgbClr val="00B050"/>
                  </a:solidFill>
                  <a:ln w="952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marL="0" marR="0" lvl="0" indent="0" defTabSz="121917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140" name="D113">
                    <a:extLst>
                      <a:ext uri="{FF2B5EF4-FFF2-40B4-BE49-F238E27FC236}">
                        <a16:creationId xmlns:a16="http://schemas.microsoft.com/office/drawing/2014/main" id="{B065C10F-D7F6-CDD8-316E-3EA86556F50B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32513" y="13981699"/>
                    <a:ext cx="272" cy="6"/>
                  </a:xfrm>
                  <a:custGeom>
                    <a:avLst/>
                    <a:gdLst>
                      <a:gd name="T0" fmla="*/ 0 w 16384"/>
                      <a:gd name="T1" fmla="*/ 0 h 16384"/>
                      <a:gd name="T2" fmla="*/ 0 w 16384"/>
                      <a:gd name="T3" fmla="*/ 0 h 16384"/>
                      <a:gd name="T4" fmla="*/ 0 w 16384"/>
                      <a:gd name="T5" fmla="*/ 0 h 16384"/>
                      <a:gd name="T6" fmla="*/ 0 w 16384"/>
                      <a:gd name="T7" fmla="*/ 0 h 16384"/>
                      <a:gd name="T8" fmla="*/ 0 w 16384"/>
                      <a:gd name="T9" fmla="*/ 0 h 16384"/>
                      <a:gd name="T10" fmla="*/ 0 w 16384"/>
                      <a:gd name="T11" fmla="*/ 0 h 16384"/>
                      <a:gd name="T12" fmla="*/ 0 w 16384"/>
                      <a:gd name="T13" fmla="*/ 0 h 16384"/>
                      <a:gd name="T14" fmla="*/ 0 w 16384"/>
                      <a:gd name="T15" fmla="*/ 0 h 16384"/>
                      <a:gd name="T16" fmla="*/ 0 w 16384"/>
                      <a:gd name="T17" fmla="*/ 0 h 16384"/>
                      <a:gd name="T18" fmla="*/ 0 w 16384"/>
                      <a:gd name="T19" fmla="*/ 0 h 16384"/>
                      <a:gd name="T20" fmla="*/ 0 w 16384"/>
                      <a:gd name="T21" fmla="*/ 0 h 16384"/>
                      <a:gd name="T22" fmla="*/ 0 w 16384"/>
                      <a:gd name="T23" fmla="*/ 0 h 16384"/>
                      <a:gd name="T24" fmla="*/ 0 w 16384"/>
                      <a:gd name="T25" fmla="*/ 0 h 16384"/>
                      <a:gd name="T26" fmla="*/ 0 w 16384"/>
                      <a:gd name="T27" fmla="*/ 0 h 16384"/>
                      <a:gd name="T28" fmla="*/ 0 w 16384"/>
                      <a:gd name="T29" fmla="*/ 0 h 16384"/>
                      <a:gd name="T30" fmla="*/ 0 w 16384"/>
                      <a:gd name="T31" fmla="*/ 0 h 16384"/>
                      <a:gd name="T32" fmla="*/ 0 w 16384"/>
                      <a:gd name="T33" fmla="*/ 0 h 16384"/>
                      <a:gd name="T34" fmla="*/ 0 60000 65536"/>
                      <a:gd name="T35" fmla="*/ 0 60000 65536"/>
                      <a:gd name="T36" fmla="*/ 0 60000 65536"/>
                      <a:gd name="T37" fmla="*/ 0 60000 65536"/>
                      <a:gd name="T38" fmla="*/ 0 60000 65536"/>
                      <a:gd name="T39" fmla="*/ 0 60000 65536"/>
                      <a:gd name="T40" fmla="*/ 0 60000 65536"/>
                      <a:gd name="T41" fmla="*/ 0 60000 65536"/>
                      <a:gd name="T42" fmla="*/ 0 60000 65536"/>
                      <a:gd name="T43" fmla="*/ 0 60000 65536"/>
                      <a:gd name="T44" fmla="*/ 0 60000 65536"/>
                      <a:gd name="T45" fmla="*/ 0 60000 65536"/>
                      <a:gd name="T46" fmla="*/ 0 60000 65536"/>
                      <a:gd name="T47" fmla="*/ 0 60000 65536"/>
                      <a:gd name="T48" fmla="*/ 0 60000 65536"/>
                      <a:gd name="T49" fmla="*/ 0 60000 65536"/>
                      <a:gd name="T50" fmla="*/ 0 60000 65536"/>
                      <a:gd name="T51" fmla="*/ 0 w 16384"/>
                      <a:gd name="T52" fmla="*/ 0 h 16384"/>
                      <a:gd name="T53" fmla="*/ 16384 w 16384"/>
                      <a:gd name="T54" fmla="*/ 16384 h 16384"/>
                    </a:gdLst>
                    <a:ahLst/>
                    <a:cxnLst>
                      <a:cxn ang="T34">
                        <a:pos x="T0" y="T1"/>
                      </a:cxn>
                      <a:cxn ang="T35">
                        <a:pos x="T2" y="T3"/>
                      </a:cxn>
                      <a:cxn ang="T36">
                        <a:pos x="T4" y="T5"/>
                      </a:cxn>
                      <a:cxn ang="T37">
                        <a:pos x="T6" y="T7"/>
                      </a:cxn>
                      <a:cxn ang="T38">
                        <a:pos x="T8" y="T9"/>
                      </a:cxn>
                      <a:cxn ang="T39">
                        <a:pos x="T10" y="T11"/>
                      </a:cxn>
                      <a:cxn ang="T40">
                        <a:pos x="T12" y="T13"/>
                      </a:cxn>
                      <a:cxn ang="T41">
                        <a:pos x="T14" y="T15"/>
                      </a:cxn>
                      <a:cxn ang="T42">
                        <a:pos x="T16" y="T17"/>
                      </a:cxn>
                      <a:cxn ang="T43">
                        <a:pos x="T18" y="T19"/>
                      </a:cxn>
                      <a:cxn ang="T44">
                        <a:pos x="T20" y="T21"/>
                      </a:cxn>
                      <a:cxn ang="T45">
                        <a:pos x="T22" y="T23"/>
                      </a:cxn>
                      <a:cxn ang="T46">
                        <a:pos x="T24" y="T25"/>
                      </a:cxn>
                      <a:cxn ang="T47">
                        <a:pos x="T26" y="T27"/>
                      </a:cxn>
                      <a:cxn ang="T48">
                        <a:pos x="T28" y="T29"/>
                      </a:cxn>
                      <a:cxn ang="T49">
                        <a:pos x="T30" y="T31"/>
                      </a:cxn>
                      <a:cxn ang="T50">
                        <a:pos x="T32" y="T33"/>
                      </a:cxn>
                    </a:cxnLst>
                    <a:rect l="T51" t="T52" r="T53" b="T54"/>
                    <a:pathLst>
                      <a:path w="16384" h="16384">
                        <a:moveTo>
                          <a:pt x="0" y="16384"/>
                        </a:moveTo>
                        <a:lnTo>
                          <a:pt x="607" y="13824"/>
                        </a:lnTo>
                        <a:lnTo>
                          <a:pt x="3034" y="12288"/>
                        </a:lnTo>
                        <a:lnTo>
                          <a:pt x="5461" y="11776"/>
                        </a:lnTo>
                        <a:lnTo>
                          <a:pt x="9102" y="9728"/>
                        </a:lnTo>
                        <a:lnTo>
                          <a:pt x="10316" y="9216"/>
                        </a:lnTo>
                        <a:lnTo>
                          <a:pt x="12136" y="5120"/>
                        </a:lnTo>
                        <a:lnTo>
                          <a:pt x="12743" y="0"/>
                        </a:lnTo>
                        <a:lnTo>
                          <a:pt x="14564" y="1024"/>
                        </a:lnTo>
                        <a:lnTo>
                          <a:pt x="16384" y="2048"/>
                        </a:lnTo>
                        <a:lnTo>
                          <a:pt x="16384" y="5120"/>
                        </a:lnTo>
                        <a:lnTo>
                          <a:pt x="14564" y="9728"/>
                        </a:lnTo>
                        <a:lnTo>
                          <a:pt x="12743" y="13312"/>
                        </a:lnTo>
                        <a:lnTo>
                          <a:pt x="7889" y="15360"/>
                        </a:lnTo>
                        <a:lnTo>
                          <a:pt x="6675" y="15360"/>
                        </a:lnTo>
                        <a:lnTo>
                          <a:pt x="2427" y="16384"/>
                        </a:lnTo>
                        <a:lnTo>
                          <a:pt x="0" y="16384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 w="952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marL="0" marR="0" lvl="0" indent="0" defTabSz="121917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141" name="D127">
                    <a:extLst>
                      <a:ext uri="{FF2B5EF4-FFF2-40B4-BE49-F238E27FC236}">
                        <a16:creationId xmlns:a16="http://schemas.microsoft.com/office/drawing/2014/main" id="{21EA4950-B294-3FF0-6567-F59F4FBB0AC1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62795" y="13983105"/>
                    <a:ext cx="0" cy="0"/>
                  </a:xfrm>
                  <a:custGeom>
                    <a:avLst/>
                    <a:gdLst>
                      <a:gd name="T0" fmla="*/ 0 w 16384"/>
                      <a:gd name="T1" fmla="*/ 0 h 16384"/>
                      <a:gd name="T2" fmla="*/ 0 w 16384"/>
                      <a:gd name="T3" fmla="*/ 0 h 16384"/>
                      <a:gd name="T4" fmla="*/ 0 w 16384"/>
                      <a:gd name="T5" fmla="*/ 0 h 16384"/>
                      <a:gd name="T6" fmla="*/ 0 w 16384"/>
                      <a:gd name="T7" fmla="*/ 0 h 16384"/>
                      <a:gd name="T8" fmla="*/ 0 w 16384"/>
                      <a:gd name="T9" fmla="*/ 0 h 16384"/>
                      <a:gd name="T10" fmla="*/ 0 w 16384"/>
                      <a:gd name="T11" fmla="*/ 0 h 16384"/>
                      <a:gd name="T12" fmla="*/ 0 w 16384"/>
                      <a:gd name="T13" fmla="*/ 0 h 16384"/>
                      <a:gd name="T14" fmla="*/ 0 w 16384"/>
                      <a:gd name="T15" fmla="*/ 0 h 16384"/>
                      <a:gd name="T16" fmla="*/ 0 w 16384"/>
                      <a:gd name="T17" fmla="*/ 0 h 16384"/>
                      <a:gd name="T18" fmla="*/ 0 w 16384"/>
                      <a:gd name="T19" fmla="*/ 0 h 16384"/>
                      <a:gd name="T20" fmla="*/ 0 w 16384"/>
                      <a:gd name="T21" fmla="*/ 0 h 16384"/>
                      <a:gd name="T22" fmla="*/ 0 w 16384"/>
                      <a:gd name="T23" fmla="*/ 0 h 16384"/>
                      <a:gd name="T24" fmla="*/ 0 w 16384"/>
                      <a:gd name="T25" fmla="*/ 0 h 16384"/>
                      <a:gd name="T26" fmla="*/ 0 w 16384"/>
                      <a:gd name="T27" fmla="*/ 0 h 16384"/>
                      <a:gd name="T28" fmla="*/ 0 w 16384"/>
                      <a:gd name="T29" fmla="*/ 0 h 16384"/>
                      <a:gd name="T30" fmla="*/ 0 w 16384"/>
                      <a:gd name="T31" fmla="*/ 0 h 16384"/>
                      <a:gd name="T32" fmla="*/ 0 60000 65536"/>
                      <a:gd name="T33" fmla="*/ 0 60000 65536"/>
                      <a:gd name="T34" fmla="*/ 0 60000 65536"/>
                      <a:gd name="T35" fmla="*/ 0 60000 65536"/>
                      <a:gd name="T36" fmla="*/ 0 60000 65536"/>
                      <a:gd name="T37" fmla="*/ 0 60000 65536"/>
                      <a:gd name="T38" fmla="*/ 0 60000 65536"/>
                      <a:gd name="T39" fmla="*/ 0 60000 65536"/>
                      <a:gd name="T40" fmla="*/ 0 60000 65536"/>
                      <a:gd name="T41" fmla="*/ 0 60000 65536"/>
                      <a:gd name="T42" fmla="*/ 0 60000 65536"/>
                      <a:gd name="T43" fmla="*/ 0 60000 65536"/>
                      <a:gd name="T44" fmla="*/ 0 60000 65536"/>
                      <a:gd name="T45" fmla="*/ 0 60000 65536"/>
                      <a:gd name="T46" fmla="*/ 0 60000 65536"/>
                      <a:gd name="T47" fmla="*/ 0 60000 65536"/>
                      <a:gd name="T48" fmla="*/ 0 w 16384"/>
                      <a:gd name="T49" fmla="*/ 0 h 16384"/>
                      <a:gd name="T50" fmla="*/ 16384 w 16384"/>
                      <a:gd name="T51" fmla="*/ 16384 h 16384"/>
                    </a:gdLst>
                    <a:ahLst/>
                    <a:cxnLst>
                      <a:cxn ang="T32">
                        <a:pos x="T0" y="T1"/>
                      </a:cxn>
                      <a:cxn ang="T33">
                        <a:pos x="T2" y="T3"/>
                      </a:cxn>
                      <a:cxn ang="T34">
                        <a:pos x="T4" y="T5"/>
                      </a:cxn>
                      <a:cxn ang="T35">
                        <a:pos x="T6" y="T7"/>
                      </a:cxn>
                      <a:cxn ang="T36">
                        <a:pos x="T8" y="T9"/>
                      </a:cxn>
                      <a:cxn ang="T37">
                        <a:pos x="T10" y="T11"/>
                      </a:cxn>
                      <a:cxn ang="T38">
                        <a:pos x="T12" y="T13"/>
                      </a:cxn>
                      <a:cxn ang="T39">
                        <a:pos x="T14" y="T15"/>
                      </a:cxn>
                      <a:cxn ang="T40">
                        <a:pos x="T16" y="T17"/>
                      </a:cxn>
                      <a:cxn ang="T41">
                        <a:pos x="T18" y="T19"/>
                      </a:cxn>
                      <a:cxn ang="T42">
                        <a:pos x="T20" y="T21"/>
                      </a:cxn>
                      <a:cxn ang="T43">
                        <a:pos x="T22" y="T23"/>
                      </a:cxn>
                      <a:cxn ang="T44">
                        <a:pos x="T24" y="T25"/>
                      </a:cxn>
                      <a:cxn ang="T45">
                        <a:pos x="T26" y="T27"/>
                      </a:cxn>
                      <a:cxn ang="T46">
                        <a:pos x="T28" y="T29"/>
                      </a:cxn>
                      <a:cxn ang="T47">
                        <a:pos x="T30" y="T31"/>
                      </a:cxn>
                    </a:cxnLst>
                    <a:rect l="T48" t="T49" r="T50" b="T51"/>
                    <a:pathLst>
                      <a:path w="16384" h="16384">
                        <a:moveTo>
                          <a:pt x="8548" y="8192"/>
                        </a:moveTo>
                        <a:lnTo>
                          <a:pt x="7836" y="9557"/>
                        </a:lnTo>
                        <a:lnTo>
                          <a:pt x="7123" y="10923"/>
                        </a:lnTo>
                        <a:lnTo>
                          <a:pt x="7123" y="12288"/>
                        </a:lnTo>
                        <a:lnTo>
                          <a:pt x="2849" y="16384"/>
                        </a:lnTo>
                        <a:lnTo>
                          <a:pt x="2137" y="13653"/>
                        </a:lnTo>
                        <a:lnTo>
                          <a:pt x="0" y="9557"/>
                        </a:lnTo>
                        <a:lnTo>
                          <a:pt x="2849" y="2731"/>
                        </a:lnTo>
                        <a:lnTo>
                          <a:pt x="5699" y="0"/>
                        </a:lnTo>
                        <a:lnTo>
                          <a:pt x="7836" y="1365"/>
                        </a:lnTo>
                        <a:lnTo>
                          <a:pt x="12822" y="1365"/>
                        </a:lnTo>
                        <a:lnTo>
                          <a:pt x="16384" y="1365"/>
                        </a:lnTo>
                        <a:lnTo>
                          <a:pt x="16384" y="2731"/>
                        </a:lnTo>
                        <a:lnTo>
                          <a:pt x="13535" y="6827"/>
                        </a:lnTo>
                        <a:lnTo>
                          <a:pt x="9973" y="7509"/>
                        </a:lnTo>
                        <a:lnTo>
                          <a:pt x="8548" y="8192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 w="952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marL="0" marR="0" lvl="0" indent="0" defTabSz="121917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142" name="D129">
                    <a:extLst>
                      <a:ext uri="{FF2B5EF4-FFF2-40B4-BE49-F238E27FC236}">
                        <a16:creationId xmlns:a16="http://schemas.microsoft.com/office/drawing/2014/main" id="{13FEA98B-1448-6A60-01D9-338D7BAEBC7B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62795" y="13983078"/>
                    <a:ext cx="0" cy="0"/>
                  </a:xfrm>
                  <a:custGeom>
                    <a:avLst/>
                    <a:gdLst>
                      <a:gd name="T0" fmla="*/ 0 w 16384"/>
                      <a:gd name="T1" fmla="*/ 0 h 16384"/>
                      <a:gd name="T2" fmla="*/ 0 w 16384"/>
                      <a:gd name="T3" fmla="*/ 0 h 16384"/>
                      <a:gd name="T4" fmla="*/ 0 w 16384"/>
                      <a:gd name="T5" fmla="*/ 0 h 16384"/>
                      <a:gd name="T6" fmla="*/ 0 w 16384"/>
                      <a:gd name="T7" fmla="*/ 0 h 16384"/>
                      <a:gd name="T8" fmla="*/ 0 w 16384"/>
                      <a:gd name="T9" fmla="*/ 0 h 16384"/>
                      <a:gd name="T10" fmla="*/ 0 w 16384"/>
                      <a:gd name="T11" fmla="*/ 0 h 16384"/>
                      <a:gd name="T12" fmla="*/ 0 w 16384"/>
                      <a:gd name="T13" fmla="*/ 0 h 16384"/>
                      <a:gd name="T14" fmla="*/ 0 w 16384"/>
                      <a:gd name="T15" fmla="*/ 0 h 16384"/>
                      <a:gd name="T16" fmla="*/ 0 w 16384"/>
                      <a:gd name="T17" fmla="*/ 0 h 16384"/>
                      <a:gd name="T18" fmla="*/ 0 w 16384"/>
                      <a:gd name="T19" fmla="*/ 0 h 16384"/>
                      <a:gd name="T20" fmla="*/ 0 w 16384"/>
                      <a:gd name="T21" fmla="*/ 0 h 16384"/>
                      <a:gd name="T22" fmla="*/ 0 w 16384"/>
                      <a:gd name="T23" fmla="*/ 0 h 16384"/>
                      <a:gd name="T24" fmla="*/ 0 w 16384"/>
                      <a:gd name="T25" fmla="*/ 0 h 16384"/>
                      <a:gd name="T26" fmla="*/ 0 w 16384"/>
                      <a:gd name="T27" fmla="*/ 0 h 16384"/>
                      <a:gd name="T28" fmla="*/ 0 60000 65536"/>
                      <a:gd name="T29" fmla="*/ 0 60000 65536"/>
                      <a:gd name="T30" fmla="*/ 0 60000 65536"/>
                      <a:gd name="T31" fmla="*/ 0 60000 65536"/>
                      <a:gd name="T32" fmla="*/ 0 60000 65536"/>
                      <a:gd name="T33" fmla="*/ 0 60000 65536"/>
                      <a:gd name="T34" fmla="*/ 0 60000 65536"/>
                      <a:gd name="T35" fmla="*/ 0 60000 65536"/>
                      <a:gd name="T36" fmla="*/ 0 60000 65536"/>
                      <a:gd name="T37" fmla="*/ 0 60000 65536"/>
                      <a:gd name="T38" fmla="*/ 0 60000 65536"/>
                      <a:gd name="T39" fmla="*/ 0 60000 65536"/>
                      <a:gd name="T40" fmla="*/ 0 60000 65536"/>
                      <a:gd name="T41" fmla="*/ 0 60000 65536"/>
                      <a:gd name="T42" fmla="*/ 0 w 16384"/>
                      <a:gd name="T43" fmla="*/ 0 h 16384"/>
                      <a:gd name="T44" fmla="*/ 16384 w 16384"/>
                      <a:gd name="T45" fmla="*/ 16384 h 16384"/>
                    </a:gdLst>
                    <a:ahLst/>
                    <a:cxnLst>
                      <a:cxn ang="T28">
                        <a:pos x="T0" y="T1"/>
                      </a:cxn>
                      <a:cxn ang="T29">
                        <a:pos x="T2" y="T3"/>
                      </a:cxn>
                      <a:cxn ang="T30">
                        <a:pos x="T4" y="T5"/>
                      </a:cxn>
                      <a:cxn ang="T31">
                        <a:pos x="T6" y="T7"/>
                      </a:cxn>
                      <a:cxn ang="T32">
                        <a:pos x="T8" y="T9"/>
                      </a:cxn>
                      <a:cxn ang="T33">
                        <a:pos x="T10" y="T11"/>
                      </a:cxn>
                      <a:cxn ang="T34">
                        <a:pos x="T12" y="T13"/>
                      </a:cxn>
                      <a:cxn ang="T35">
                        <a:pos x="T14" y="T15"/>
                      </a:cxn>
                      <a:cxn ang="T36">
                        <a:pos x="T16" y="T17"/>
                      </a:cxn>
                      <a:cxn ang="T37">
                        <a:pos x="T18" y="T19"/>
                      </a:cxn>
                      <a:cxn ang="T38">
                        <a:pos x="T20" y="T21"/>
                      </a:cxn>
                      <a:cxn ang="T39">
                        <a:pos x="T22" y="T23"/>
                      </a:cxn>
                      <a:cxn ang="T40">
                        <a:pos x="T24" y="T25"/>
                      </a:cxn>
                      <a:cxn ang="T41">
                        <a:pos x="T26" y="T27"/>
                      </a:cxn>
                    </a:cxnLst>
                    <a:rect l="T42" t="T43" r="T44" b="T45"/>
                    <a:pathLst>
                      <a:path w="16384" h="16384">
                        <a:moveTo>
                          <a:pt x="964" y="6554"/>
                        </a:moveTo>
                        <a:lnTo>
                          <a:pt x="0" y="6554"/>
                        </a:lnTo>
                        <a:lnTo>
                          <a:pt x="964" y="4369"/>
                        </a:lnTo>
                        <a:lnTo>
                          <a:pt x="1928" y="2185"/>
                        </a:lnTo>
                        <a:lnTo>
                          <a:pt x="4819" y="0"/>
                        </a:lnTo>
                        <a:lnTo>
                          <a:pt x="8674" y="2185"/>
                        </a:lnTo>
                        <a:lnTo>
                          <a:pt x="12529" y="4369"/>
                        </a:lnTo>
                        <a:lnTo>
                          <a:pt x="15420" y="10923"/>
                        </a:lnTo>
                        <a:lnTo>
                          <a:pt x="16384" y="16384"/>
                        </a:lnTo>
                        <a:lnTo>
                          <a:pt x="11565" y="12015"/>
                        </a:lnTo>
                        <a:lnTo>
                          <a:pt x="8674" y="7646"/>
                        </a:lnTo>
                        <a:lnTo>
                          <a:pt x="4819" y="8738"/>
                        </a:lnTo>
                        <a:lnTo>
                          <a:pt x="1928" y="10923"/>
                        </a:lnTo>
                        <a:lnTo>
                          <a:pt x="964" y="6554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 w="952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marL="0" marR="0" lvl="0" indent="0" defTabSz="121917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143" name="D131">
                    <a:extLst>
                      <a:ext uri="{FF2B5EF4-FFF2-40B4-BE49-F238E27FC236}">
                        <a16:creationId xmlns:a16="http://schemas.microsoft.com/office/drawing/2014/main" id="{B8BE6ED1-41CB-DE49-6A4D-DCCDBA84116E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63101" y="13983066"/>
                    <a:ext cx="0" cy="0"/>
                  </a:xfrm>
                  <a:custGeom>
                    <a:avLst/>
                    <a:gdLst>
                      <a:gd name="T0" fmla="*/ 0 w 16384"/>
                      <a:gd name="T1" fmla="*/ 0 h 16384"/>
                      <a:gd name="T2" fmla="*/ 0 w 16384"/>
                      <a:gd name="T3" fmla="*/ 0 h 16384"/>
                      <a:gd name="T4" fmla="*/ 0 w 16384"/>
                      <a:gd name="T5" fmla="*/ 0 h 16384"/>
                      <a:gd name="T6" fmla="*/ 0 w 16384"/>
                      <a:gd name="T7" fmla="*/ 0 h 16384"/>
                      <a:gd name="T8" fmla="*/ 0 w 16384"/>
                      <a:gd name="T9" fmla="*/ 0 h 16384"/>
                      <a:gd name="T10" fmla="*/ 0 w 16384"/>
                      <a:gd name="T11" fmla="*/ 0 h 16384"/>
                      <a:gd name="T12" fmla="*/ 0 w 16384"/>
                      <a:gd name="T13" fmla="*/ 0 h 16384"/>
                      <a:gd name="T14" fmla="*/ 0 w 16384"/>
                      <a:gd name="T15" fmla="*/ 0 h 16384"/>
                      <a:gd name="T16" fmla="*/ 0 w 16384"/>
                      <a:gd name="T17" fmla="*/ 0 h 16384"/>
                      <a:gd name="T18" fmla="*/ 0 w 16384"/>
                      <a:gd name="T19" fmla="*/ 0 h 16384"/>
                      <a:gd name="T20" fmla="*/ 0 w 16384"/>
                      <a:gd name="T21" fmla="*/ 0 h 16384"/>
                      <a:gd name="T22" fmla="*/ 0 w 16384"/>
                      <a:gd name="T23" fmla="*/ 0 h 16384"/>
                      <a:gd name="T24" fmla="*/ 0 w 16384"/>
                      <a:gd name="T25" fmla="*/ 0 h 16384"/>
                      <a:gd name="T26" fmla="*/ 0 w 16384"/>
                      <a:gd name="T27" fmla="*/ 0 h 16384"/>
                      <a:gd name="T28" fmla="*/ 0 60000 65536"/>
                      <a:gd name="T29" fmla="*/ 0 60000 65536"/>
                      <a:gd name="T30" fmla="*/ 0 60000 65536"/>
                      <a:gd name="T31" fmla="*/ 0 60000 65536"/>
                      <a:gd name="T32" fmla="*/ 0 60000 65536"/>
                      <a:gd name="T33" fmla="*/ 0 60000 65536"/>
                      <a:gd name="T34" fmla="*/ 0 60000 65536"/>
                      <a:gd name="T35" fmla="*/ 0 60000 65536"/>
                      <a:gd name="T36" fmla="*/ 0 60000 65536"/>
                      <a:gd name="T37" fmla="*/ 0 60000 65536"/>
                      <a:gd name="T38" fmla="*/ 0 60000 65536"/>
                      <a:gd name="T39" fmla="*/ 0 60000 65536"/>
                      <a:gd name="T40" fmla="*/ 0 60000 65536"/>
                      <a:gd name="T41" fmla="*/ 0 60000 65536"/>
                      <a:gd name="T42" fmla="*/ 0 w 16384"/>
                      <a:gd name="T43" fmla="*/ 0 h 16384"/>
                      <a:gd name="T44" fmla="*/ 16384 w 16384"/>
                      <a:gd name="T45" fmla="*/ 16384 h 16384"/>
                    </a:gdLst>
                    <a:ahLst/>
                    <a:cxnLst>
                      <a:cxn ang="T28">
                        <a:pos x="T0" y="T1"/>
                      </a:cxn>
                      <a:cxn ang="T29">
                        <a:pos x="T2" y="T3"/>
                      </a:cxn>
                      <a:cxn ang="T30">
                        <a:pos x="T4" y="T5"/>
                      </a:cxn>
                      <a:cxn ang="T31">
                        <a:pos x="T6" y="T7"/>
                      </a:cxn>
                      <a:cxn ang="T32">
                        <a:pos x="T8" y="T9"/>
                      </a:cxn>
                      <a:cxn ang="T33">
                        <a:pos x="T10" y="T11"/>
                      </a:cxn>
                      <a:cxn ang="T34">
                        <a:pos x="T12" y="T13"/>
                      </a:cxn>
                      <a:cxn ang="T35">
                        <a:pos x="T14" y="T15"/>
                      </a:cxn>
                      <a:cxn ang="T36">
                        <a:pos x="T16" y="T17"/>
                      </a:cxn>
                      <a:cxn ang="T37">
                        <a:pos x="T18" y="T19"/>
                      </a:cxn>
                      <a:cxn ang="T38">
                        <a:pos x="T20" y="T21"/>
                      </a:cxn>
                      <a:cxn ang="T39">
                        <a:pos x="T22" y="T23"/>
                      </a:cxn>
                      <a:cxn ang="T40">
                        <a:pos x="T24" y="T25"/>
                      </a:cxn>
                      <a:cxn ang="T41">
                        <a:pos x="T26" y="T27"/>
                      </a:cxn>
                    </a:cxnLst>
                    <a:rect l="T42" t="T43" r="T44" b="T45"/>
                    <a:pathLst>
                      <a:path w="16384" h="16384">
                        <a:moveTo>
                          <a:pt x="0" y="0"/>
                        </a:moveTo>
                        <a:lnTo>
                          <a:pt x="1489" y="2341"/>
                        </a:lnTo>
                        <a:lnTo>
                          <a:pt x="4468" y="2341"/>
                        </a:lnTo>
                        <a:lnTo>
                          <a:pt x="4468" y="5851"/>
                        </a:lnTo>
                        <a:lnTo>
                          <a:pt x="5958" y="5851"/>
                        </a:lnTo>
                        <a:lnTo>
                          <a:pt x="10426" y="1170"/>
                        </a:lnTo>
                        <a:lnTo>
                          <a:pt x="13405" y="1170"/>
                        </a:lnTo>
                        <a:lnTo>
                          <a:pt x="16384" y="2341"/>
                        </a:lnTo>
                        <a:lnTo>
                          <a:pt x="16384" y="11703"/>
                        </a:lnTo>
                        <a:lnTo>
                          <a:pt x="13405" y="16384"/>
                        </a:lnTo>
                        <a:lnTo>
                          <a:pt x="7447" y="16384"/>
                        </a:lnTo>
                        <a:lnTo>
                          <a:pt x="1489" y="11703"/>
                        </a:lnTo>
                        <a:lnTo>
                          <a:pt x="0" y="4681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 w="952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marL="0" marR="0" lvl="0" indent="0" defTabSz="121917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144" name="D138">
                    <a:extLst>
                      <a:ext uri="{FF2B5EF4-FFF2-40B4-BE49-F238E27FC236}">
                        <a16:creationId xmlns:a16="http://schemas.microsoft.com/office/drawing/2014/main" id="{1DE40755-F4F3-23E5-96A2-11D3B196CEC8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55825" y="13983105"/>
                    <a:ext cx="0" cy="0"/>
                  </a:xfrm>
                  <a:custGeom>
                    <a:avLst/>
                    <a:gdLst>
                      <a:gd name="T0" fmla="*/ 0 w 16384"/>
                      <a:gd name="T1" fmla="*/ 0 h 16384"/>
                      <a:gd name="T2" fmla="*/ 0 w 16384"/>
                      <a:gd name="T3" fmla="*/ 0 h 16384"/>
                      <a:gd name="T4" fmla="*/ 0 w 16384"/>
                      <a:gd name="T5" fmla="*/ 0 h 16384"/>
                      <a:gd name="T6" fmla="*/ 0 w 16384"/>
                      <a:gd name="T7" fmla="*/ 0 h 16384"/>
                      <a:gd name="T8" fmla="*/ 0 w 16384"/>
                      <a:gd name="T9" fmla="*/ 0 h 16384"/>
                      <a:gd name="T10" fmla="*/ 0 w 16384"/>
                      <a:gd name="T11" fmla="*/ 0 h 16384"/>
                      <a:gd name="T12" fmla="*/ 0 w 16384"/>
                      <a:gd name="T13" fmla="*/ 0 h 16384"/>
                      <a:gd name="T14" fmla="*/ 0 w 16384"/>
                      <a:gd name="T15" fmla="*/ 0 h 16384"/>
                      <a:gd name="T16" fmla="*/ 0 60000 65536"/>
                      <a:gd name="T17" fmla="*/ 0 60000 65536"/>
                      <a:gd name="T18" fmla="*/ 0 60000 65536"/>
                      <a:gd name="T19" fmla="*/ 0 60000 65536"/>
                      <a:gd name="T20" fmla="*/ 0 60000 65536"/>
                      <a:gd name="T21" fmla="*/ 0 60000 65536"/>
                      <a:gd name="T22" fmla="*/ 0 60000 65536"/>
                      <a:gd name="T23" fmla="*/ 0 60000 65536"/>
                      <a:gd name="T24" fmla="*/ 0 w 16384"/>
                      <a:gd name="T25" fmla="*/ 0 h 16384"/>
                      <a:gd name="T26" fmla="*/ 16384 w 16384"/>
                      <a:gd name="T27" fmla="*/ 16384 h 16384"/>
                    </a:gdLst>
                    <a:ahLst/>
                    <a:cxnLst>
                      <a:cxn ang="T16">
                        <a:pos x="T0" y="T1"/>
                      </a:cxn>
                      <a:cxn ang="T17">
                        <a:pos x="T2" y="T3"/>
                      </a:cxn>
                      <a:cxn ang="T18">
                        <a:pos x="T4" y="T5"/>
                      </a:cxn>
                      <a:cxn ang="T19">
                        <a:pos x="T6" y="T7"/>
                      </a:cxn>
                      <a:cxn ang="T20">
                        <a:pos x="T8" y="T9"/>
                      </a:cxn>
                      <a:cxn ang="T21">
                        <a:pos x="T10" y="T11"/>
                      </a:cxn>
                      <a:cxn ang="T22">
                        <a:pos x="T12" y="T13"/>
                      </a:cxn>
                      <a:cxn ang="T23">
                        <a:pos x="T14" y="T15"/>
                      </a:cxn>
                    </a:cxnLst>
                    <a:rect l="T24" t="T25" r="T26" b="T27"/>
                    <a:pathLst>
                      <a:path w="16384" h="16384">
                        <a:moveTo>
                          <a:pt x="4096" y="9362"/>
                        </a:moveTo>
                        <a:lnTo>
                          <a:pt x="0" y="2341"/>
                        </a:lnTo>
                        <a:lnTo>
                          <a:pt x="6144" y="0"/>
                        </a:lnTo>
                        <a:lnTo>
                          <a:pt x="12288" y="2341"/>
                        </a:lnTo>
                        <a:lnTo>
                          <a:pt x="16384" y="16384"/>
                        </a:lnTo>
                        <a:lnTo>
                          <a:pt x="12288" y="16384"/>
                        </a:lnTo>
                        <a:lnTo>
                          <a:pt x="4096" y="16384"/>
                        </a:lnTo>
                        <a:lnTo>
                          <a:pt x="4096" y="9362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 w="952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marL="0" marR="0" lvl="0" indent="0" defTabSz="121917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</a:endParaRPr>
                  </a:p>
                </p:txBody>
              </p:sp>
            </p:grpSp>
            <p:grpSp>
              <p:nvGrpSpPr>
                <p:cNvPr id="71" name="Hawaii">
                  <a:extLst>
                    <a:ext uri="{FF2B5EF4-FFF2-40B4-BE49-F238E27FC236}">
                      <a16:creationId xmlns:a16="http://schemas.microsoft.com/office/drawing/2014/main" id="{EDBC0A99-DCDA-4CC7-49FB-520C2FF35F17}"/>
                    </a:ext>
                  </a:extLst>
                </p:cNvPr>
                <p:cNvGrpSpPr>
                  <a:grpSpLocks/>
                </p:cNvGrpSpPr>
                <p:nvPr/>
              </p:nvGrpSpPr>
              <p:grpSpPr bwMode="auto">
                <a:xfrm>
                  <a:off x="6838950" y="15505680"/>
                  <a:ext cx="5295905" cy="3590929"/>
                  <a:chOff x="6838950" y="15505680"/>
                  <a:chExt cx="19845" cy="400"/>
                </a:xfrm>
              </p:grpSpPr>
              <p:sp>
                <p:nvSpPr>
                  <p:cNvPr id="133" name="D100">
                    <a:extLst>
                      <a:ext uri="{FF2B5EF4-FFF2-40B4-BE49-F238E27FC236}">
                        <a16:creationId xmlns:a16="http://schemas.microsoft.com/office/drawing/2014/main" id="{79F8D6EB-B236-9358-7011-79FDC4AB6632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6838950" y="15505680"/>
                    <a:ext cx="1925" cy="44"/>
                  </a:xfrm>
                  <a:custGeom>
                    <a:avLst/>
                    <a:gdLst>
                      <a:gd name="T0" fmla="*/ 0 w 16384"/>
                      <a:gd name="T1" fmla="*/ 0 h 16384"/>
                      <a:gd name="T2" fmla="*/ 0 w 16384"/>
                      <a:gd name="T3" fmla="*/ 0 h 16384"/>
                      <a:gd name="T4" fmla="*/ 0 w 16384"/>
                      <a:gd name="T5" fmla="*/ 0 h 16384"/>
                      <a:gd name="T6" fmla="*/ 0 w 16384"/>
                      <a:gd name="T7" fmla="*/ 0 h 16384"/>
                      <a:gd name="T8" fmla="*/ 0 w 16384"/>
                      <a:gd name="T9" fmla="*/ 0 h 16384"/>
                      <a:gd name="T10" fmla="*/ 0 w 16384"/>
                      <a:gd name="T11" fmla="*/ 0 h 16384"/>
                      <a:gd name="T12" fmla="*/ 0 w 16384"/>
                      <a:gd name="T13" fmla="*/ 0 h 16384"/>
                      <a:gd name="T14" fmla="*/ 0 w 16384"/>
                      <a:gd name="T15" fmla="*/ 0 h 16384"/>
                      <a:gd name="T16" fmla="*/ 0 w 16384"/>
                      <a:gd name="T17" fmla="*/ 0 h 16384"/>
                      <a:gd name="T18" fmla="*/ 0 w 16384"/>
                      <a:gd name="T19" fmla="*/ 0 h 16384"/>
                      <a:gd name="T20" fmla="*/ 0 w 16384"/>
                      <a:gd name="T21" fmla="*/ 0 h 16384"/>
                      <a:gd name="T22" fmla="*/ 0 w 16384"/>
                      <a:gd name="T23" fmla="*/ 0 h 16384"/>
                      <a:gd name="T24" fmla="*/ 0 w 16384"/>
                      <a:gd name="T25" fmla="*/ 0 h 16384"/>
                      <a:gd name="T26" fmla="*/ 0 w 16384"/>
                      <a:gd name="T27" fmla="*/ 0 h 16384"/>
                      <a:gd name="T28" fmla="*/ 0 w 16384"/>
                      <a:gd name="T29" fmla="*/ 0 h 16384"/>
                      <a:gd name="T30" fmla="*/ 0 w 16384"/>
                      <a:gd name="T31" fmla="*/ 0 h 16384"/>
                      <a:gd name="T32" fmla="*/ 0 w 16384"/>
                      <a:gd name="T33" fmla="*/ 0 h 16384"/>
                      <a:gd name="T34" fmla="*/ 0 w 16384"/>
                      <a:gd name="T35" fmla="*/ 0 h 16384"/>
                      <a:gd name="T36" fmla="*/ 0 60000 65536"/>
                      <a:gd name="T37" fmla="*/ 0 60000 65536"/>
                      <a:gd name="T38" fmla="*/ 0 60000 65536"/>
                      <a:gd name="T39" fmla="*/ 0 60000 65536"/>
                      <a:gd name="T40" fmla="*/ 0 60000 65536"/>
                      <a:gd name="T41" fmla="*/ 0 60000 65536"/>
                      <a:gd name="T42" fmla="*/ 0 60000 65536"/>
                      <a:gd name="T43" fmla="*/ 0 60000 65536"/>
                      <a:gd name="T44" fmla="*/ 0 60000 65536"/>
                      <a:gd name="T45" fmla="*/ 0 60000 65536"/>
                      <a:gd name="T46" fmla="*/ 0 60000 65536"/>
                      <a:gd name="T47" fmla="*/ 0 60000 65536"/>
                      <a:gd name="T48" fmla="*/ 0 60000 65536"/>
                      <a:gd name="T49" fmla="*/ 0 60000 65536"/>
                      <a:gd name="T50" fmla="*/ 0 60000 65536"/>
                      <a:gd name="T51" fmla="*/ 0 60000 65536"/>
                      <a:gd name="T52" fmla="*/ 0 60000 65536"/>
                      <a:gd name="T53" fmla="*/ 0 60000 65536"/>
                      <a:gd name="T54" fmla="*/ 0 w 16384"/>
                      <a:gd name="T55" fmla="*/ 0 h 16384"/>
                      <a:gd name="T56" fmla="*/ 16384 w 16384"/>
                      <a:gd name="T57" fmla="*/ 16384 h 16384"/>
                    </a:gdLst>
                    <a:ahLst/>
                    <a:cxnLst>
                      <a:cxn ang="T36">
                        <a:pos x="T0" y="T1"/>
                      </a:cxn>
                      <a:cxn ang="T37">
                        <a:pos x="T2" y="T3"/>
                      </a:cxn>
                      <a:cxn ang="T38">
                        <a:pos x="T4" y="T5"/>
                      </a:cxn>
                      <a:cxn ang="T39">
                        <a:pos x="T6" y="T7"/>
                      </a:cxn>
                      <a:cxn ang="T40">
                        <a:pos x="T8" y="T9"/>
                      </a:cxn>
                      <a:cxn ang="T41">
                        <a:pos x="T10" y="T11"/>
                      </a:cxn>
                      <a:cxn ang="T42">
                        <a:pos x="T12" y="T13"/>
                      </a:cxn>
                      <a:cxn ang="T43">
                        <a:pos x="T14" y="T15"/>
                      </a:cxn>
                      <a:cxn ang="T44">
                        <a:pos x="T16" y="T17"/>
                      </a:cxn>
                      <a:cxn ang="T45">
                        <a:pos x="T18" y="T19"/>
                      </a:cxn>
                      <a:cxn ang="T46">
                        <a:pos x="T20" y="T21"/>
                      </a:cxn>
                      <a:cxn ang="T47">
                        <a:pos x="T22" y="T23"/>
                      </a:cxn>
                      <a:cxn ang="T48">
                        <a:pos x="T24" y="T25"/>
                      </a:cxn>
                      <a:cxn ang="T49">
                        <a:pos x="T26" y="T27"/>
                      </a:cxn>
                      <a:cxn ang="T50">
                        <a:pos x="T28" y="T29"/>
                      </a:cxn>
                      <a:cxn ang="T51">
                        <a:pos x="T30" y="T31"/>
                      </a:cxn>
                      <a:cxn ang="T52">
                        <a:pos x="T32" y="T33"/>
                      </a:cxn>
                      <a:cxn ang="T53">
                        <a:pos x="T34" y="T35"/>
                      </a:cxn>
                    </a:cxnLst>
                    <a:rect l="T54" t="T55" r="T56" b="T57"/>
                    <a:pathLst>
                      <a:path w="16384" h="16384">
                        <a:moveTo>
                          <a:pt x="4096" y="473"/>
                        </a:moveTo>
                        <a:lnTo>
                          <a:pt x="4478" y="473"/>
                        </a:lnTo>
                        <a:lnTo>
                          <a:pt x="5680" y="473"/>
                        </a:lnTo>
                        <a:lnTo>
                          <a:pt x="7373" y="828"/>
                        </a:lnTo>
                        <a:lnTo>
                          <a:pt x="10267" y="828"/>
                        </a:lnTo>
                        <a:lnTo>
                          <a:pt x="12670" y="0"/>
                        </a:lnTo>
                        <a:lnTo>
                          <a:pt x="13981" y="0"/>
                        </a:lnTo>
                        <a:lnTo>
                          <a:pt x="16384" y="5264"/>
                        </a:lnTo>
                        <a:lnTo>
                          <a:pt x="16384" y="8399"/>
                        </a:lnTo>
                        <a:lnTo>
                          <a:pt x="13216" y="12835"/>
                        </a:lnTo>
                        <a:lnTo>
                          <a:pt x="9503" y="16384"/>
                        </a:lnTo>
                        <a:lnTo>
                          <a:pt x="6554" y="15911"/>
                        </a:lnTo>
                        <a:lnTo>
                          <a:pt x="4096" y="12835"/>
                        </a:lnTo>
                        <a:lnTo>
                          <a:pt x="1256" y="11948"/>
                        </a:lnTo>
                        <a:lnTo>
                          <a:pt x="0" y="8399"/>
                        </a:lnTo>
                        <a:lnTo>
                          <a:pt x="1256" y="5264"/>
                        </a:lnTo>
                        <a:lnTo>
                          <a:pt x="2403" y="3076"/>
                        </a:lnTo>
                        <a:lnTo>
                          <a:pt x="4096" y="473"/>
                        </a:lnTo>
                        <a:close/>
                      </a:path>
                    </a:pathLst>
                  </a:custGeom>
                  <a:solidFill>
                    <a:srgbClr val="FFFF00"/>
                  </a:solidFill>
                  <a:ln w="952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marL="0" marR="0" lvl="0" indent="0" defTabSz="121917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134" name="D101">
                    <a:extLst>
                      <a:ext uri="{FF2B5EF4-FFF2-40B4-BE49-F238E27FC236}">
                        <a16:creationId xmlns:a16="http://schemas.microsoft.com/office/drawing/2014/main" id="{0D3B7D0C-F336-FD04-378C-AD3D0DDFD4DE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6845049" y="15505752"/>
                    <a:ext cx="1750" cy="44"/>
                  </a:xfrm>
                  <a:custGeom>
                    <a:avLst/>
                    <a:gdLst>
                      <a:gd name="T0" fmla="*/ 0 w 16384"/>
                      <a:gd name="T1" fmla="*/ 0 h 16384"/>
                      <a:gd name="T2" fmla="*/ 0 w 16384"/>
                      <a:gd name="T3" fmla="*/ 0 h 16384"/>
                      <a:gd name="T4" fmla="*/ 0 w 16384"/>
                      <a:gd name="T5" fmla="*/ 0 h 16384"/>
                      <a:gd name="T6" fmla="*/ 0 w 16384"/>
                      <a:gd name="T7" fmla="*/ 0 h 16384"/>
                      <a:gd name="T8" fmla="*/ 0 w 16384"/>
                      <a:gd name="T9" fmla="*/ 0 h 16384"/>
                      <a:gd name="T10" fmla="*/ 0 w 16384"/>
                      <a:gd name="T11" fmla="*/ 0 h 16384"/>
                      <a:gd name="T12" fmla="*/ 0 w 16384"/>
                      <a:gd name="T13" fmla="*/ 0 h 16384"/>
                      <a:gd name="T14" fmla="*/ 0 w 16384"/>
                      <a:gd name="T15" fmla="*/ 0 h 16384"/>
                      <a:gd name="T16" fmla="*/ 0 w 16384"/>
                      <a:gd name="T17" fmla="*/ 0 h 16384"/>
                      <a:gd name="T18" fmla="*/ 0 w 16384"/>
                      <a:gd name="T19" fmla="*/ 0 h 16384"/>
                      <a:gd name="T20" fmla="*/ 0 w 16384"/>
                      <a:gd name="T21" fmla="*/ 0 h 16384"/>
                      <a:gd name="T22" fmla="*/ 0 w 16384"/>
                      <a:gd name="T23" fmla="*/ 0 h 16384"/>
                      <a:gd name="T24" fmla="*/ 0 w 16384"/>
                      <a:gd name="T25" fmla="*/ 0 h 16384"/>
                      <a:gd name="T26" fmla="*/ 0 60000 65536"/>
                      <a:gd name="T27" fmla="*/ 0 60000 65536"/>
                      <a:gd name="T28" fmla="*/ 0 60000 65536"/>
                      <a:gd name="T29" fmla="*/ 0 60000 65536"/>
                      <a:gd name="T30" fmla="*/ 0 60000 65536"/>
                      <a:gd name="T31" fmla="*/ 0 60000 65536"/>
                      <a:gd name="T32" fmla="*/ 0 60000 65536"/>
                      <a:gd name="T33" fmla="*/ 0 60000 65536"/>
                      <a:gd name="T34" fmla="*/ 0 60000 65536"/>
                      <a:gd name="T35" fmla="*/ 0 60000 65536"/>
                      <a:gd name="T36" fmla="*/ 0 60000 65536"/>
                      <a:gd name="T37" fmla="*/ 0 60000 65536"/>
                      <a:gd name="T38" fmla="*/ 0 60000 65536"/>
                      <a:gd name="T39" fmla="*/ 0 w 16384"/>
                      <a:gd name="T40" fmla="*/ 0 h 16384"/>
                      <a:gd name="T41" fmla="*/ 16384 w 16384"/>
                      <a:gd name="T42" fmla="*/ 16384 h 16384"/>
                    </a:gdLst>
                    <a:ahLst/>
                    <a:cxnLst>
                      <a:cxn ang="T26">
                        <a:pos x="T0" y="T1"/>
                      </a:cxn>
                      <a:cxn ang="T27">
                        <a:pos x="T2" y="T3"/>
                      </a:cxn>
                      <a:cxn ang="T28">
                        <a:pos x="T4" y="T5"/>
                      </a:cxn>
                      <a:cxn ang="T29">
                        <a:pos x="T6" y="T7"/>
                      </a:cxn>
                      <a:cxn ang="T30">
                        <a:pos x="T8" y="T9"/>
                      </a:cxn>
                      <a:cxn ang="T31">
                        <a:pos x="T10" y="T11"/>
                      </a:cxn>
                      <a:cxn ang="T32">
                        <a:pos x="T12" y="T13"/>
                      </a:cxn>
                      <a:cxn ang="T33">
                        <a:pos x="T14" y="T15"/>
                      </a:cxn>
                      <a:cxn ang="T34">
                        <a:pos x="T16" y="T17"/>
                      </a:cxn>
                      <a:cxn ang="T35">
                        <a:pos x="T18" y="T19"/>
                      </a:cxn>
                      <a:cxn ang="T36">
                        <a:pos x="T20" y="T21"/>
                      </a:cxn>
                      <a:cxn ang="T37">
                        <a:pos x="T22" y="T23"/>
                      </a:cxn>
                      <a:cxn ang="T38">
                        <a:pos x="T24" y="T25"/>
                      </a:cxn>
                    </a:cxnLst>
                    <a:rect l="T39" t="T40" r="T41" b="T42"/>
                    <a:pathLst>
                      <a:path w="16384" h="16384">
                        <a:moveTo>
                          <a:pt x="1517" y="5811"/>
                        </a:moveTo>
                        <a:lnTo>
                          <a:pt x="1517" y="2101"/>
                        </a:lnTo>
                        <a:lnTo>
                          <a:pt x="4248" y="0"/>
                        </a:lnTo>
                        <a:lnTo>
                          <a:pt x="8799" y="3641"/>
                        </a:lnTo>
                        <a:lnTo>
                          <a:pt x="13400" y="9452"/>
                        </a:lnTo>
                        <a:lnTo>
                          <a:pt x="16384" y="13653"/>
                        </a:lnTo>
                        <a:lnTo>
                          <a:pt x="14968" y="14774"/>
                        </a:lnTo>
                        <a:lnTo>
                          <a:pt x="11428" y="15264"/>
                        </a:lnTo>
                        <a:lnTo>
                          <a:pt x="7282" y="16384"/>
                        </a:lnTo>
                        <a:lnTo>
                          <a:pt x="3439" y="13163"/>
                        </a:lnTo>
                        <a:lnTo>
                          <a:pt x="0" y="5811"/>
                        </a:lnTo>
                        <a:lnTo>
                          <a:pt x="405" y="3641"/>
                        </a:lnTo>
                        <a:lnTo>
                          <a:pt x="1517" y="5811"/>
                        </a:lnTo>
                        <a:close/>
                      </a:path>
                    </a:pathLst>
                  </a:custGeom>
                  <a:solidFill>
                    <a:srgbClr val="FFFF00"/>
                  </a:solidFill>
                  <a:ln w="952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marL="0" marR="0" lvl="0" indent="0" defTabSz="121917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135" name="D102">
                    <a:extLst>
                      <a:ext uri="{FF2B5EF4-FFF2-40B4-BE49-F238E27FC236}">
                        <a16:creationId xmlns:a16="http://schemas.microsoft.com/office/drawing/2014/main" id="{D48C077D-A4A9-1704-3C88-1695BD98A29C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6848785" y="15505808"/>
                    <a:ext cx="2240" cy="8"/>
                  </a:xfrm>
                  <a:custGeom>
                    <a:avLst/>
                    <a:gdLst>
                      <a:gd name="T0" fmla="*/ 0 w 16384"/>
                      <a:gd name="T1" fmla="*/ 0 h 16384"/>
                      <a:gd name="T2" fmla="*/ 0 w 16384"/>
                      <a:gd name="T3" fmla="*/ 0 h 16384"/>
                      <a:gd name="T4" fmla="*/ 0 w 16384"/>
                      <a:gd name="T5" fmla="*/ 0 h 16384"/>
                      <a:gd name="T6" fmla="*/ 0 w 16384"/>
                      <a:gd name="T7" fmla="*/ 0 h 16384"/>
                      <a:gd name="T8" fmla="*/ 0 w 16384"/>
                      <a:gd name="T9" fmla="*/ 0 h 16384"/>
                      <a:gd name="T10" fmla="*/ 0 w 16384"/>
                      <a:gd name="T11" fmla="*/ 0 h 16384"/>
                      <a:gd name="T12" fmla="*/ 0 w 16384"/>
                      <a:gd name="T13" fmla="*/ 0 h 16384"/>
                      <a:gd name="T14" fmla="*/ 0 w 16384"/>
                      <a:gd name="T15" fmla="*/ 0 h 16384"/>
                      <a:gd name="T16" fmla="*/ 0 w 16384"/>
                      <a:gd name="T17" fmla="*/ 0 h 16384"/>
                      <a:gd name="T18" fmla="*/ 0 w 16384"/>
                      <a:gd name="T19" fmla="*/ 0 h 16384"/>
                      <a:gd name="T20" fmla="*/ 0 w 16384"/>
                      <a:gd name="T21" fmla="*/ 0 h 16384"/>
                      <a:gd name="T22" fmla="*/ 0 w 16384"/>
                      <a:gd name="T23" fmla="*/ 0 h 16384"/>
                      <a:gd name="T24" fmla="*/ 0 w 16384"/>
                      <a:gd name="T25" fmla="*/ 0 h 16384"/>
                      <a:gd name="T26" fmla="*/ 0 w 16384"/>
                      <a:gd name="T27" fmla="*/ 0 h 16384"/>
                      <a:gd name="T28" fmla="*/ 0 60000 65536"/>
                      <a:gd name="T29" fmla="*/ 0 60000 65536"/>
                      <a:gd name="T30" fmla="*/ 0 60000 65536"/>
                      <a:gd name="T31" fmla="*/ 0 60000 65536"/>
                      <a:gd name="T32" fmla="*/ 0 60000 65536"/>
                      <a:gd name="T33" fmla="*/ 0 60000 65536"/>
                      <a:gd name="T34" fmla="*/ 0 60000 65536"/>
                      <a:gd name="T35" fmla="*/ 0 60000 65536"/>
                      <a:gd name="T36" fmla="*/ 0 60000 65536"/>
                      <a:gd name="T37" fmla="*/ 0 60000 65536"/>
                      <a:gd name="T38" fmla="*/ 0 60000 65536"/>
                      <a:gd name="T39" fmla="*/ 0 60000 65536"/>
                      <a:gd name="T40" fmla="*/ 0 60000 65536"/>
                      <a:gd name="T41" fmla="*/ 0 60000 65536"/>
                      <a:gd name="T42" fmla="*/ 0 w 16384"/>
                      <a:gd name="T43" fmla="*/ 0 h 16384"/>
                      <a:gd name="T44" fmla="*/ 16384 w 16384"/>
                      <a:gd name="T45" fmla="*/ 16384 h 16384"/>
                    </a:gdLst>
                    <a:ahLst/>
                    <a:cxnLst>
                      <a:cxn ang="T28">
                        <a:pos x="T0" y="T1"/>
                      </a:cxn>
                      <a:cxn ang="T29">
                        <a:pos x="T2" y="T3"/>
                      </a:cxn>
                      <a:cxn ang="T30">
                        <a:pos x="T4" y="T5"/>
                      </a:cxn>
                      <a:cxn ang="T31">
                        <a:pos x="T6" y="T7"/>
                      </a:cxn>
                      <a:cxn ang="T32">
                        <a:pos x="T8" y="T9"/>
                      </a:cxn>
                      <a:cxn ang="T33">
                        <a:pos x="T10" y="T11"/>
                      </a:cxn>
                      <a:cxn ang="T34">
                        <a:pos x="T12" y="T13"/>
                      </a:cxn>
                      <a:cxn ang="T35">
                        <a:pos x="T14" y="T15"/>
                      </a:cxn>
                      <a:cxn ang="T36">
                        <a:pos x="T16" y="T17"/>
                      </a:cxn>
                      <a:cxn ang="T37">
                        <a:pos x="T18" y="T19"/>
                      </a:cxn>
                      <a:cxn ang="T38">
                        <a:pos x="T20" y="T21"/>
                      </a:cxn>
                      <a:cxn ang="T39">
                        <a:pos x="T22" y="T23"/>
                      </a:cxn>
                      <a:cxn ang="T40">
                        <a:pos x="T24" y="T25"/>
                      </a:cxn>
                      <a:cxn ang="T41">
                        <a:pos x="T26" y="T27"/>
                      </a:cxn>
                    </a:cxnLst>
                    <a:rect l="T42" t="T43" r="T44" b="T45"/>
                    <a:pathLst>
                      <a:path w="16384" h="16384">
                        <a:moveTo>
                          <a:pt x="0" y="8037"/>
                        </a:moveTo>
                        <a:lnTo>
                          <a:pt x="915" y="3555"/>
                        </a:lnTo>
                        <a:lnTo>
                          <a:pt x="3530" y="1082"/>
                        </a:lnTo>
                        <a:lnTo>
                          <a:pt x="9107" y="2318"/>
                        </a:lnTo>
                        <a:lnTo>
                          <a:pt x="12767" y="0"/>
                        </a:lnTo>
                        <a:lnTo>
                          <a:pt x="15687" y="0"/>
                        </a:lnTo>
                        <a:lnTo>
                          <a:pt x="16384" y="4637"/>
                        </a:lnTo>
                        <a:lnTo>
                          <a:pt x="16384" y="11592"/>
                        </a:lnTo>
                        <a:lnTo>
                          <a:pt x="12767" y="16384"/>
                        </a:lnTo>
                        <a:lnTo>
                          <a:pt x="8192" y="12829"/>
                        </a:lnTo>
                        <a:lnTo>
                          <a:pt x="5185" y="10510"/>
                        </a:lnTo>
                        <a:lnTo>
                          <a:pt x="3268" y="13911"/>
                        </a:lnTo>
                        <a:lnTo>
                          <a:pt x="1220" y="15147"/>
                        </a:lnTo>
                        <a:lnTo>
                          <a:pt x="0" y="8037"/>
                        </a:lnTo>
                        <a:close/>
                      </a:path>
                    </a:pathLst>
                  </a:custGeom>
                  <a:solidFill>
                    <a:srgbClr val="4472C4">
                      <a:lumMod val="40000"/>
                      <a:lumOff val="60000"/>
                    </a:srgbClr>
                  </a:solidFill>
                  <a:ln w="952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marL="0" marR="0" lvl="0" indent="0" defTabSz="121917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136" name="D103">
                    <a:extLst>
                      <a:ext uri="{FF2B5EF4-FFF2-40B4-BE49-F238E27FC236}">
                        <a16:creationId xmlns:a16="http://schemas.microsoft.com/office/drawing/2014/main" id="{BD1B081F-6B95-335F-A228-5A54024BEAA9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6851305" y="15505826"/>
                    <a:ext cx="2730" cy="58"/>
                  </a:xfrm>
                  <a:custGeom>
                    <a:avLst/>
                    <a:gdLst>
                      <a:gd name="T0" fmla="*/ 0 w 16384"/>
                      <a:gd name="T1" fmla="*/ 0 h 16384"/>
                      <a:gd name="T2" fmla="*/ 0 w 16384"/>
                      <a:gd name="T3" fmla="*/ 0 h 16384"/>
                      <a:gd name="T4" fmla="*/ 0 w 16384"/>
                      <a:gd name="T5" fmla="*/ 0 h 16384"/>
                      <a:gd name="T6" fmla="*/ 0 w 16384"/>
                      <a:gd name="T7" fmla="*/ 0 h 16384"/>
                      <a:gd name="T8" fmla="*/ 0 w 16384"/>
                      <a:gd name="T9" fmla="*/ 0 h 16384"/>
                      <a:gd name="T10" fmla="*/ 0 w 16384"/>
                      <a:gd name="T11" fmla="*/ 0 h 16384"/>
                      <a:gd name="T12" fmla="*/ 0 w 16384"/>
                      <a:gd name="T13" fmla="*/ 0 h 16384"/>
                      <a:gd name="T14" fmla="*/ 0 w 16384"/>
                      <a:gd name="T15" fmla="*/ 0 h 16384"/>
                      <a:gd name="T16" fmla="*/ 0 w 16384"/>
                      <a:gd name="T17" fmla="*/ 0 h 16384"/>
                      <a:gd name="T18" fmla="*/ 0 w 16384"/>
                      <a:gd name="T19" fmla="*/ 0 h 16384"/>
                      <a:gd name="T20" fmla="*/ 0 w 16384"/>
                      <a:gd name="T21" fmla="*/ 0 h 16384"/>
                      <a:gd name="T22" fmla="*/ 0 w 16384"/>
                      <a:gd name="T23" fmla="*/ 0 h 16384"/>
                      <a:gd name="T24" fmla="*/ 0 w 16384"/>
                      <a:gd name="T25" fmla="*/ 0 h 16384"/>
                      <a:gd name="T26" fmla="*/ 0 w 16384"/>
                      <a:gd name="T27" fmla="*/ 0 h 16384"/>
                      <a:gd name="T28" fmla="*/ 0 w 16384"/>
                      <a:gd name="T29" fmla="*/ 0 h 16384"/>
                      <a:gd name="T30" fmla="*/ 0 w 16384"/>
                      <a:gd name="T31" fmla="*/ 0 h 16384"/>
                      <a:gd name="T32" fmla="*/ 0 w 16384"/>
                      <a:gd name="T33" fmla="*/ 0 h 16384"/>
                      <a:gd name="T34" fmla="*/ 0 w 16384"/>
                      <a:gd name="T35" fmla="*/ 0 h 16384"/>
                      <a:gd name="T36" fmla="*/ 0 w 16384"/>
                      <a:gd name="T37" fmla="*/ 0 h 16384"/>
                      <a:gd name="T38" fmla="*/ 0 w 16384"/>
                      <a:gd name="T39" fmla="*/ 0 h 16384"/>
                      <a:gd name="T40" fmla="*/ 0 60000 65536"/>
                      <a:gd name="T41" fmla="*/ 0 60000 65536"/>
                      <a:gd name="T42" fmla="*/ 0 60000 65536"/>
                      <a:gd name="T43" fmla="*/ 0 60000 65536"/>
                      <a:gd name="T44" fmla="*/ 0 60000 65536"/>
                      <a:gd name="T45" fmla="*/ 0 60000 65536"/>
                      <a:gd name="T46" fmla="*/ 0 60000 65536"/>
                      <a:gd name="T47" fmla="*/ 0 60000 65536"/>
                      <a:gd name="T48" fmla="*/ 0 60000 65536"/>
                      <a:gd name="T49" fmla="*/ 0 60000 65536"/>
                      <a:gd name="T50" fmla="*/ 0 60000 65536"/>
                      <a:gd name="T51" fmla="*/ 0 60000 65536"/>
                      <a:gd name="T52" fmla="*/ 0 60000 65536"/>
                      <a:gd name="T53" fmla="*/ 0 60000 65536"/>
                      <a:gd name="T54" fmla="*/ 0 60000 65536"/>
                      <a:gd name="T55" fmla="*/ 0 60000 65536"/>
                      <a:gd name="T56" fmla="*/ 0 60000 65536"/>
                      <a:gd name="T57" fmla="*/ 0 60000 65536"/>
                      <a:gd name="T58" fmla="*/ 0 60000 65536"/>
                      <a:gd name="T59" fmla="*/ 0 60000 65536"/>
                      <a:gd name="T60" fmla="*/ 0 w 16384"/>
                      <a:gd name="T61" fmla="*/ 0 h 16384"/>
                      <a:gd name="T62" fmla="*/ 16384 w 16384"/>
                      <a:gd name="T63" fmla="*/ 16384 h 16384"/>
                    </a:gdLst>
                    <a:ahLst/>
                    <a:cxnLst>
                      <a:cxn ang="T40">
                        <a:pos x="T0" y="T1"/>
                      </a:cxn>
                      <a:cxn ang="T41">
                        <a:pos x="T2" y="T3"/>
                      </a:cxn>
                      <a:cxn ang="T42">
                        <a:pos x="T4" y="T5"/>
                      </a:cxn>
                      <a:cxn ang="T43">
                        <a:pos x="T6" y="T7"/>
                      </a:cxn>
                      <a:cxn ang="T44">
                        <a:pos x="T8" y="T9"/>
                      </a:cxn>
                      <a:cxn ang="T45">
                        <a:pos x="T10" y="T11"/>
                      </a:cxn>
                      <a:cxn ang="T46">
                        <a:pos x="T12" y="T13"/>
                      </a:cxn>
                      <a:cxn ang="T47">
                        <a:pos x="T14" y="T15"/>
                      </a:cxn>
                      <a:cxn ang="T48">
                        <a:pos x="T16" y="T17"/>
                      </a:cxn>
                      <a:cxn ang="T49">
                        <a:pos x="T18" y="T19"/>
                      </a:cxn>
                      <a:cxn ang="T50">
                        <a:pos x="T20" y="T21"/>
                      </a:cxn>
                      <a:cxn ang="T51">
                        <a:pos x="T22" y="T23"/>
                      </a:cxn>
                      <a:cxn ang="T52">
                        <a:pos x="T24" y="T25"/>
                      </a:cxn>
                      <a:cxn ang="T53">
                        <a:pos x="T26" y="T27"/>
                      </a:cxn>
                      <a:cxn ang="T54">
                        <a:pos x="T28" y="T29"/>
                      </a:cxn>
                      <a:cxn ang="T55">
                        <a:pos x="T30" y="T31"/>
                      </a:cxn>
                      <a:cxn ang="T56">
                        <a:pos x="T32" y="T33"/>
                      </a:cxn>
                      <a:cxn ang="T57">
                        <a:pos x="T34" y="T35"/>
                      </a:cxn>
                      <a:cxn ang="T58">
                        <a:pos x="T36" y="T37"/>
                      </a:cxn>
                      <a:cxn ang="T59">
                        <a:pos x="T38" y="T39"/>
                      </a:cxn>
                    </a:cxnLst>
                    <a:rect l="T60" t="T61" r="T62" b="T63"/>
                    <a:pathLst>
                      <a:path w="16384" h="16384">
                        <a:moveTo>
                          <a:pt x="6261" y="3277"/>
                        </a:moveTo>
                        <a:lnTo>
                          <a:pt x="6786" y="3277"/>
                        </a:lnTo>
                        <a:lnTo>
                          <a:pt x="7348" y="3277"/>
                        </a:lnTo>
                        <a:lnTo>
                          <a:pt x="8436" y="2217"/>
                        </a:lnTo>
                        <a:lnTo>
                          <a:pt x="10460" y="4385"/>
                        </a:lnTo>
                        <a:lnTo>
                          <a:pt x="14134" y="7276"/>
                        </a:lnTo>
                        <a:lnTo>
                          <a:pt x="16384" y="9059"/>
                        </a:lnTo>
                        <a:lnTo>
                          <a:pt x="16384" y="12047"/>
                        </a:lnTo>
                        <a:lnTo>
                          <a:pt x="12447" y="15998"/>
                        </a:lnTo>
                        <a:lnTo>
                          <a:pt x="10460" y="16384"/>
                        </a:lnTo>
                        <a:lnTo>
                          <a:pt x="7948" y="15324"/>
                        </a:lnTo>
                        <a:lnTo>
                          <a:pt x="5961" y="10168"/>
                        </a:lnTo>
                        <a:lnTo>
                          <a:pt x="4237" y="6891"/>
                        </a:lnTo>
                        <a:lnTo>
                          <a:pt x="2549" y="5783"/>
                        </a:lnTo>
                        <a:lnTo>
                          <a:pt x="600" y="2891"/>
                        </a:lnTo>
                        <a:lnTo>
                          <a:pt x="0" y="2217"/>
                        </a:lnTo>
                        <a:lnTo>
                          <a:pt x="862" y="0"/>
                        </a:lnTo>
                        <a:lnTo>
                          <a:pt x="3149" y="337"/>
                        </a:lnTo>
                        <a:lnTo>
                          <a:pt x="4799" y="2217"/>
                        </a:lnTo>
                        <a:lnTo>
                          <a:pt x="6261" y="3277"/>
                        </a:lnTo>
                        <a:close/>
                      </a:path>
                    </a:pathLst>
                  </a:custGeom>
                  <a:solidFill>
                    <a:srgbClr val="FFFF00"/>
                  </a:solidFill>
                  <a:ln w="952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marL="0" marR="0" lvl="0" indent="0" defTabSz="121917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137" name="D104">
                    <a:extLst>
                      <a:ext uri="{FF2B5EF4-FFF2-40B4-BE49-F238E27FC236}">
                        <a16:creationId xmlns:a16="http://schemas.microsoft.com/office/drawing/2014/main" id="{B0BE1BD1-82CB-205B-D46D-B32830B386A9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6854315" y="15505936"/>
                    <a:ext cx="4480" cy="144"/>
                  </a:xfrm>
                  <a:custGeom>
                    <a:avLst/>
                    <a:gdLst>
                      <a:gd name="T0" fmla="*/ 0 w 16384"/>
                      <a:gd name="T1" fmla="*/ 0 h 16384"/>
                      <a:gd name="T2" fmla="*/ 0 w 16384"/>
                      <a:gd name="T3" fmla="*/ 0 h 16384"/>
                      <a:gd name="T4" fmla="*/ 0 w 16384"/>
                      <a:gd name="T5" fmla="*/ 0 h 16384"/>
                      <a:gd name="T6" fmla="*/ 0 w 16384"/>
                      <a:gd name="T7" fmla="*/ 0 h 16384"/>
                      <a:gd name="T8" fmla="*/ 0 w 16384"/>
                      <a:gd name="T9" fmla="*/ 0 h 16384"/>
                      <a:gd name="T10" fmla="*/ 0 w 16384"/>
                      <a:gd name="T11" fmla="*/ 0 h 16384"/>
                      <a:gd name="T12" fmla="*/ 0 w 16384"/>
                      <a:gd name="T13" fmla="*/ 0 h 16384"/>
                      <a:gd name="T14" fmla="*/ 0 w 16384"/>
                      <a:gd name="T15" fmla="*/ 0 h 16384"/>
                      <a:gd name="T16" fmla="*/ 0 w 16384"/>
                      <a:gd name="T17" fmla="*/ 0 h 16384"/>
                      <a:gd name="T18" fmla="*/ 0 w 16384"/>
                      <a:gd name="T19" fmla="*/ 0 h 16384"/>
                      <a:gd name="T20" fmla="*/ 0 w 16384"/>
                      <a:gd name="T21" fmla="*/ 0 h 16384"/>
                      <a:gd name="T22" fmla="*/ 0 w 16384"/>
                      <a:gd name="T23" fmla="*/ 0 h 16384"/>
                      <a:gd name="T24" fmla="*/ 0 w 16384"/>
                      <a:gd name="T25" fmla="*/ 0 h 16384"/>
                      <a:gd name="T26" fmla="*/ 0 w 16384"/>
                      <a:gd name="T27" fmla="*/ 0 h 16384"/>
                      <a:gd name="T28" fmla="*/ 0 w 16384"/>
                      <a:gd name="T29" fmla="*/ 0 h 16384"/>
                      <a:gd name="T30" fmla="*/ 0 w 16384"/>
                      <a:gd name="T31" fmla="*/ 0 h 16384"/>
                      <a:gd name="T32" fmla="*/ 0 w 16384"/>
                      <a:gd name="T33" fmla="*/ 0 h 16384"/>
                      <a:gd name="T34" fmla="*/ 0 w 16384"/>
                      <a:gd name="T35" fmla="*/ 0 h 16384"/>
                      <a:gd name="T36" fmla="*/ 0 w 16384"/>
                      <a:gd name="T37" fmla="*/ 0 h 16384"/>
                      <a:gd name="T38" fmla="*/ 0 w 16384"/>
                      <a:gd name="T39" fmla="*/ 0 h 16384"/>
                      <a:gd name="T40" fmla="*/ 0 w 16384"/>
                      <a:gd name="T41" fmla="*/ 0 h 16384"/>
                      <a:gd name="T42" fmla="*/ 0 w 16384"/>
                      <a:gd name="T43" fmla="*/ 0 h 16384"/>
                      <a:gd name="T44" fmla="*/ 0 w 16384"/>
                      <a:gd name="T45" fmla="*/ 0 h 16384"/>
                      <a:gd name="T46" fmla="*/ 0 w 16384"/>
                      <a:gd name="T47" fmla="*/ 0 h 16384"/>
                      <a:gd name="T48" fmla="*/ 0 w 16384"/>
                      <a:gd name="T49" fmla="*/ 0 h 16384"/>
                      <a:gd name="T50" fmla="*/ 0 w 16384"/>
                      <a:gd name="T51" fmla="*/ 0 h 16384"/>
                      <a:gd name="T52" fmla="*/ 0 w 16384"/>
                      <a:gd name="T53" fmla="*/ 0 h 16384"/>
                      <a:gd name="T54" fmla="*/ 0 w 16384"/>
                      <a:gd name="T55" fmla="*/ 0 h 16384"/>
                      <a:gd name="T56" fmla="*/ 0 w 16384"/>
                      <a:gd name="T57" fmla="*/ 0 h 16384"/>
                      <a:gd name="T58" fmla="*/ 0 w 16384"/>
                      <a:gd name="T59" fmla="*/ 0 h 16384"/>
                      <a:gd name="T60" fmla="*/ 0 w 16384"/>
                      <a:gd name="T61" fmla="*/ 0 h 16384"/>
                      <a:gd name="T62" fmla="*/ 0 w 16384"/>
                      <a:gd name="T63" fmla="*/ 0 h 16384"/>
                      <a:gd name="T64" fmla="*/ 0 w 16384"/>
                      <a:gd name="T65" fmla="*/ 0 h 16384"/>
                      <a:gd name="T66" fmla="*/ 0 w 16384"/>
                      <a:gd name="T67" fmla="*/ 0 h 16384"/>
                      <a:gd name="T68" fmla="*/ 0 w 16384"/>
                      <a:gd name="T69" fmla="*/ 0 h 16384"/>
                      <a:gd name="T70" fmla="*/ 0 w 16384"/>
                      <a:gd name="T71" fmla="*/ 0 h 16384"/>
                      <a:gd name="T72" fmla="*/ 0 w 16384"/>
                      <a:gd name="T73" fmla="*/ 0 h 16384"/>
                      <a:gd name="T74" fmla="*/ 0 w 16384"/>
                      <a:gd name="T75" fmla="*/ 0 h 16384"/>
                      <a:gd name="T76" fmla="*/ 0 w 16384"/>
                      <a:gd name="T77" fmla="*/ 0 h 16384"/>
                      <a:gd name="T78" fmla="*/ 0 w 16384"/>
                      <a:gd name="T79" fmla="*/ 0 h 16384"/>
                      <a:gd name="T80" fmla="*/ 0 w 16384"/>
                      <a:gd name="T81" fmla="*/ 0 h 16384"/>
                      <a:gd name="T82" fmla="*/ 0 60000 65536"/>
                      <a:gd name="T83" fmla="*/ 0 60000 65536"/>
                      <a:gd name="T84" fmla="*/ 0 60000 65536"/>
                      <a:gd name="T85" fmla="*/ 0 60000 65536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60000 65536"/>
                      <a:gd name="T91" fmla="*/ 0 60000 65536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w 16384"/>
                      <a:gd name="T124" fmla="*/ 0 h 16384"/>
                      <a:gd name="T125" fmla="*/ 16384 w 16384"/>
                      <a:gd name="T126" fmla="*/ 16384 h 16384"/>
                    </a:gdLst>
                    <a:ahLst/>
                    <a:cxnLst>
                      <a:cxn ang="T82">
                        <a:pos x="T0" y="T1"/>
                      </a:cxn>
                      <a:cxn ang="T83">
                        <a:pos x="T2" y="T3"/>
                      </a:cxn>
                      <a:cxn ang="T84">
                        <a:pos x="T4" y="T5"/>
                      </a:cxn>
                      <a:cxn ang="T85">
                        <a:pos x="T6" y="T7"/>
                      </a:cxn>
                      <a:cxn ang="T86">
                        <a:pos x="T8" y="T9"/>
                      </a:cxn>
                      <a:cxn ang="T87">
                        <a:pos x="T10" y="T11"/>
                      </a:cxn>
                      <a:cxn ang="T88">
                        <a:pos x="T12" y="T13"/>
                      </a:cxn>
                      <a:cxn ang="T89">
                        <a:pos x="T14" y="T15"/>
                      </a:cxn>
                      <a:cxn ang="T90">
                        <a:pos x="T16" y="T17"/>
                      </a:cxn>
                      <a:cxn ang="T91">
                        <a:pos x="T18" y="T19"/>
                      </a:cxn>
                      <a:cxn ang="T92">
                        <a:pos x="T20" y="T21"/>
                      </a:cxn>
                      <a:cxn ang="T93">
                        <a:pos x="T22" y="T23"/>
                      </a:cxn>
                      <a:cxn ang="T94">
                        <a:pos x="T24" y="T25"/>
                      </a:cxn>
                      <a:cxn ang="T95">
                        <a:pos x="T26" y="T27"/>
                      </a:cxn>
                      <a:cxn ang="T96">
                        <a:pos x="T28" y="T29"/>
                      </a:cxn>
                      <a:cxn ang="T97">
                        <a:pos x="T30" y="T31"/>
                      </a:cxn>
                      <a:cxn ang="T98">
                        <a:pos x="T32" y="T33"/>
                      </a:cxn>
                      <a:cxn ang="T99">
                        <a:pos x="T34" y="T35"/>
                      </a:cxn>
                      <a:cxn ang="T100">
                        <a:pos x="T36" y="T37"/>
                      </a:cxn>
                      <a:cxn ang="T101">
                        <a:pos x="T38" y="T39"/>
                      </a:cxn>
                      <a:cxn ang="T102">
                        <a:pos x="T40" y="T41"/>
                      </a:cxn>
                      <a:cxn ang="T103">
                        <a:pos x="T42" y="T43"/>
                      </a:cxn>
                      <a:cxn ang="T104">
                        <a:pos x="T44" y="T45"/>
                      </a:cxn>
                      <a:cxn ang="T105">
                        <a:pos x="T46" y="T47"/>
                      </a:cxn>
                      <a:cxn ang="T106">
                        <a:pos x="T48" y="T49"/>
                      </a:cxn>
                      <a:cxn ang="T107">
                        <a:pos x="T50" y="T51"/>
                      </a:cxn>
                      <a:cxn ang="T108">
                        <a:pos x="T52" y="T53"/>
                      </a:cxn>
                      <a:cxn ang="T109">
                        <a:pos x="T54" y="T55"/>
                      </a:cxn>
                      <a:cxn ang="T110">
                        <a:pos x="T56" y="T57"/>
                      </a:cxn>
                      <a:cxn ang="T111">
                        <a:pos x="T58" y="T59"/>
                      </a:cxn>
                      <a:cxn ang="T112">
                        <a:pos x="T60" y="T61"/>
                      </a:cxn>
                      <a:cxn ang="T113">
                        <a:pos x="T62" y="T63"/>
                      </a:cxn>
                      <a:cxn ang="T114">
                        <a:pos x="T64" y="T65"/>
                      </a:cxn>
                      <a:cxn ang="T115">
                        <a:pos x="T66" y="T67"/>
                      </a:cxn>
                      <a:cxn ang="T116">
                        <a:pos x="T68" y="T69"/>
                      </a:cxn>
                      <a:cxn ang="T117">
                        <a:pos x="T70" y="T71"/>
                      </a:cxn>
                      <a:cxn ang="T118">
                        <a:pos x="T72" y="T73"/>
                      </a:cxn>
                      <a:cxn ang="T119">
                        <a:pos x="T74" y="T75"/>
                      </a:cxn>
                      <a:cxn ang="T120">
                        <a:pos x="T76" y="T77"/>
                      </a:cxn>
                      <a:cxn ang="T121">
                        <a:pos x="T78" y="T79"/>
                      </a:cxn>
                      <a:cxn ang="T122">
                        <a:pos x="T80" y="T81"/>
                      </a:cxn>
                    </a:cxnLst>
                    <a:rect l="T123" t="T124" r="T125" b="T126"/>
                    <a:pathLst>
                      <a:path w="16384" h="16384">
                        <a:moveTo>
                          <a:pt x="1085" y="105"/>
                        </a:moveTo>
                        <a:lnTo>
                          <a:pt x="1413" y="385"/>
                        </a:lnTo>
                        <a:lnTo>
                          <a:pt x="1413" y="0"/>
                        </a:lnTo>
                        <a:lnTo>
                          <a:pt x="1720" y="0"/>
                        </a:lnTo>
                        <a:lnTo>
                          <a:pt x="2806" y="105"/>
                        </a:lnTo>
                        <a:lnTo>
                          <a:pt x="4014" y="910"/>
                        </a:lnTo>
                        <a:lnTo>
                          <a:pt x="5427" y="910"/>
                        </a:lnTo>
                        <a:lnTo>
                          <a:pt x="6656" y="1295"/>
                        </a:lnTo>
                        <a:lnTo>
                          <a:pt x="8520" y="1978"/>
                        </a:lnTo>
                        <a:lnTo>
                          <a:pt x="10035" y="2521"/>
                        </a:lnTo>
                        <a:lnTo>
                          <a:pt x="10670" y="2906"/>
                        </a:lnTo>
                        <a:lnTo>
                          <a:pt x="11428" y="3711"/>
                        </a:lnTo>
                        <a:lnTo>
                          <a:pt x="12042" y="4639"/>
                        </a:lnTo>
                        <a:lnTo>
                          <a:pt x="12370" y="5041"/>
                        </a:lnTo>
                        <a:lnTo>
                          <a:pt x="12984" y="5286"/>
                        </a:lnTo>
                        <a:lnTo>
                          <a:pt x="13619" y="5566"/>
                        </a:lnTo>
                        <a:lnTo>
                          <a:pt x="14377" y="6512"/>
                        </a:lnTo>
                        <a:lnTo>
                          <a:pt x="14991" y="7299"/>
                        </a:lnTo>
                        <a:lnTo>
                          <a:pt x="15913" y="7982"/>
                        </a:lnTo>
                        <a:lnTo>
                          <a:pt x="16384" y="9312"/>
                        </a:lnTo>
                        <a:lnTo>
                          <a:pt x="16241" y="9820"/>
                        </a:lnTo>
                        <a:lnTo>
                          <a:pt x="15155" y="11710"/>
                        </a:lnTo>
                        <a:lnTo>
                          <a:pt x="13885" y="11430"/>
                        </a:lnTo>
                        <a:lnTo>
                          <a:pt x="11571" y="11290"/>
                        </a:lnTo>
                        <a:lnTo>
                          <a:pt x="9748" y="11710"/>
                        </a:lnTo>
                        <a:lnTo>
                          <a:pt x="8049" y="12761"/>
                        </a:lnTo>
                        <a:lnTo>
                          <a:pt x="7864" y="12901"/>
                        </a:lnTo>
                        <a:lnTo>
                          <a:pt x="6472" y="14371"/>
                        </a:lnTo>
                        <a:lnTo>
                          <a:pt x="6021" y="15439"/>
                        </a:lnTo>
                        <a:lnTo>
                          <a:pt x="4792" y="16384"/>
                        </a:lnTo>
                        <a:lnTo>
                          <a:pt x="2949" y="15439"/>
                        </a:lnTo>
                        <a:lnTo>
                          <a:pt x="1843" y="13688"/>
                        </a:lnTo>
                        <a:lnTo>
                          <a:pt x="1413" y="11833"/>
                        </a:lnTo>
                        <a:lnTo>
                          <a:pt x="942" y="8892"/>
                        </a:lnTo>
                        <a:lnTo>
                          <a:pt x="123" y="7159"/>
                        </a:lnTo>
                        <a:lnTo>
                          <a:pt x="0" y="5566"/>
                        </a:lnTo>
                        <a:lnTo>
                          <a:pt x="1556" y="3168"/>
                        </a:lnTo>
                        <a:lnTo>
                          <a:pt x="1720" y="1715"/>
                        </a:lnTo>
                        <a:lnTo>
                          <a:pt x="1229" y="245"/>
                        </a:lnTo>
                        <a:lnTo>
                          <a:pt x="1229" y="105"/>
                        </a:lnTo>
                        <a:lnTo>
                          <a:pt x="1085" y="105"/>
                        </a:lnTo>
                        <a:close/>
                      </a:path>
                    </a:pathLst>
                  </a:custGeom>
                  <a:solidFill>
                    <a:srgbClr val="FFFF00"/>
                  </a:solidFill>
                  <a:ln w="952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marL="0" marR="0" lvl="0" indent="0" defTabSz="121917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138" name="D105">
                    <a:extLst>
                      <a:ext uri="{FF2B5EF4-FFF2-40B4-BE49-F238E27FC236}">
                        <a16:creationId xmlns:a16="http://schemas.microsoft.com/office/drawing/2014/main" id="{3BC7E601-7BDD-573D-B287-8F87E8B23C87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6849835" y="15505842"/>
                    <a:ext cx="1190" cy="18"/>
                  </a:xfrm>
                  <a:custGeom>
                    <a:avLst/>
                    <a:gdLst>
                      <a:gd name="T0" fmla="*/ 0 w 16384"/>
                      <a:gd name="T1" fmla="*/ 0 h 16384"/>
                      <a:gd name="T2" fmla="*/ 0 w 16384"/>
                      <a:gd name="T3" fmla="*/ 0 h 16384"/>
                      <a:gd name="T4" fmla="*/ 0 w 16384"/>
                      <a:gd name="T5" fmla="*/ 0 h 16384"/>
                      <a:gd name="T6" fmla="*/ 0 w 16384"/>
                      <a:gd name="T7" fmla="*/ 0 h 16384"/>
                      <a:gd name="T8" fmla="*/ 0 w 16384"/>
                      <a:gd name="T9" fmla="*/ 0 h 16384"/>
                      <a:gd name="T10" fmla="*/ 0 w 16384"/>
                      <a:gd name="T11" fmla="*/ 0 h 16384"/>
                      <a:gd name="T12" fmla="*/ 0 w 16384"/>
                      <a:gd name="T13" fmla="*/ 0 h 16384"/>
                      <a:gd name="T14" fmla="*/ 0 w 16384"/>
                      <a:gd name="T15" fmla="*/ 0 h 16384"/>
                      <a:gd name="T16" fmla="*/ 0 w 16384"/>
                      <a:gd name="T17" fmla="*/ 0 h 16384"/>
                      <a:gd name="T18" fmla="*/ 0 w 16384"/>
                      <a:gd name="T19" fmla="*/ 0 h 16384"/>
                      <a:gd name="T20" fmla="*/ 0 w 16384"/>
                      <a:gd name="T21" fmla="*/ 0 h 16384"/>
                      <a:gd name="T22" fmla="*/ 0 w 16384"/>
                      <a:gd name="T23" fmla="*/ 0 h 16384"/>
                      <a:gd name="T24" fmla="*/ 0 w 16384"/>
                      <a:gd name="T25" fmla="*/ 0 h 16384"/>
                      <a:gd name="T26" fmla="*/ 0 w 16384"/>
                      <a:gd name="T27" fmla="*/ 0 h 16384"/>
                      <a:gd name="T28" fmla="*/ 0 60000 65536"/>
                      <a:gd name="T29" fmla="*/ 0 60000 65536"/>
                      <a:gd name="T30" fmla="*/ 0 60000 65536"/>
                      <a:gd name="T31" fmla="*/ 0 60000 65536"/>
                      <a:gd name="T32" fmla="*/ 0 60000 65536"/>
                      <a:gd name="T33" fmla="*/ 0 60000 65536"/>
                      <a:gd name="T34" fmla="*/ 0 60000 65536"/>
                      <a:gd name="T35" fmla="*/ 0 60000 65536"/>
                      <a:gd name="T36" fmla="*/ 0 60000 65536"/>
                      <a:gd name="T37" fmla="*/ 0 60000 65536"/>
                      <a:gd name="T38" fmla="*/ 0 60000 65536"/>
                      <a:gd name="T39" fmla="*/ 0 60000 65536"/>
                      <a:gd name="T40" fmla="*/ 0 60000 65536"/>
                      <a:gd name="T41" fmla="*/ 0 60000 65536"/>
                      <a:gd name="T42" fmla="*/ 0 w 16384"/>
                      <a:gd name="T43" fmla="*/ 0 h 16384"/>
                      <a:gd name="T44" fmla="*/ 16384 w 16384"/>
                      <a:gd name="T45" fmla="*/ 16384 h 16384"/>
                    </a:gdLst>
                    <a:ahLst/>
                    <a:cxnLst>
                      <a:cxn ang="T28">
                        <a:pos x="T0" y="T1"/>
                      </a:cxn>
                      <a:cxn ang="T29">
                        <a:pos x="T2" y="T3"/>
                      </a:cxn>
                      <a:cxn ang="T30">
                        <a:pos x="T4" y="T5"/>
                      </a:cxn>
                      <a:cxn ang="T31">
                        <a:pos x="T6" y="T7"/>
                      </a:cxn>
                      <a:cxn ang="T32">
                        <a:pos x="T8" y="T9"/>
                      </a:cxn>
                      <a:cxn ang="T33">
                        <a:pos x="T10" y="T11"/>
                      </a:cxn>
                      <a:cxn ang="T34">
                        <a:pos x="T12" y="T13"/>
                      </a:cxn>
                      <a:cxn ang="T35">
                        <a:pos x="T14" y="T15"/>
                      </a:cxn>
                      <a:cxn ang="T36">
                        <a:pos x="T16" y="T17"/>
                      </a:cxn>
                      <a:cxn ang="T37">
                        <a:pos x="T18" y="T19"/>
                      </a:cxn>
                      <a:cxn ang="T38">
                        <a:pos x="T20" y="T21"/>
                      </a:cxn>
                      <a:cxn ang="T39">
                        <a:pos x="T22" y="T23"/>
                      </a:cxn>
                      <a:cxn ang="T40">
                        <a:pos x="T24" y="T25"/>
                      </a:cxn>
                      <a:cxn ang="T41">
                        <a:pos x="T26" y="T27"/>
                      </a:cxn>
                    </a:cxnLst>
                    <a:rect l="T42" t="T43" r="T44" b="T45"/>
                    <a:pathLst>
                      <a:path w="16384" h="16384">
                        <a:moveTo>
                          <a:pt x="1820" y="3114"/>
                        </a:moveTo>
                        <a:lnTo>
                          <a:pt x="0" y="1083"/>
                        </a:lnTo>
                        <a:lnTo>
                          <a:pt x="0" y="0"/>
                        </a:lnTo>
                        <a:lnTo>
                          <a:pt x="2549" y="0"/>
                        </a:lnTo>
                        <a:lnTo>
                          <a:pt x="9102" y="0"/>
                        </a:lnTo>
                        <a:lnTo>
                          <a:pt x="14442" y="6093"/>
                        </a:lnTo>
                        <a:lnTo>
                          <a:pt x="16384" y="10291"/>
                        </a:lnTo>
                        <a:lnTo>
                          <a:pt x="13593" y="15301"/>
                        </a:lnTo>
                        <a:lnTo>
                          <a:pt x="9102" y="16384"/>
                        </a:lnTo>
                        <a:lnTo>
                          <a:pt x="5340" y="13405"/>
                        </a:lnTo>
                        <a:lnTo>
                          <a:pt x="1820" y="8260"/>
                        </a:lnTo>
                        <a:lnTo>
                          <a:pt x="5340" y="13405"/>
                        </a:lnTo>
                        <a:lnTo>
                          <a:pt x="1820" y="8260"/>
                        </a:lnTo>
                        <a:lnTo>
                          <a:pt x="1820" y="3114"/>
                        </a:lnTo>
                        <a:close/>
                      </a:path>
                    </a:pathLst>
                  </a:custGeom>
                  <a:solidFill>
                    <a:srgbClr val="4472C4">
                      <a:lumMod val="40000"/>
                      <a:lumOff val="60000"/>
                    </a:srgbClr>
                  </a:solidFill>
                  <a:ln w="952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marL="0" marR="0" lvl="0" indent="0" defTabSz="121917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</a:endParaRPr>
                  </a:p>
                </p:txBody>
              </p:sp>
            </p:grpSp>
            <p:sp>
              <p:nvSpPr>
                <p:cNvPr id="72" name="District_Of_Columbia">
                  <a:extLst>
                    <a:ext uri="{FF2B5EF4-FFF2-40B4-BE49-F238E27FC236}">
                      <a16:creationId xmlns:a16="http://schemas.microsoft.com/office/drawing/2014/main" id="{F1876AE2-0CCE-9E38-E4A0-C94946C7D50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6746200" y="7924800"/>
                  <a:ext cx="114300" cy="123825"/>
                </a:xfrm>
                <a:custGeom>
                  <a:avLst/>
                  <a:gdLst>
                    <a:gd name="T0" fmla="*/ 0 w 16384"/>
                    <a:gd name="T1" fmla="*/ 2147483647 h 16384"/>
                    <a:gd name="T2" fmla="*/ 2147483647 w 16384"/>
                    <a:gd name="T3" fmla="*/ 0 h 16384"/>
                    <a:gd name="T4" fmla="*/ 2147483647 w 16384"/>
                    <a:gd name="T5" fmla="*/ 2147483647 h 16384"/>
                    <a:gd name="T6" fmla="*/ 2147483647 w 16384"/>
                    <a:gd name="T7" fmla="*/ 2147483647 h 16384"/>
                    <a:gd name="T8" fmla="*/ 2147483647 w 16384"/>
                    <a:gd name="T9" fmla="*/ 2147483647 h 16384"/>
                    <a:gd name="T10" fmla="*/ 2147483647 w 16384"/>
                    <a:gd name="T11" fmla="*/ 2147483647 h 16384"/>
                    <a:gd name="T12" fmla="*/ 2147483647 w 16384"/>
                    <a:gd name="T13" fmla="*/ 2147483647 h 16384"/>
                    <a:gd name="T14" fmla="*/ 2147483647 w 16384"/>
                    <a:gd name="T15" fmla="*/ 2147483647 h 16384"/>
                    <a:gd name="T16" fmla="*/ 2147483647 w 16384"/>
                    <a:gd name="T17" fmla="*/ 2147483647 h 16384"/>
                    <a:gd name="T18" fmla="*/ 0 w 16384"/>
                    <a:gd name="T19" fmla="*/ 2147483647 h 16384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w 16384"/>
                    <a:gd name="T31" fmla="*/ 0 h 16384"/>
                    <a:gd name="T32" fmla="*/ 16384 w 16384"/>
                    <a:gd name="T33" fmla="*/ 16384 h 16384"/>
                  </a:gdLst>
                  <a:ahLst/>
                  <a:cxnLst>
                    <a:cxn ang="T20">
                      <a:pos x="T0" y="T1"/>
                    </a:cxn>
                    <a:cxn ang="T21">
                      <a:pos x="T2" y="T3"/>
                    </a:cxn>
                    <a:cxn ang="T22">
                      <a:pos x="T4" y="T5"/>
                    </a:cxn>
                    <a:cxn ang="T23">
                      <a:pos x="T6" y="T7"/>
                    </a:cxn>
                    <a:cxn ang="T24">
                      <a:pos x="T8" y="T9"/>
                    </a:cxn>
                    <a:cxn ang="T25">
                      <a:pos x="T10" y="T11"/>
                    </a:cxn>
                    <a:cxn ang="T26">
                      <a:pos x="T12" y="T13"/>
                    </a:cxn>
                    <a:cxn ang="T27">
                      <a:pos x="T14" y="T15"/>
                    </a:cxn>
                    <a:cxn ang="T28">
                      <a:pos x="T16" y="T17"/>
                    </a:cxn>
                    <a:cxn ang="T29">
                      <a:pos x="T18" y="T19"/>
                    </a:cxn>
                  </a:cxnLst>
                  <a:rect l="T30" t="T31" r="T32" b="T33"/>
                  <a:pathLst>
                    <a:path w="16384" h="16384">
                      <a:moveTo>
                        <a:pt x="0" y="7022"/>
                      </a:moveTo>
                      <a:lnTo>
                        <a:pt x="5461" y="0"/>
                      </a:lnTo>
                      <a:lnTo>
                        <a:pt x="9557" y="2341"/>
                      </a:lnTo>
                      <a:lnTo>
                        <a:pt x="16384" y="7022"/>
                      </a:lnTo>
                      <a:lnTo>
                        <a:pt x="9557" y="16384"/>
                      </a:lnTo>
                      <a:lnTo>
                        <a:pt x="9557" y="14043"/>
                      </a:lnTo>
                      <a:lnTo>
                        <a:pt x="6827" y="11703"/>
                      </a:lnTo>
                      <a:lnTo>
                        <a:pt x="5461" y="9362"/>
                      </a:lnTo>
                      <a:lnTo>
                        <a:pt x="4096" y="8192"/>
                      </a:lnTo>
                      <a:lnTo>
                        <a:pt x="0" y="7022"/>
                      </a:lnTo>
                      <a:close/>
                    </a:path>
                  </a:pathLst>
                </a:custGeom>
                <a:solidFill>
                  <a:srgbClr val="FFFF99"/>
                </a:solidFill>
                <a:ln w="9525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defTabSz="121917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73" name="Line 101">
                  <a:extLst>
                    <a:ext uri="{FF2B5EF4-FFF2-40B4-BE49-F238E27FC236}">
                      <a16:creationId xmlns:a16="http://schemas.microsoft.com/office/drawing/2014/main" id="{302D2DE8-38BB-29A1-4F42-023A5C2DF611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25565100" y="2476500"/>
                  <a:ext cx="2800350" cy="1219200"/>
                </a:xfrm>
                <a:prstGeom prst="line">
                  <a:avLst/>
                </a:prstGeom>
                <a:noFill/>
                <a:ln w="9525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defTabSz="121917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74" name="Line 102">
                  <a:extLst>
                    <a:ext uri="{FF2B5EF4-FFF2-40B4-BE49-F238E27FC236}">
                      <a16:creationId xmlns:a16="http://schemas.microsoft.com/office/drawing/2014/main" id="{5DA2B7AC-1959-D000-396F-994D6DA65607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27470100" y="990600"/>
                  <a:ext cx="1533525" cy="2781300"/>
                </a:xfrm>
                <a:prstGeom prst="line">
                  <a:avLst/>
                </a:prstGeom>
                <a:noFill/>
                <a:ln w="9525">
                  <a:solidFill>
                    <a:srgbClr val="00000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/>
                <a:lstStyle/>
                <a:p>
                  <a:pPr marL="0" marR="0" lvl="0" indent="0" defTabSz="121917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75" name="Line 103">
                  <a:extLst>
                    <a:ext uri="{FF2B5EF4-FFF2-40B4-BE49-F238E27FC236}">
                      <a16:creationId xmlns:a16="http://schemas.microsoft.com/office/drawing/2014/main" id="{DD63D2BA-39BF-E655-82B7-D1CB42F6F156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H="1">
                  <a:off x="29337000" y="4114800"/>
                  <a:ext cx="1647825" cy="762000"/>
                </a:xfrm>
                <a:prstGeom prst="line">
                  <a:avLst/>
                </a:prstGeom>
                <a:noFill/>
                <a:ln w="9525">
                  <a:solidFill>
                    <a:srgbClr val="00000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/>
                <a:lstStyle/>
                <a:p>
                  <a:pPr marL="0" marR="0" lvl="0" indent="0" defTabSz="121917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76" name="Line 104">
                  <a:extLst>
                    <a:ext uri="{FF2B5EF4-FFF2-40B4-BE49-F238E27FC236}">
                      <a16:creationId xmlns:a16="http://schemas.microsoft.com/office/drawing/2014/main" id="{A285F1B0-760C-DE19-8936-6132D4C44672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H="1" flipV="1">
                  <a:off x="29260800" y="5295900"/>
                  <a:ext cx="2238375" cy="457200"/>
                </a:xfrm>
                <a:prstGeom prst="line">
                  <a:avLst/>
                </a:prstGeom>
                <a:noFill/>
                <a:ln w="9525">
                  <a:solidFill>
                    <a:srgbClr val="00000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/>
                <a:lstStyle/>
                <a:p>
                  <a:pPr marL="0" marR="0" lvl="0" indent="0" defTabSz="121917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77" name="Line 105">
                  <a:extLst>
                    <a:ext uri="{FF2B5EF4-FFF2-40B4-BE49-F238E27FC236}">
                      <a16:creationId xmlns:a16="http://schemas.microsoft.com/office/drawing/2014/main" id="{B566694B-971D-712D-CBC0-810EC289C69A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H="1" flipV="1">
                  <a:off x="28813125" y="5524500"/>
                  <a:ext cx="2619375" cy="1104900"/>
                </a:xfrm>
                <a:prstGeom prst="line">
                  <a:avLst/>
                </a:prstGeom>
                <a:noFill/>
                <a:ln w="9525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defTabSz="121917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78" name="Line 106">
                  <a:extLst>
                    <a:ext uri="{FF2B5EF4-FFF2-40B4-BE49-F238E27FC236}">
                      <a16:creationId xmlns:a16="http://schemas.microsoft.com/office/drawing/2014/main" id="{2E637E6F-FD32-C7E8-BA17-A4CDF51BA1B6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H="1" flipV="1">
                  <a:off x="27993975" y="6781800"/>
                  <a:ext cx="1304925" cy="495300"/>
                </a:xfrm>
                <a:prstGeom prst="line">
                  <a:avLst/>
                </a:prstGeom>
                <a:noFill/>
                <a:ln w="9525">
                  <a:solidFill>
                    <a:srgbClr val="00000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/>
                <a:lstStyle/>
                <a:p>
                  <a:pPr marL="0" marR="0" lvl="0" indent="0" defTabSz="121917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79" name="Line 107">
                  <a:extLst>
                    <a:ext uri="{FF2B5EF4-FFF2-40B4-BE49-F238E27FC236}">
                      <a16:creationId xmlns:a16="http://schemas.microsoft.com/office/drawing/2014/main" id="{E30F1FB1-6E2C-B8E8-7C9F-410D8A00458B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H="1" flipV="1">
                  <a:off x="27803475" y="7924800"/>
                  <a:ext cx="2171700" cy="800100"/>
                </a:xfrm>
                <a:prstGeom prst="line">
                  <a:avLst/>
                </a:prstGeom>
                <a:noFill/>
                <a:ln w="9525">
                  <a:solidFill>
                    <a:srgbClr val="00000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/>
                <a:lstStyle/>
                <a:p>
                  <a:pPr marL="0" marR="0" lvl="0" indent="0" defTabSz="121917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80" name="Line 108">
                  <a:extLst>
                    <a:ext uri="{FF2B5EF4-FFF2-40B4-BE49-F238E27FC236}">
                      <a16:creationId xmlns:a16="http://schemas.microsoft.com/office/drawing/2014/main" id="{BDB852EB-C933-971E-114E-F67867C23A23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H="1" flipV="1">
                  <a:off x="26841450" y="7581900"/>
                  <a:ext cx="2276475" cy="2628900"/>
                </a:xfrm>
                <a:prstGeom prst="line">
                  <a:avLst/>
                </a:prstGeom>
                <a:noFill/>
                <a:ln w="9525">
                  <a:solidFill>
                    <a:srgbClr val="00000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/>
                <a:lstStyle/>
                <a:p>
                  <a:pPr marL="0" marR="0" lvl="0" indent="0" defTabSz="121917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81" name="Virgin_Islands_L">
                  <a:extLst>
                    <a:ext uri="{FF2B5EF4-FFF2-40B4-BE49-F238E27FC236}">
                      <a16:creationId xmlns:a16="http://schemas.microsoft.com/office/drawing/2014/main" id="{0450BC12-ECEB-A5EC-69BB-FF96EA6491A3}"/>
                    </a:ext>
                  </a:extLst>
                </p:cNvPr>
                <p:cNvSpPr txBox="1">
                  <a:spLocks noChangeArrowheads="1"/>
                </p:cNvSpPr>
                <p:nvPr/>
              </p:nvSpPr>
              <p:spPr bwMode="auto">
                <a:xfrm>
                  <a:off x="31442025" y="18364200"/>
                  <a:ext cx="609600" cy="57150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1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lvl1pPr eaLnBrk="0" hangingPunct="0">
                    <a:defRPr sz="2400">
                      <a:solidFill>
                        <a:schemeClr val="tx1"/>
                      </a:solidFill>
                      <a:latin typeface="Arial" pitchFamily="34" charset="0"/>
                      <a:ea typeface="ＭＳ Ｐゴシック" pitchFamily="34" charset="-128"/>
                    </a:defRPr>
                  </a:lvl1pPr>
                  <a:lvl2pPr marL="742950" indent="-285750" eaLnBrk="0" hangingPunct="0">
                    <a:defRPr sz="2400">
                      <a:solidFill>
                        <a:schemeClr val="tx1"/>
                      </a:solidFill>
                      <a:latin typeface="Arial" pitchFamily="34" charset="0"/>
                      <a:ea typeface="ＭＳ Ｐゴシック" pitchFamily="34" charset="-128"/>
                    </a:defRPr>
                  </a:lvl2pPr>
                  <a:lvl3pPr marL="1143000" indent="-228600" eaLnBrk="0" hangingPunct="0">
                    <a:defRPr sz="2400">
                      <a:solidFill>
                        <a:schemeClr val="tx1"/>
                      </a:solidFill>
                      <a:latin typeface="Arial" pitchFamily="34" charset="0"/>
                      <a:ea typeface="ＭＳ Ｐゴシック" pitchFamily="34" charset="-128"/>
                    </a:defRPr>
                  </a:lvl3pPr>
                  <a:lvl4pPr marL="1600200" indent="-228600" eaLnBrk="0" hangingPunct="0">
                    <a:defRPr sz="2400">
                      <a:solidFill>
                        <a:schemeClr val="tx1"/>
                      </a:solidFill>
                      <a:latin typeface="Arial" pitchFamily="34" charset="0"/>
                      <a:ea typeface="ＭＳ Ｐゴシック" pitchFamily="34" charset="-128"/>
                    </a:defRPr>
                  </a:lvl4pPr>
                  <a:lvl5pPr marL="2057400" indent="-228600" eaLnBrk="0" hangingPunct="0">
                    <a:defRPr sz="2400">
                      <a:solidFill>
                        <a:schemeClr val="tx1"/>
                      </a:solidFill>
                      <a:latin typeface="Arial" pitchFamily="34" charset="0"/>
                      <a:ea typeface="ＭＳ Ｐゴシック" pitchFamily="34" charset="-128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400">
                      <a:solidFill>
                        <a:schemeClr val="tx1"/>
                      </a:solidFill>
                      <a:latin typeface="Arial" pitchFamily="34" charset="0"/>
                      <a:ea typeface="ＭＳ Ｐゴシック" pitchFamily="34" charset="-128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400">
                      <a:solidFill>
                        <a:schemeClr val="tx1"/>
                      </a:solidFill>
                      <a:latin typeface="Arial" pitchFamily="34" charset="0"/>
                      <a:ea typeface="ＭＳ Ｐゴシック" pitchFamily="34" charset="-128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400">
                      <a:solidFill>
                        <a:schemeClr val="tx1"/>
                      </a:solidFill>
                      <a:latin typeface="Arial" pitchFamily="34" charset="0"/>
                      <a:ea typeface="ＭＳ Ｐゴシック" pitchFamily="34" charset="-128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400">
                      <a:solidFill>
                        <a:schemeClr val="tx1"/>
                      </a:solidFill>
                      <a:latin typeface="Arial" pitchFamily="34" charset="0"/>
                      <a:ea typeface="ＭＳ Ｐゴシック" pitchFamily="34" charset="-128"/>
                    </a:defRPr>
                  </a:lvl9pPr>
                </a:lstStyle>
                <a:p>
                  <a:pPr marL="0" marR="0" lvl="0" indent="0" defTabSz="121917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altLang="en-US" sz="32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ＭＳ Ｐゴシック" pitchFamily="34" charset="-128"/>
                  </a:endParaRPr>
                </a:p>
              </p:txBody>
            </p:sp>
            <p:sp>
              <p:nvSpPr>
                <p:cNvPr id="82" name="Alaska_L">
                  <a:extLst>
                    <a:ext uri="{FF2B5EF4-FFF2-40B4-BE49-F238E27FC236}">
                      <a16:creationId xmlns:a16="http://schemas.microsoft.com/office/drawing/2014/main" id="{809BB7E8-78AF-1927-38E3-C9CD226BC53C}"/>
                    </a:ext>
                  </a:extLst>
                </p:cNvPr>
                <p:cNvSpPr txBox="1"/>
                <p:nvPr/>
              </p:nvSpPr>
              <p:spPr>
                <a:xfrm>
                  <a:off x="1180451" y="15773367"/>
                  <a:ext cx="629943" cy="476309"/>
                </a:xfrm>
                <a:prstGeom prst="rect">
                  <a:avLst/>
                </a:prstGeom>
                <a:noFill/>
                <a:ln w="9525" cmpd="sng">
                  <a:noFill/>
                </a:ln>
                <a:effectLst/>
              </p:spPr>
              <p:txBody>
                <a:bodyPr wrap="none" anchor="ctr" anchorCtr="1">
                  <a:normAutofit fontScale="25000" lnSpcReduction="20000"/>
                </a:bodyPr>
                <a:lstStyle>
                  <a:lvl1pPr marL="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ctr" defTabSz="121917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3467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rPr>
                    <a:t>AK</a:t>
                  </a:r>
                </a:p>
              </p:txBody>
            </p:sp>
            <p:sp>
              <p:nvSpPr>
                <p:cNvPr id="83" name="Alabama_L">
                  <a:extLst>
                    <a:ext uri="{FF2B5EF4-FFF2-40B4-BE49-F238E27FC236}">
                      <a16:creationId xmlns:a16="http://schemas.microsoft.com/office/drawing/2014/main" id="{DF33CD35-9C28-9297-60CC-91E1367591A9}"/>
                    </a:ext>
                  </a:extLst>
                </p:cNvPr>
                <p:cNvSpPr txBox="1"/>
                <p:nvPr/>
              </p:nvSpPr>
              <p:spPr>
                <a:xfrm>
                  <a:off x="21500041" y="13069776"/>
                  <a:ext cx="592149" cy="476306"/>
                </a:xfrm>
                <a:prstGeom prst="rect">
                  <a:avLst/>
                </a:prstGeom>
                <a:noFill/>
                <a:ln w="9525" cmpd="sng">
                  <a:noFill/>
                </a:ln>
                <a:effectLst/>
              </p:spPr>
              <p:txBody>
                <a:bodyPr wrap="none" anchor="ctr" anchorCtr="1">
                  <a:normAutofit fontScale="25000" lnSpcReduction="20000"/>
                </a:bodyPr>
                <a:lstStyle>
                  <a:lvl1pPr marL="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ctr" defTabSz="121917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3467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rPr>
                    <a:t>AL</a:t>
                  </a:r>
                </a:p>
              </p:txBody>
            </p:sp>
            <p:sp>
              <p:nvSpPr>
                <p:cNvPr id="84" name="Indiana_L">
                  <a:extLst>
                    <a:ext uri="{FF2B5EF4-FFF2-40B4-BE49-F238E27FC236}">
                      <a16:creationId xmlns:a16="http://schemas.microsoft.com/office/drawing/2014/main" id="{07C70CCF-A31D-B612-DC61-C6143717D61D}"/>
                    </a:ext>
                  </a:extLst>
                </p:cNvPr>
                <p:cNvSpPr txBox="1"/>
                <p:nvPr/>
              </p:nvSpPr>
              <p:spPr>
                <a:xfrm>
                  <a:off x="21178766" y="7912994"/>
                  <a:ext cx="522857" cy="476306"/>
                </a:xfrm>
                <a:prstGeom prst="rect">
                  <a:avLst/>
                </a:prstGeom>
                <a:noFill/>
                <a:ln w="9525" cmpd="sng">
                  <a:noFill/>
                </a:ln>
                <a:effectLst/>
              </p:spPr>
              <p:txBody>
                <a:bodyPr wrap="none" anchor="ctr" anchorCtr="1">
                  <a:normAutofit fontScale="25000" lnSpcReduction="20000"/>
                </a:bodyPr>
                <a:lstStyle>
                  <a:lvl1pPr marL="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ctr" defTabSz="121917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3467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rPr>
                    <a:t>IN</a:t>
                  </a:r>
                </a:p>
              </p:txBody>
            </p:sp>
            <p:sp>
              <p:nvSpPr>
                <p:cNvPr id="85" name="Kentucky_L">
                  <a:extLst>
                    <a:ext uri="{FF2B5EF4-FFF2-40B4-BE49-F238E27FC236}">
                      <a16:creationId xmlns:a16="http://schemas.microsoft.com/office/drawing/2014/main" id="{E26C693F-1B9F-E77D-07C0-5171C740BF01}"/>
                    </a:ext>
                  </a:extLst>
                </p:cNvPr>
                <p:cNvSpPr txBox="1"/>
                <p:nvPr/>
              </p:nvSpPr>
              <p:spPr>
                <a:xfrm>
                  <a:off x="22318970" y="9456220"/>
                  <a:ext cx="629945" cy="476302"/>
                </a:xfrm>
                <a:prstGeom prst="rect">
                  <a:avLst/>
                </a:prstGeom>
                <a:noFill/>
                <a:ln w="9525" cmpd="sng">
                  <a:noFill/>
                </a:ln>
                <a:effectLst/>
              </p:spPr>
              <p:txBody>
                <a:bodyPr wrap="none" anchor="ctr" anchorCtr="1">
                  <a:normAutofit fontScale="25000" lnSpcReduction="20000"/>
                </a:bodyPr>
                <a:lstStyle>
                  <a:lvl1pPr marL="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ctr" defTabSz="121917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3467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rPr>
                    <a:t>KY</a:t>
                  </a:r>
                </a:p>
              </p:txBody>
            </p:sp>
            <p:sp>
              <p:nvSpPr>
                <p:cNvPr id="86" name="Missouri_L">
                  <a:extLst>
                    <a:ext uri="{FF2B5EF4-FFF2-40B4-BE49-F238E27FC236}">
                      <a16:creationId xmlns:a16="http://schemas.microsoft.com/office/drawing/2014/main" id="{6362F790-A7EF-E66A-E32F-3761D74D2D96}"/>
                    </a:ext>
                  </a:extLst>
                </p:cNvPr>
                <p:cNvSpPr txBox="1"/>
                <p:nvPr/>
              </p:nvSpPr>
              <p:spPr>
                <a:xfrm>
                  <a:off x="17651072" y="9176789"/>
                  <a:ext cx="724439" cy="476302"/>
                </a:xfrm>
                <a:prstGeom prst="rect">
                  <a:avLst/>
                </a:prstGeom>
                <a:noFill/>
                <a:ln w="9525" cmpd="sng">
                  <a:noFill/>
                </a:ln>
                <a:effectLst/>
              </p:spPr>
              <p:txBody>
                <a:bodyPr wrap="none" anchor="ctr" anchorCtr="1">
                  <a:normAutofit fontScale="25000" lnSpcReduction="20000"/>
                </a:bodyPr>
                <a:lstStyle>
                  <a:lvl1pPr marL="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ctr" defTabSz="121917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3467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rPr>
                    <a:t>MO</a:t>
                  </a:r>
                </a:p>
              </p:txBody>
            </p:sp>
            <p:sp>
              <p:nvSpPr>
                <p:cNvPr id="87" name="Montana_L">
                  <a:extLst>
                    <a:ext uri="{FF2B5EF4-FFF2-40B4-BE49-F238E27FC236}">
                      <a16:creationId xmlns:a16="http://schemas.microsoft.com/office/drawing/2014/main" id="{9CAF8202-6B85-0553-A269-6E36E536E40E}"/>
                    </a:ext>
                  </a:extLst>
                </p:cNvPr>
                <p:cNvSpPr txBox="1"/>
                <p:nvPr/>
              </p:nvSpPr>
              <p:spPr>
                <a:xfrm>
                  <a:off x="8504264" y="2400571"/>
                  <a:ext cx="661445" cy="476306"/>
                </a:xfrm>
                <a:prstGeom prst="rect">
                  <a:avLst/>
                </a:prstGeom>
                <a:noFill/>
                <a:ln w="9525" cmpd="sng">
                  <a:noFill/>
                </a:ln>
                <a:effectLst/>
              </p:spPr>
              <p:txBody>
                <a:bodyPr wrap="none" anchor="ctr" anchorCtr="1">
                  <a:normAutofit fontScale="25000" lnSpcReduction="20000"/>
                </a:bodyPr>
                <a:lstStyle>
                  <a:lvl1pPr marL="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ctr" defTabSz="121917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3467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rPr>
                    <a:t>MT</a:t>
                  </a:r>
                </a:p>
              </p:txBody>
            </p:sp>
            <p:sp>
              <p:nvSpPr>
                <p:cNvPr id="88" name="North_Dakota_L">
                  <a:extLst>
                    <a:ext uri="{FF2B5EF4-FFF2-40B4-BE49-F238E27FC236}">
                      <a16:creationId xmlns:a16="http://schemas.microsoft.com/office/drawing/2014/main" id="{41FA808B-CC97-A983-F76E-681C55EDCCF8}"/>
                    </a:ext>
                  </a:extLst>
                </p:cNvPr>
                <p:cNvSpPr txBox="1"/>
                <p:nvPr/>
              </p:nvSpPr>
              <p:spPr>
                <a:xfrm>
                  <a:off x="13348546" y="2591093"/>
                  <a:ext cx="661441" cy="476306"/>
                </a:xfrm>
                <a:prstGeom prst="rect">
                  <a:avLst/>
                </a:prstGeom>
                <a:noFill/>
                <a:ln w="9525" cmpd="sng">
                  <a:noFill/>
                </a:ln>
                <a:effectLst/>
              </p:spPr>
              <p:txBody>
                <a:bodyPr wrap="none" anchor="ctr" anchorCtr="1">
                  <a:normAutofit fontScale="25000" lnSpcReduction="20000"/>
                </a:bodyPr>
                <a:lstStyle>
                  <a:lvl1pPr marL="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ctr" defTabSz="121917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3467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rPr>
                    <a:t>ND</a:t>
                  </a:r>
                </a:p>
              </p:txBody>
            </p:sp>
            <p:sp>
              <p:nvSpPr>
                <p:cNvPr id="89" name="New_Hampshire_L">
                  <a:extLst>
                    <a:ext uri="{FF2B5EF4-FFF2-40B4-BE49-F238E27FC236}">
                      <a16:creationId xmlns:a16="http://schemas.microsoft.com/office/drawing/2014/main" id="{93A1B1AF-DBF7-71A0-16F3-93DD410E9CA9}"/>
                    </a:ext>
                  </a:extLst>
                </p:cNvPr>
                <p:cNvSpPr txBox="1"/>
                <p:nvPr/>
              </p:nvSpPr>
              <p:spPr>
                <a:xfrm>
                  <a:off x="26829379" y="914503"/>
                  <a:ext cx="667742" cy="476306"/>
                </a:xfrm>
                <a:prstGeom prst="rect">
                  <a:avLst/>
                </a:prstGeom>
                <a:noFill/>
                <a:ln w="9525" cmpd="sng">
                  <a:noFill/>
                </a:ln>
                <a:effectLst/>
              </p:spPr>
              <p:txBody>
                <a:bodyPr wrap="none" anchor="ctr" anchorCtr="1">
                  <a:normAutofit fontScale="25000" lnSpcReduction="20000"/>
                </a:bodyPr>
                <a:lstStyle>
                  <a:lvl1pPr marL="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ctr" defTabSz="121917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3467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rPr>
                    <a:t>NH</a:t>
                  </a:r>
                </a:p>
              </p:txBody>
            </p:sp>
            <p:sp>
              <p:nvSpPr>
                <p:cNvPr id="90" name="New_Mexico_L">
                  <a:extLst>
                    <a:ext uri="{FF2B5EF4-FFF2-40B4-BE49-F238E27FC236}">
                      <a16:creationId xmlns:a16="http://schemas.microsoft.com/office/drawing/2014/main" id="{17ED2182-6FA1-7D4D-FFF0-E3F662B50F46}"/>
                    </a:ext>
                  </a:extLst>
                </p:cNvPr>
                <p:cNvSpPr txBox="1"/>
                <p:nvPr/>
              </p:nvSpPr>
              <p:spPr>
                <a:xfrm>
                  <a:off x="9310594" y="11698021"/>
                  <a:ext cx="699241" cy="476306"/>
                </a:xfrm>
                <a:prstGeom prst="rect">
                  <a:avLst/>
                </a:prstGeom>
                <a:noFill/>
                <a:ln w="9525" cmpd="sng">
                  <a:noFill/>
                </a:ln>
                <a:effectLst/>
              </p:spPr>
              <p:txBody>
                <a:bodyPr wrap="none" anchor="ctr" anchorCtr="1">
                  <a:normAutofit fontScale="25000" lnSpcReduction="20000"/>
                </a:bodyPr>
                <a:lstStyle>
                  <a:lvl1pPr marL="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ctr" defTabSz="121917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3467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rPr>
                    <a:t>NM</a:t>
                  </a:r>
                </a:p>
              </p:txBody>
            </p:sp>
            <p:sp>
              <p:nvSpPr>
                <p:cNvPr id="91" name="Oregon_L">
                  <a:extLst>
                    <a:ext uri="{FF2B5EF4-FFF2-40B4-BE49-F238E27FC236}">
                      <a16:creationId xmlns:a16="http://schemas.microsoft.com/office/drawing/2014/main" id="{F83FBDED-9B4A-173F-3E7E-45D458858539}"/>
                    </a:ext>
                  </a:extLst>
                </p:cNvPr>
                <p:cNvSpPr txBox="1"/>
                <p:nvPr/>
              </p:nvSpPr>
              <p:spPr>
                <a:xfrm>
                  <a:off x="2488287" y="3384934"/>
                  <a:ext cx="686639" cy="476302"/>
                </a:xfrm>
                <a:prstGeom prst="rect">
                  <a:avLst/>
                </a:prstGeom>
                <a:noFill/>
                <a:ln w="9525" cmpd="sng">
                  <a:noFill/>
                </a:ln>
                <a:effectLst/>
              </p:spPr>
              <p:txBody>
                <a:bodyPr wrap="none" anchor="ctr" anchorCtr="1">
                  <a:normAutofit fontScale="25000" lnSpcReduction="20000"/>
                </a:bodyPr>
                <a:lstStyle>
                  <a:lvl1pPr marL="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ctr" defTabSz="121917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3467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rPr>
                    <a:t>OR</a:t>
                  </a:r>
                </a:p>
              </p:txBody>
            </p:sp>
            <p:sp>
              <p:nvSpPr>
                <p:cNvPr id="92" name="Pennsylvania_L">
                  <a:extLst>
                    <a:ext uri="{FF2B5EF4-FFF2-40B4-BE49-F238E27FC236}">
                      <a16:creationId xmlns:a16="http://schemas.microsoft.com/office/drawing/2014/main" id="{5A5318AD-A81D-1153-823A-8A9C9A2CC497}"/>
                    </a:ext>
                  </a:extLst>
                </p:cNvPr>
                <p:cNvSpPr txBox="1"/>
                <p:nvPr/>
              </p:nvSpPr>
              <p:spPr>
                <a:xfrm>
                  <a:off x="25878159" y="6477732"/>
                  <a:ext cx="636247" cy="476306"/>
                </a:xfrm>
                <a:prstGeom prst="rect">
                  <a:avLst/>
                </a:prstGeom>
                <a:noFill/>
                <a:ln w="9525" cmpd="sng">
                  <a:noFill/>
                </a:ln>
                <a:effectLst/>
              </p:spPr>
              <p:txBody>
                <a:bodyPr wrap="none" anchor="ctr" anchorCtr="1">
                  <a:normAutofit fontScale="25000" lnSpcReduction="20000"/>
                </a:bodyPr>
                <a:lstStyle>
                  <a:lvl1pPr marL="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ctr" defTabSz="121917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3467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rPr>
                    <a:t>PA</a:t>
                  </a:r>
                </a:p>
              </p:txBody>
            </p:sp>
            <p:sp>
              <p:nvSpPr>
                <p:cNvPr id="93" name="West_Virginia_L">
                  <a:extLst>
                    <a:ext uri="{FF2B5EF4-FFF2-40B4-BE49-F238E27FC236}">
                      <a16:creationId xmlns:a16="http://schemas.microsoft.com/office/drawing/2014/main" id="{23F50E00-5455-AD61-1982-D714146102F9}"/>
                    </a:ext>
                  </a:extLst>
                </p:cNvPr>
                <p:cNvSpPr txBox="1"/>
                <p:nvPr/>
              </p:nvSpPr>
              <p:spPr>
                <a:xfrm>
                  <a:off x="24126911" y="8535364"/>
                  <a:ext cx="724439" cy="476306"/>
                </a:xfrm>
                <a:prstGeom prst="rect">
                  <a:avLst/>
                </a:prstGeom>
                <a:noFill/>
                <a:ln w="9525" cmpd="sng">
                  <a:noFill/>
                </a:ln>
                <a:effectLst/>
              </p:spPr>
              <p:txBody>
                <a:bodyPr wrap="none" anchor="ctr" anchorCtr="1">
                  <a:normAutofit fontScale="25000" lnSpcReduction="20000"/>
                </a:bodyPr>
                <a:lstStyle>
                  <a:lvl1pPr marL="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ctr" defTabSz="121917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3467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rPr>
                    <a:t>WV</a:t>
                  </a:r>
                </a:p>
              </p:txBody>
            </p:sp>
            <p:sp>
              <p:nvSpPr>
                <p:cNvPr id="94" name="Wyoming_L">
                  <a:extLst>
                    <a:ext uri="{FF2B5EF4-FFF2-40B4-BE49-F238E27FC236}">
                      <a16:creationId xmlns:a16="http://schemas.microsoft.com/office/drawing/2014/main" id="{BFE63F97-9BED-FD96-B2B4-BBCD90531ED7}"/>
                    </a:ext>
                  </a:extLst>
                </p:cNvPr>
                <p:cNvSpPr txBox="1"/>
                <p:nvPr/>
              </p:nvSpPr>
              <p:spPr>
                <a:xfrm>
                  <a:off x="9184605" y="5448915"/>
                  <a:ext cx="724439" cy="476306"/>
                </a:xfrm>
                <a:prstGeom prst="rect">
                  <a:avLst/>
                </a:prstGeom>
                <a:noFill/>
                <a:ln w="9525" cmpd="sng">
                  <a:noFill/>
                </a:ln>
                <a:effectLst/>
              </p:spPr>
              <p:txBody>
                <a:bodyPr wrap="none" anchor="ctr" anchorCtr="1">
                  <a:normAutofit fontScale="25000" lnSpcReduction="20000"/>
                </a:bodyPr>
                <a:lstStyle>
                  <a:lvl1pPr marL="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ctr" defTabSz="121917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3467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rPr>
                    <a:t>WY</a:t>
                  </a:r>
                </a:p>
              </p:txBody>
            </p:sp>
            <p:sp>
              <p:nvSpPr>
                <p:cNvPr id="95" name="Mississippi_L">
                  <a:extLst>
                    <a:ext uri="{FF2B5EF4-FFF2-40B4-BE49-F238E27FC236}">
                      <a16:creationId xmlns:a16="http://schemas.microsoft.com/office/drawing/2014/main" id="{1B40AE52-1CC7-4345-9EA1-2D1FF930B979}"/>
                    </a:ext>
                  </a:extLst>
                </p:cNvPr>
                <p:cNvSpPr txBox="1"/>
                <p:nvPr/>
              </p:nvSpPr>
              <p:spPr>
                <a:xfrm>
                  <a:off x="19402320" y="13177740"/>
                  <a:ext cx="686643" cy="476302"/>
                </a:xfrm>
                <a:prstGeom prst="rect">
                  <a:avLst/>
                </a:prstGeom>
                <a:noFill/>
                <a:ln w="9525" cmpd="sng">
                  <a:noFill/>
                </a:ln>
                <a:effectLst/>
              </p:spPr>
              <p:txBody>
                <a:bodyPr wrap="none" anchor="ctr" anchorCtr="1">
                  <a:normAutofit fontScale="25000" lnSpcReduction="20000"/>
                </a:bodyPr>
                <a:lstStyle>
                  <a:lvl1pPr marL="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ctr" defTabSz="121917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3467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rPr>
                    <a:t>MS</a:t>
                  </a:r>
                </a:p>
              </p:txBody>
            </p:sp>
            <p:sp>
              <p:nvSpPr>
                <p:cNvPr id="96" name="South_Dakota_L">
                  <a:extLst>
                    <a:ext uri="{FF2B5EF4-FFF2-40B4-BE49-F238E27FC236}">
                      <a16:creationId xmlns:a16="http://schemas.microsoft.com/office/drawing/2014/main" id="{A43A1849-2E8E-EA8D-6185-2EF7589AC1EF}"/>
                    </a:ext>
                  </a:extLst>
                </p:cNvPr>
                <p:cNvSpPr txBox="1"/>
                <p:nvPr/>
              </p:nvSpPr>
              <p:spPr>
                <a:xfrm>
                  <a:off x="13260354" y="4915455"/>
                  <a:ext cx="642544" cy="476306"/>
                </a:xfrm>
                <a:prstGeom prst="rect">
                  <a:avLst/>
                </a:prstGeom>
                <a:noFill/>
                <a:ln w="9525" cmpd="sng">
                  <a:noFill/>
                </a:ln>
                <a:effectLst/>
              </p:spPr>
              <p:txBody>
                <a:bodyPr wrap="none" anchor="ctr" anchorCtr="1">
                  <a:normAutofit fontScale="25000" lnSpcReduction="20000"/>
                </a:bodyPr>
                <a:lstStyle>
                  <a:lvl1pPr marL="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ctr" defTabSz="121917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3467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rPr>
                    <a:t>SD</a:t>
                  </a:r>
                </a:p>
              </p:txBody>
            </p:sp>
            <p:sp>
              <p:nvSpPr>
                <p:cNvPr id="97" name="Arkansas_L">
                  <a:extLst>
                    <a:ext uri="{FF2B5EF4-FFF2-40B4-BE49-F238E27FC236}">
                      <a16:creationId xmlns:a16="http://schemas.microsoft.com/office/drawing/2014/main" id="{6AEEAB34-FEAC-1F01-E938-68CA135B8CC6}"/>
                    </a:ext>
                  </a:extLst>
                </p:cNvPr>
                <p:cNvSpPr txBox="1"/>
                <p:nvPr/>
              </p:nvSpPr>
              <p:spPr>
                <a:xfrm>
                  <a:off x="17871555" y="11736126"/>
                  <a:ext cx="648842" cy="476306"/>
                </a:xfrm>
                <a:prstGeom prst="rect">
                  <a:avLst/>
                </a:prstGeom>
                <a:noFill/>
                <a:ln w="9525" cmpd="sng">
                  <a:noFill/>
                </a:ln>
                <a:effectLst/>
              </p:spPr>
              <p:txBody>
                <a:bodyPr wrap="none" anchor="ctr" anchorCtr="1">
                  <a:normAutofit fontScale="25000" lnSpcReduction="20000"/>
                </a:bodyPr>
                <a:lstStyle>
                  <a:lvl1pPr marL="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ctr" defTabSz="121917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3467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rPr>
                    <a:t>AR</a:t>
                  </a:r>
                </a:p>
              </p:txBody>
            </p:sp>
            <p:sp>
              <p:nvSpPr>
                <p:cNvPr id="98" name="Nebraska_L">
                  <a:extLst>
                    <a:ext uri="{FF2B5EF4-FFF2-40B4-BE49-F238E27FC236}">
                      <a16:creationId xmlns:a16="http://schemas.microsoft.com/office/drawing/2014/main" id="{B4F9927C-C14D-5470-49F5-0FCD5EB03702}"/>
                    </a:ext>
                  </a:extLst>
                </p:cNvPr>
                <p:cNvSpPr txBox="1"/>
                <p:nvPr/>
              </p:nvSpPr>
              <p:spPr>
                <a:xfrm>
                  <a:off x="13499733" y="6846073"/>
                  <a:ext cx="648842" cy="476306"/>
                </a:xfrm>
                <a:prstGeom prst="rect">
                  <a:avLst/>
                </a:prstGeom>
                <a:noFill/>
                <a:ln w="9525" cmpd="sng">
                  <a:noFill/>
                </a:ln>
                <a:effectLst/>
              </p:spPr>
              <p:txBody>
                <a:bodyPr wrap="none" anchor="ctr" anchorCtr="1">
                  <a:normAutofit fontScale="25000" lnSpcReduction="20000"/>
                </a:bodyPr>
                <a:lstStyle>
                  <a:lvl1pPr marL="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ctr" defTabSz="121917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3467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rPr>
                    <a:t>NE</a:t>
                  </a:r>
                </a:p>
              </p:txBody>
            </p:sp>
            <p:sp>
              <p:nvSpPr>
                <p:cNvPr id="99" name="Colorado_L">
                  <a:extLst>
                    <a:ext uri="{FF2B5EF4-FFF2-40B4-BE49-F238E27FC236}">
                      <a16:creationId xmlns:a16="http://schemas.microsoft.com/office/drawing/2014/main" id="{7E7B0EBA-FFC6-F1B0-C6A6-D2514A2650B1}"/>
                    </a:ext>
                  </a:extLst>
                </p:cNvPr>
                <p:cNvSpPr txBox="1"/>
                <p:nvPr/>
              </p:nvSpPr>
              <p:spPr>
                <a:xfrm>
                  <a:off x="9990935" y="8421051"/>
                  <a:ext cx="686643" cy="476306"/>
                </a:xfrm>
                <a:prstGeom prst="rect">
                  <a:avLst/>
                </a:prstGeom>
                <a:noFill/>
                <a:ln w="9525" cmpd="sng">
                  <a:noFill/>
                </a:ln>
                <a:effectLst/>
              </p:spPr>
              <p:txBody>
                <a:bodyPr wrap="none" anchor="ctr" anchorCtr="1">
                  <a:normAutofit fontScale="25000" lnSpcReduction="20000"/>
                </a:bodyPr>
                <a:lstStyle>
                  <a:lvl1pPr marL="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ctr" defTabSz="121917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3467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rPr>
                    <a:t>CO</a:t>
                  </a:r>
                </a:p>
              </p:txBody>
            </p:sp>
            <p:sp>
              <p:nvSpPr>
                <p:cNvPr id="100" name="Maine_L">
                  <a:extLst>
                    <a:ext uri="{FF2B5EF4-FFF2-40B4-BE49-F238E27FC236}">
                      <a16:creationId xmlns:a16="http://schemas.microsoft.com/office/drawing/2014/main" id="{E68D8595-BA60-5DED-4E41-5B4E4D361B9A}"/>
                    </a:ext>
                  </a:extLst>
                </p:cNvPr>
                <p:cNvSpPr txBox="1"/>
                <p:nvPr/>
              </p:nvSpPr>
              <p:spPr>
                <a:xfrm>
                  <a:off x="29613738" y="2286258"/>
                  <a:ext cx="686639" cy="476306"/>
                </a:xfrm>
                <a:prstGeom prst="rect">
                  <a:avLst/>
                </a:prstGeom>
                <a:noFill/>
                <a:ln w="9525" cmpd="sng">
                  <a:noFill/>
                </a:ln>
                <a:effectLst/>
              </p:spPr>
              <p:txBody>
                <a:bodyPr wrap="none" anchor="ctr" anchorCtr="1">
                  <a:normAutofit fontScale="25000" lnSpcReduction="20000"/>
                </a:bodyPr>
                <a:lstStyle>
                  <a:lvl1pPr marL="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ctr" defTabSz="121917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3467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rPr>
                    <a:t>ME</a:t>
                  </a:r>
                </a:p>
              </p:txBody>
            </p:sp>
            <p:sp>
              <p:nvSpPr>
                <p:cNvPr id="101" name="Tennessee_L">
                  <a:extLst>
                    <a:ext uri="{FF2B5EF4-FFF2-40B4-BE49-F238E27FC236}">
                      <a16:creationId xmlns:a16="http://schemas.microsoft.com/office/drawing/2014/main" id="{C354481F-D0EA-6FC5-0928-5EB262797F96}"/>
                    </a:ext>
                  </a:extLst>
                </p:cNvPr>
                <p:cNvSpPr txBox="1"/>
                <p:nvPr/>
              </p:nvSpPr>
              <p:spPr>
                <a:xfrm>
                  <a:off x="21588233" y="10675558"/>
                  <a:ext cx="629945" cy="476302"/>
                </a:xfrm>
                <a:prstGeom prst="rect">
                  <a:avLst/>
                </a:prstGeom>
                <a:noFill/>
                <a:ln w="9525" cmpd="sng">
                  <a:noFill/>
                </a:ln>
                <a:effectLst/>
              </p:spPr>
              <p:txBody>
                <a:bodyPr wrap="none" anchor="ctr" anchorCtr="1">
                  <a:normAutofit fontScale="25000" lnSpcReduction="20000"/>
                </a:bodyPr>
                <a:lstStyle>
                  <a:lvl1pPr marL="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ctr" defTabSz="121917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3467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rPr>
                    <a:t>TN</a:t>
                  </a:r>
                </a:p>
              </p:txBody>
            </p:sp>
            <p:sp>
              <p:nvSpPr>
                <p:cNvPr id="102" name="Michigan_L">
                  <a:extLst>
                    <a:ext uri="{FF2B5EF4-FFF2-40B4-BE49-F238E27FC236}">
                      <a16:creationId xmlns:a16="http://schemas.microsoft.com/office/drawing/2014/main" id="{A9F63F53-7CA7-B859-1B31-CD4CCF793707}"/>
                    </a:ext>
                  </a:extLst>
                </p:cNvPr>
                <p:cNvSpPr txBox="1"/>
                <p:nvPr/>
              </p:nvSpPr>
              <p:spPr>
                <a:xfrm>
                  <a:off x="21663826" y="5512423"/>
                  <a:ext cx="554352" cy="476306"/>
                </a:xfrm>
                <a:prstGeom prst="rect">
                  <a:avLst/>
                </a:prstGeom>
                <a:noFill/>
                <a:ln w="9525" cmpd="sng">
                  <a:noFill/>
                </a:ln>
                <a:effectLst/>
              </p:spPr>
              <p:txBody>
                <a:bodyPr wrap="none" anchor="ctr" anchorCtr="1">
                  <a:normAutofit fontScale="25000" lnSpcReduction="20000"/>
                </a:bodyPr>
                <a:lstStyle>
                  <a:lvl1pPr marL="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ctr" defTabSz="121917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3467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rPr>
                    <a:t>MI</a:t>
                  </a:r>
                </a:p>
              </p:txBody>
            </p:sp>
            <p:sp>
              <p:nvSpPr>
                <p:cNvPr id="103" name="Ohio_L">
                  <a:extLst>
                    <a:ext uri="{FF2B5EF4-FFF2-40B4-BE49-F238E27FC236}">
                      <a16:creationId xmlns:a16="http://schemas.microsoft.com/office/drawing/2014/main" id="{F7823A39-6B9C-CAF2-AB3B-AA9BC19A4588}"/>
                    </a:ext>
                  </a:extLst>
                </p:cNvPr>
                <p:cNvSpPr txBox="1"/>
                <p:nvPr/>
              </p:nvSpPr>
              <p:spPr>
                <a:xfrm>
                  <a:off x="23030806" y="7277922"/>
                  <a:ext cx="686643" cy="476306"/>
                </a:xfrm>
                <a:prstGeom prst="rect">
                  <a:avLst/>
                </a:prstGeom>
                <a:noFill/>
                <a:ln w="9525" cmpd="sng">
                  <a:noFill/>
                </a:ln>
                <a:effectLst/>
              </p:spPr>
              <p:txBody>
                <a:bodyPr wrap="none" anchor="ctr" anchorCtr="1">
                  <a:normAutofit fontScale="25000" lnSpcReduction="20000"/>
                </a:bodyPr>
                <a:lstStyle>
                  <a:lvl1pPr marL="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ctr" defTabSz="121917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3467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rPr>
                    <a:t>OH</a:t>
                  </a:r>
                </a:p>
              </p:txBody>
            </p:sp>
            <p:sp>
              <p:nvSpPr>
                <p:cNvPr id="104" name="Texas_L">
                  <a:extLst>
                    <a:ext uri="{FF2B5EF4-FFF2-40B4-BE49-F238E27FC236}">
                      <a16:creationId xmlns:a16="http://schemas.microsoft.com/office/drawing/2014/main" id="{035B3EA3-CDE3-2FDD-1558-B9479B7916AC}"/>
                    </a:ext>
                  </a:extLst>
                </p:cNvPr>
                <p:cNvSpPr txBox="1"/>
                <p:nvPr/>
              </p:nvSpPr>
              <p:spPr>
                <a:xfrm>
                  <a:off x="12989475" y="14238308"/>
                  <a:ext cx="611049" cy="476306"/>
                </a:xfrm>
                <a:prstGeom prst="rect">
                  <a:avLst/>
                </a:prstGeom>
                <a:noFill/>
                <a:ln w="9525" cmpd="sng">
                  <a:noFill/>
                </a:ln>
                <a:effectLst/>
              </p:spPr>
              <p:txBody>
                <a:bodyPr wrap="none" anchor="ctr" anchorCtr="1">
                  <a:normAutofit fontScale="25000" lnSpcReduction="20000"/>
                </a:bodyPr>
                <a:lstStyle>
                  <a:lvl1pPr marL="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ctr" defTabSz="121917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3467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rPr>
                    <a:t>TX</a:t>
                  </a:r>
                </a:p>
              </p:txBody>
            </p:sp>
            <p:sp>
              <p:nvSpPr>
                <p:cNvPr id="105" name="Oklahoma_L">
                  <a:extLst>
                    <a:ext uri="{FF2B5EF4-FFF2-40B4-BE49-F238E27FC236}">
                      <a16:creationId xmlns:a16="http://schemas.microsoft.com/office/drawing/2014/main" id="{F1D108C5-7A1E-072E-A8BB-3F0DB22D4848}"/>
                    </a:ext>
                  </a:extLst>
                </p:cNvPr>
                <p:cNvSpPr txBox="1"/>
                <p:nvPr/>
              </p:nvSpPr>
              <p:spPr>
                <a:xfrm>
                  <a:off x="14709228" y="11316978"/>
                  <a:ext cx="667742" cy="476306"/>
                </a:xfrm>
                <a:prstGeom prst="rect">
                  <a:avLst/>
                </a:prstGeom>
                <a:noFill/>
                <a:ln w="9525" cmpd="sng">
                  <a:noFill/>
                </a:ln>
                <a:effectLst/>
              </p:spPr>
              <p:txBody>
                <a:bodyPr wrap="none" anchor="ctr" anchorCtr="1">
                  <a:normAutofit fontScale="25000" lnSpcReduction="20000"/>
                </a:bodyPr>
                <a:lstStyle>
                  <a:lvl1pPr marL="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ctr" defTabSz="121917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3467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rPr>
                    <a:t>OK</a:t>
                  </a:r>
                </a:p>
              </p:txBody>
            </p:sp>
            <p:sp>
              <p:nvSpPr>
                <p:cNvPr id="106" name="District_Of_Columbia_L">
                  <a:extLst>
                    <a:ext uri="{FF2B5EF4-FFF2-40B4-BE49-F238E27FC236}">
                      <a16:creationId xmlns:a16="http://schemas.microsoft.com/office/drawing/2014/main" id="{C9D8FC38-4340-971C-9E5F-F1BC63B41A84}"/>
                    </a:ext>
                  </a:extLst>
                </p:cNvPr>
                <p:cNvSpPr txBox="1"/>
                <p:nvPr/>
              </p:nvSpPr>
              <p:spPr>
                <a:xfrm>
                  <a:off x="26489209" y="7766929"/>
                  <a:ext cx="667742" cy="476302"/>
                </a:xfrm>
                <a:prstGeom prst="rect">
                  <a:avLst/>
                </a:prstGeom>
                <a:noFill/>
                <a:ln w="9525" cmpd="sng">
                  <a:noFill/>
                </a:ln>
                <a:effectLst/>
              </p:spPr>
              <p:txBody>
                <a:bodyPr wrap="none" anchor="ctr" anchorCtr="1">
                  <a:normAutofit fontScale="25000" lnSpcReduction="20000"/>
                </a:bodyPr>
                <a:lstStyle>
                  <a:lvl1pPr marL="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ctr" defTabSz="121917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3467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rPr>
                    <a:t>DC</a:t>
                  </a:r>
                </a:p>
              </p:txBody>
            </p:sp>
            <p:sp>
              <p:nvSpPr>
                <p:cNvPr id="107" name="Virginia_L">
                  <a:extLst>
                    <a:ext uri="{FF2B5EF4-FFF2-40B4-BE49-F238E27FC236}">
                      <a16:creationId xmlns:a16="http://schemas.microsoft.com/office/drawing/2014/main" id="{925CCAD8-810A-FDB7-8404-EE6A71B8F35D}"/>
                    </a:ext>
                  </a:extLst>
                </p:cNvPr>
                <p:cNvSpPr txBox="1"/>
                <p:nvPr/>
              </p:nvSpPr>
              <p:spPr>
                <a:xfrm>
                  <a:off x="25764769" y="8840199"/>
                  <a:ext cx="636247" cy="476306"/>
                </a:xfrm>
                <a:prstGeom prst="rect">
                  <a:avLst/>
                </a:prstGeom>
                <a:noFill/>
                <a:ln w="9525" cmpd="sng">
                  <a:noFill/>
                </a:ln>
                <a:effectLst/>
              </p:spPr>
              <p:txBody>
                <a:bodyPr wrap="none" anchor="ctr" anchorCtr="1">
                  <a:normAutofit fontScale="25000" lnSpcReduction="20000"/>
                </a:bodyPr>
                <a:lstStyle>
                  <a:lvl1pPr marL="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ctr" defTabSz="121917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3467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rPr>
                    <a:t>VA</a:t>
                  </a:r>
                </a:p>
              </p:txBody>
            </p:sp>
            <p:sp>
              <p:nvSpPr>
                <p:cNvPr id="108" name="South_Carolina_L">
                  <a:extLst>
                    <a:ext uri="{FF2B5EF4-FFF2-40B4-BE49-F238E27FC236}">
                      <a16:creationId xmlns:a16="http://schemas.microsoft.com/office/drawing/2014/main" id="{339FA0B5-AAA3-8A51-0D8D-7495EF326EBA}"/>
                    </a:ext>
                  </a:extLst>
                </p:cNvPr>
                <p:cNvSpPr txBox="1"/>
                <p:nvPr/>
              </p:nvSpPr>
              <p:spPr>
                <a:xfrm>
                  <a:off x="24807252" y="11844090"/>
                  <a:ext cx="648846" cy="476302"/>
                </a:xfrm>
                <a:prstGeom prst="rect">
                  <a:avLst/>
                </a:prstGeom>
                <a:noFill/>
                <a:ln w="9525" cmpd="sng">
                  <a:noFill/>
                </a:ln>
                <a:effectLst/>
              </p:spPr>
              <p:txBody>
                <a:bodyPr wrap="none" anchor="ctr" anchorCtr="1">
                  <a:normAutofit fontScale="25000" lnSpcReduction="20000"/>
                </a:bodyPr>
                <a:lstStyle>
                  <a:lvl1pPr marL="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ctr" defTabSz="121917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3467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rPr>
                    <a:t>SC</a:t>
                  </a:r>
                </a:p>
              </p:txBody>
            </p:sp>
            <p:sp>
              <p:nvSpPr>
                <p:cNvPr id="109" name="Massachusetts_L">
                  <a:extLst>
                    <a:ext uri="{FF2B5EF4-FFF2-40B4-BE49-F238E27FC236}">
                      <a16:creationId xmlns:a16="http://schemas.microsoft.com/office/drawing/2014/main" id="{05C3A17B-68E1-BBEA-63A3-B4D8F4CD63D8}"/>
                    </a:ext>
                  </a:extLst>
                </p:cNvPr>
                <p:cNvSpPr txBox="1"/>
                <p:nvPr/>
              </p:nvSpPr>
              <p:spPr>
                <a:xfrm>
                  <a:off x="30942921" y="4032708"/>
                  <a:ext cx="680341" cy="476302"/>
                </a:xfrm>
                <a:prstGeom prst="rect">
                  <a:avLst/>
                </a:prstGeom>
                <a:noFill/>
                <a:ln w="9525" cmpd="sng">
                  <a:noFill/>
                </a:ln>
                <a:effectLst/>
              </p:spPr>
              <p:txBody>
                <a:bodyPr wrap="none" anchor="ctr" anchorCtr="1">
                  <a:normAutofit fontScale="25000" lnSpcReduction="20000"/>
                </a:bodyPr>
                <a:lstStyle>
                  <a:lvl1pPr marL="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ctr" defTabSz="121917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3467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rPr>
                    <a:t>MA</a:t>
                  </a:r>
                </a:p>
              </p:txBody>
            </p:sp>
            <p:sp>
              <p:nvSpPr>
                <p:cNvPr id="110" name="Hawaii_L">
                  <a:extLst>
                    <a:ext uri="{FF2B5EF4-FFF2-40B4-BE49-F238E27FC236}">
                      <a16:creationId xmlns:a16="http://schemas.microsoft.com/office/drawing/2014/main" id="{CF2BF7C8-2745-BD25-C752-B36527DEB4C3}"/>
                    </a:ext>
                  </a:extLst>
                </p:cNvPr>
                <p:cNvSpPr txBox="1"/>
                <p:nvPr/>
              </p:nvSpPr>
              <p:spPr>
                <a:xfrm>
                  <a:off x="9235000" y="17337458"/>
                  <a:ext cx="510258" cy="476306"/>
                </a:xfrm>
                <a:prstGeom prst="rect">
                  <a:avLst/>
                </a:prstGeom>
                <a:noFill/>
                <a:ln w="9525" cmpd="sng">
                  <a:noFill/>
                </a:ln>
                <a:effectLst/>
              </p:spPr>
              <p:txBody>
                <a:bodyPr wrap="none" anchor="ctr" anchorCtr="1">
                  <a:normAutofit fontScale="25000" lnSpcReduction="20000"/>
                </a:bodyPr>
                <a:lstStyle>
                  <a:lvl1pPr marL="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ctr" defTabSz="121917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3467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rPr>
                    <a:t>HI</a:t>
                  </a:r>
                </a:p>
              </p:txBody>
            </p:sp>
            <p:sp>
              <p:nvSpPr>
                <p:cNvPr id="111" name="Utah_L">
                  <a:extLst>
                    <a:ext uri="{FF2B5EF4-FFF2-40B4-BE49-F238E27FC236}">
                      <a16:creationId xmlns:a16="http://schemas.microsoft.com/office/drawing/2014/main" id="{85FDA5A7-879D-C602-2DDB-7BDD1F8B2A38}"/>
                    </a:ext>
                  </a:extLst>
                </p:cNvPr>
                <p:cNvSpPr txBox="1"/>
                <p:nvPr/>
              </p:nvSpPr>
              <p:spPr>
                <a:xfrm>
                  <a:off x="6564032" y="8040008"/>
                  <a:ext cx="629945" cy="476306"/>
                </a:xfrm>
                <a:prstGeom prst="rect">
                  <a:avLst/>
                </a:prstGeom>
                <a:noFill/>
                <a:ln w="9525" cmpd="sng">
                  <a:noFill/>
                </a:ln>
                <a:effectLst/>
              </p:spPr>
              <p:txBody>
                <a:bodyPr wrap="none" anchor="ctr" anchorCtr="1">
                  <a:normAutofit fontScale="25000" lnSpcReduction="20000"/>
                </a:bodyPr>
                <a:lstStyle>
                  <a:lvl1pPr marL="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ctr" defTabSz="121917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3467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rPr>
                    <a:t>UT</a:t>
                  </a:r>
                </a:p>
              </p:txBody>
            </p:sp>
            <p:sp>
              <p:nvSpPr>
                <p:cNvPr id="112" name="Iowa_L">
                  <a:extLst>
                    <a:ext uri="{FF2B5EF4-FFF2-40B4-BE49-F238E27FC236}">
                      <a16:creationId xmlns:a16="http://schemas.microsoft.com/office/drawing/2014/main" id="{5B3717BD-7DC4-4F1C-F648-5CB45BF5FE85}"/>
                    </a:ext>
                  </a:extLst>
                </p:cNvPr>
                <p:cNvSpPr txBox="1"/>
                <p:nvPr/>
              </p:nvSpPr>
              <p:spPr>
                <a:xfrm>
                  <a:off x="17103021" y="6560293"/>
                  <a:ext cx="497655" cy="476302"/>
                </a:xfrm>
                <a:prstGeom prst="rect">
                  <a:avLst/>
                </a:prstGeom>
                <a:noFill/>
                <a:ln w="9525" cmpd="sng">
                  <a:noFill/>
                </a:ln>
                <a:effectLst/>
              </p:spPr>
              <p:txBody>
                <a:bodyPr wrap="none" anchor="ctr" anchorCtr="1">
                  <a:normAutofit fontScale="25000" lnSpcReduction="20000"/>
                </a:bodyPr>
                <a:lstStyle>
                  <a:lvl1pPr marL="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ctr" defTabSz="121917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3467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rPr>
                    <a:t>IA</a:t>
                  </a:r>
                </a:p>
              </p:txBody>
            </p:sp>
            <p:sp>
              <p:nvSpPr>
                <p:cNvPr id="113" name="Maryland_L">
                  <a:extLst>
                    <a:ext uri="{FF2B5EF4-FFF2-40B4-BE49-F238E27FC236}">
                      <a16:creationId xmlns:a16="http://schemas.microsoft.com/office/drawing/2014/main" id="{ECEA48E5-EC4D-4555-0102-87FE2A25A007}"/>
                    </a:ext>
                  </a:extLst>
                </p:cNvPr>
                <p:cNvSpPr txBox="1"/>
                <p:nvPr/>
              </p:nvSpPr>
              <p:spPr>
                <a:xfrm>
                  <a:off x="28996392" y="10243709"/>
                  <a:ext cx="705539" cy="476302"/>
                </a:xfrm>
                <a:prstGeom prst="rect">
                  <a:avLst/>
                </a:prstGeom>
                <a:noFill/>
                <a:ln w="9525" cmpd="sng">
                  <a:noFill/>
                </a:ln>
                <a:effectLst/>
              </p:spPr>
              <p:txBody>
                <a:bodyPr wrap="none" anchor="ctr" anchorCtr="1">
                  <a:normAutofit fontScale="25000" lnSpcReduction="20000"/>
                </a:bodyPr>
                <a:lstStyle>
                  <a:lvl1pPr marL="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ctr" defTabSz="121917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3467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rPr>
                    <a:t>MD</a:t>
                  </a:r>
                </a:p>
              </p:txBody>
            </p:sp>
            <p:sp>
              <p:nvSpPr>
                <p:cNvPr id="114" name="Rhode_Island_L">
                  <a:extLst>
                    <a:ext uri="{FF2B5EF4-FFF2-40B4-BE49-F238E27FC236}">
                      <a16:creationId xmlns:a16="http://schemas.microsoft.com/office/drawing/2014/main" id="{EBBCF164-F575-8AA0-73A3-47091BC3099C}"/>
                    </a:ext>
                  </a:extLst>
                </p:cNvPr>
                <p:cNvSpPr txBox="1"/>
                <p:nvPr/>
              </p:nvSpPr>
              <p:spPr>
                <a:xfrm>
                  <a:off x="31440580" y="5753750"/>
                  <a:ext cx="522853" cy="476306"/>
                </a:xfrm>
                <a:prstGeom prst="rect">
                  <a:avLst/>
                </a:prstGeom>
                <a:noFill/>
                <a:ln w="9525" cmpd="sng">
                  <a:noFill/>
                </a:ln>
                <a:effectLst/>
              </p:spPr>
              <p:txBody>
                <a:bodyPr wrap="none" anchor="ctr" anchorCtr="1">
                  <a:normAutofit fontScale="25000" lnSpcReduction="20000"/>
                </a:bodyPr>
                <a:lstStyle>
                  <a:lvl1pPr marL="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ctr" defTabSz="121917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3467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rPr>
                    <a:t>RI</a:t>
                  </a:r>
                </a:p>
              </p:txBody>
            </p:sp>
            <p:sp>
              <p:nvSpPr>
                <p:cNvPr id="115" name="Idaho_L">
                  <a:extLst>
                    <a:ext uri="{FF2B5EF4-FFF2-40B4-BE49-F238E27FC236}">
                      <a16:creationId xmlns:a16="http://schemas.microsoft.com/office/drawing/2014/main" id="{00AFBA02-6862-A449-7D1C-780897D0B031}"/>
                    </a:ext>
                  </a:extLst>
                </p:cNvPr>
                <p:cNvSpPr txBox="1"/>
                <p:nvPr/>
              </p:nvSpPr>
              <p:spPr>
                <a:xfrm>
                  <a:off x="5833295" y="4572516"/>
                  <a:ext cx="522857" cy="476306"/>
                </a:xfrm>
                <a:prstGeom prst="rect">
                  <a:avLst/>
                </a:prstGeom>
                <a:noFill/>
                <a:ln w="9525" cmpd="sng">
                  <a:noFill/>
                </a:ln>
                <a:effectLst/>
              </p:spPr>
              <p:txBody>
                <a:bodyPr wrap="none" anchor="ctr" anchorCtr="1">
                  <a:normAutofit fontScale="25000" lnSpcReduction="20000"/>
                </a:bodyPr>
                <a:lstStyle>
                  <a:lvl1pPr marL="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ctr" defTabSz="121917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3467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rPr>
                    <a:t>ID</a:t>
                  </a:r>
                </a:p>
              </p:txBody>
            </p:sp>
            <p:sp>
              <p:nvSpPr>
                <p:cNvPr id="116" name="Georgia_L">
                  <a:extLst>
                    <a:ext uri="{FF2B5EF4-FFF2-40B4-BE49-F238E27FC236}">
                      <a16:creationId xmlns:a16="http://schemas.microsoft.com/office/drawing/2014/main" id="{B5FA1BA0-4D17-3CD0-19DB-8B2FA17F0AAA}"/>
                    </a:ext>
                  </a:extLst>
                </p:cNvPr>
                <p:cNvSpPr txBox="1"/>
                <p:nvPr/>
              </p:nvSpPr>
              <p:spPr>
                <a:xfrm>
                  <a:off x="23440274" y="12726837"/>
                  <a:ext cx="667742" cy="476307"/>
                </a:xfrm>
                <a:prstGeom prst="rect">
                  <a:avLst/>
                </a:prstGeom>
                <a:noFill/>
                <a:ln w="9525" cmpd="sng">
                  <a:noFill/>
                </a:ln>
                <a:effectLst/>
              </p:spPr>
              <p:txBody>
                <a:bodyPr wrap="none" anchor="ctr" anchorCtr="1">
                  <a:normAutofit fontScale="25000" lnSpcReduction="20000"/>
                </a:bodyPr>
                <a:lstStyle>
                  <a:lvl1pPr marL="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ctr" defTabSz="121917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3467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rPr>
                    <a:t>GA</a:t>
                  </a:r>
                </a:p>
              </p:txBody>
            </p:sp>
            <p:sp>
              <p:nvSpPr>
                <p:cNvPr id="117" name="Delaware_L">
                  <a:extLst>
                    <a:ext uri="{FF2B5EF4-FFF2-40B4-BE49-F238E27FC236}">
                      <a16:creationId xmlns:a16="http://schemas.microsoft.com/office/drawing/2014/main" id="{2E88E914-FAE8-63D9-B868-BDEE5307796E}"/>
                    </a:ext>
                  </a:extLst>
                </p:cNvPr>
                <p:cNvSpPr txBox="1"/>
                <p:nvPr/>
              </p:nvSpPr>
              <p:spPr>
                <a:xfrm>
                  <a:off x="29878315" y="8725886"/>
                  <a:ext cx="648842" cy="476306"/>
                </a:xfrm>
                <a:prstGeom prst="rect">
                  <a:avLst/>
                </a:prstGeom>
                <a:noFill/>
                <a:ln w="9525" cmpd="sng">
                  <a:noFill/>
                </a:ln>
                <a:effectLst/>
              </p:spPr>
              <p:txBody>
                <a:bodyPr wrap="none" anchor="ctr" anchorCtr="1">
                  <a:normAutofit fontScale="25000" lnSpcReduction="20000"/>
                </a:bodyPr>
                <a:lstStyle>
                  <a:lvl1pPr marL="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ctr" defTabSz="121917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3467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rPr>
                    <a:t>DE</a:t>
                  </a:r>
                </a:p>
              </p:txBody>
            </p:sp>
            <p:sp>
              <p:nvSpPr>
                <p:cNvPr id="118" name="North_Carolina_L">
                  <a:extLst>
                    <a:ext uri="{FF2B5EF4-FFF2-40B4-BE49-F238E27FC236}">
                      <a16:creationId xmlns:a16="http://schemas.microsoft.com/office/drawing/2014/main" id="{659722A0-5804-E149-707B-0CD66144DE4E}"/>
                    </a:ext>
                  </a:extLst>
                </p:cNvPr>
                <p:cNvSpPr txBox="1"/>
                <p:nvPr/>
              </p:nvSpPr>
              <p:spPr>
                <a:xfrm>
                  <a:off x="25191521" y="10402475"/>
                  <a:ext cx="667742" cy="476306"/>
                </a:xfrm>
                <a:prstGeom prst="rect">
                  <a:avLst/>
                </a:prstGeom>
                <a:noFill/>
                <a:ln w="9525" cmpd="sng">
                  <a:noFill/>
                </a:ln>
                <a:effectLst/>
              </p:spPr>
              <p:txBody>
                <a:bodyPr wrap="none" anchor="ctr" anchorCtr="1">
                  <a:normAutofit fontScale="25000" lnSpcReduction="20000"/>
                </a:bodyPr>
                <a:lstStyle>
                  <a:lvl1pPr marL="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ctr" defTabSz="121917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3467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rPr>
                    <a:t>NC</a:t>
                  </a:r>
                </a:p>
              </p:txBody>
            </p:sp>
            <p:sp>
              <p:nvSpPr>
                <p:cNvPr id="119" name="Illinois_L">
                  <a:extLst>
                    <a:ext uri="{FF2B5EF4-FFF2-40B4-BE49-F238E27FC236}">
                      <a16:creationId xmlns:a16="http://schemas.microsoft.com/office/drawing/2014/main" id="{14F008BF-36C2-F982-6211-38B26F99C081}"/>
                    </a:ext>
                  </a:extLst>
                </p:cNvPr>
                <p:cNvSpPr txBox="1"/>
                <p:nvPr/>
              </p:nvSpPr>
              <p:spPr>
                <a:xfrm>
                  <a:off x="19402320" y="8040008"/>
                  <a:ext cx="466160" cy="476306"/>
                </a:xfrm>
                <a:prstGeom prst="rect">
                  <a:avLst/>
                </a:prstGeom>
                <a:noFill/>
                <a:ln w="9525" cmpd="sng">
                  <a:noFill/>
                </a:ln>
                <a:effectLst/>
              </p:spPr>
              <p:txBody>
                <a:bodyPr wrap="none" anchor="ctr" anchorCtr="1">
                  <a:normAutofit fontScale="25000" lnSpcReduction="20000"/>
                </a:bodyPr>
                <a:lstStyle>
                  <a:lvl1pPr marL="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ctr" defTabSz="121917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3467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rPr>
                    <a:t>IL</a:t>
                  </a:r>
                </a:p>
              </p:txBody>
            </p:sp>
            <p:sp>
              <p:nvSpPr>
                <p:cNvPr id="120" name="Kansas_L">
                  <a:extLst>
                    <a:ext uri="{FF2B5EF4-FFF2-40B4-BE49-F238E27FC236}">
                      <a16:creationId xmlns:a16="http://schemas.microsoft.com/office/drawing/2014/main" id="{CB98E83F-803A-7D9D-78BA-1A56D156BABE}"/>
                    </a:ext>
                  </a:extLst>
                </p:cNvPr>
                <p:cNvSpPr txBox="1"/>
                <p:nvPr/>
              </p:nvSpPr>
              <p:spPr>
                <a:xfrm>
                  <a:off x="14186372" y="9024371"/>
                  <a:ext cx="623648" cy="476302"/>
                </a:xfrm>
                <a:prstGeom prst="rect">
                  <a:avLst/>
                </a:prstGeom>
                <a:noFill/>
                <a:ln w="9525" cmpd="sng">
                  <a:noFill/>
                </a:ln>
                <a:effectLst/>
              </p:spPr>
              <p:txBody>
                <a:bodyPr wrap="none" anchor="ctr" anchorCtr="1">
                  <a:normAutofit fontScale="25000" lnSpcReduction="20000"/>
                </a:bodyPr>
                <a:lstStyle>
                  <a:lvl1pPr marL="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ctr" defTabSz="121917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3467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rPr>
                    <a:t>KS</a:t>
                  </a:r>
                </a:p>
              </p:txBody>
            </p:sp>
            <p:sp>
              <p:nvSpPr>
                <p:cNvPr id="121" name="Washington_L">
                  <a:extLst>
                    <a:ext uri="{FF2B5EF4-FFF2-40B4-BE49-F238E27FC236}">
                      <a16:creationId xmlns:a16="http://schemas.microsoft.com/office/drawing/2014/main" id="{CB155FC7-C5D3-CFB7-4468-C5FE830312B1}"/>
                    </a:ext>
                  </a:extLst>
                </p:cNvPr>
                <p:cNvSpPr txBox="1"/>
                <p:nvPr/>
              </p:nvSpPr>
              <p:spPr>
                <a:xfrm>
                  <a:off x="3137128" y="1181233"/>
                  <a:ext cx="724439" cy="476306"/>
                </a:xfrm>
                <a:prstGeom prst="rect">
                  <a:avLst/>
                </a:prstGeom>
                <a:noFill/>
                <a:ln w="9525" cmpd="sng">
                  <a:noFill/>
                </a:ln>
                <a:effectLst/>
              </p:spPr>
              <p:txBody>
                <a:bodyPr wrap="none" anchor="ctr" anchorCtr="1">
                  <a:normAutofit fontScale="25000" lnSpcReduction="20000"/>
                </a:bodyPr>
                <a:lstStyle>
                  <a:lvl1pPr marL="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ctr" defTabSz="121917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3467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rPr>
                    <a:t>WA</a:t>
                  </a:r>
                </a:p>
              </p:txBody>
            </p:sp>
            <p:sp>
              <p:nvSpPr>
                <p:cNvPr id="122" name="Minnesota_L">
                  <a:extLst>
                    <a:ext uri="{FF2B5EF4-FFF2-40B4-BE49-F238E27FC236}">
                      <a16:creationId xmlns:a16="http://schemas.microsoft.com/office/drawing/2014/main" id="{F955ABE5-A8DF-04D5-F512-E6DBC804FC32}"/>
                    </a:ext>
                  </a:extLst>
                </p:cNvPr>
                <p:cNvSpPr txBox="1"/>
                <p:nvPr/>
              </p:nvSpPr>
              <p:spPr>
                <a:xfrm>
                  <a:off x="16309290" y="2775265"/>
                  <a:ext cx="705539" cy="476302"/>
                </a:xfrm>
                <a:prstGeom prst="rect">
                  <a:avLst/>
                </a:prstGeom>
                <a:noFill/>
                <a:ln w="9525" cmpd="sng">
                  <a:noFill/>
                </a:ln>
                <a:effectLst/>
              </p:spPr>
              <p:txBody>
                <a:bodyPr wrap="none" anchor="ctr" anchorCtr="1">
                  <a:normAutofit fontScale="25000" lnSpcReduction="20000"/>
                </a:bodyPr>
                <a:lstStyle>
                  <a:lvl1pPr marL="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ctr" defTabSz="121917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3467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rPr>
                    <a:t>MN</a:t>
                  </a:r>
                </a:p>
              </p:txBody>
            </p:sp>
            <p:sp>
              <p:nvSpPr>
                <p:cNvPr id="123" name="Wisconsin_L">
                  <a:extLst>
                    <a:ext uri="{FF2B5EF4-FFF2-40B4-BE49-F238E27FC236}">
                      <a16:creationId xmlns:a16="http://schemas.microsoft.com/office/drawing/2014/main" id="{58111FAF-9E0E-582C-AF13-1FE47E95A9F0}"/>
                    </a:ext>
                  </a:extLst>
                </p:cNvPr>
                <p:cNvSpPr txBox="1"/>
                <p:nvPr/>
              </p:nvSpPr>
              <p:spPr>
                <a:xfrm>
                  <a:off x="18791275" y="4572516"/>
                  <a:ext cx="598446" cy="476306"/>
                </a:xfrm>
                <a:prstGeom prst="rect">
                  <a:avLst/>
                </a:prstGeom>
                <a:noFill/>
                <a:ln w="9525" cmpd="sng">
                  <a:noFill/>
                </a:ln>
                <a:effectLst/>
              </p:spPr>
              <p:txBody>
                <a:bodyPr wrap="none" anchor="ctr" anchorCtr="1">
                  <a:normAutofit fontScale="25000" lnSpcReduction="20000"/>
                </a:bodyPr>
                <a:lstStyle>
                  <a:lvl1pPr marL="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ctr" defTabSz="121917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3467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rPr>
                    <a:t>WI</a:t>
                  </a:r>
                </a:p>
              </p:txBody>
            </p:sp>
            <p:sp>
              <p:nvSpPr>
                <p:cNvPr id="124" name="Vermont_L">
                  <a:extLst>
                    <a:ext uri="{FF2B5EF4-FFF2-40B4-BE49-F238E27FC236}">
                      <a16:creationId xmlns:a16="http://schemas.microsoft.com/office/drawing/2014/main" id="{FD422BDB-CD62-74C6-8E75-BBA7C4898924}"/>
                    </a:ext>
                  </a:extLst>
                </p:cNvPr>
                <p:cNvSpPr txBox="1"/>
                <p:nvPr/>
              </p:nvSpPr>
              <p:spPr>
                <a:xfrm>
                  <a:off x="25002537" y="2394222"/>
                  <a:ext cx="617347" cy="476302"/>
                </a:xfrm>
                <a:prstGeom prst="rect">
                  <a:avLst/>
                </a:prstGeom>
                <a:noFill/>
                <a:ln w="9525" cmpd="sng">
                  <a:noFill/>
                </a:ln>
                <a:effectLst/>
              </p:spPr>
              <p:txBody>
                <a:bodyPr wrap="none" anchor="ctr" anchorCtr="1">
                  <a:normAutofit fontScale="25000" lnSpcReduction="20000"/>
                </a:bodyPr>
                <a:lstStyle>
                  <a:lvl1pPr marL="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ctr" defTabSz="121917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3467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rPr>
                    <a:t>VT</a:t>
                  </a:r>
                </a:p>
              </p:txBody>
            </p:sp>
            <p:sp>
              <p:nvSpPr>
                <p:cNvPr id="125" name="New_Jersey_L">
                  <a:extLst>
                    <a:ext uri="{FF2B5EF4-FFF2-40B4-BE49-F238E27FC236}">
                      <a16:creationId xmlns:a16="http://schemas.microsoft.com/office/drawing/2014/main" id="{F3E2257F-5F3A-9634-E7CD-82804269C350}"/>
                    </a:ext>
                  </a:extLst>
                </p:cNvPr>
                <p:cNvSpPr txBox="1"/>
                <p:nvPr/>
              </p:nvSpPr>
              <p:spPr>
                <a:xfrm>
                  <a:off x="29273568" y="7354131"/>
                  <a:ext cx="592149" cy="482655"/>
                </a:xfrm>
                <a:prstGeom prst="rect">
                  <a:avLst/>
                </a:prstGeom>
                <a:noFill/>
                <a:ln w="9525" cmpd="sng">
                  <a:noFill/>
                </a:ln>
                <a:effectLst/>
              </p:spPr>
              <p:txBody>
                <a:bodyPr wrap="none" anchor="ctr" anchorCtr="1">
                  <a:normAutofit fontScale="25000" lnSpcReduction="20000"/>
                </a:bodyPr>
                <a:lstStyle>
                  <a:lvl1pPr marL="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ctr" defTabSz="121917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3467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rPr>
                    <a:t>NJ</a:t>
                  </a:r>
                </a:p>
              </p:txBody>
            </p:sp>
            <p:sp>
              <p:nvSpPr>
                <p:cNvPr id="126" name="Louisiana_L">
                  <a:extLst>
                    <a:ext uri="{FF2B5EF4-FFF2-40B4-BE49-F238E27FC236}">
                      <a16:creationId xmlns:a16="http://schemas.microsoft.com/office/drawing/2014/main" id="{B3A5681B-ABDC-6BA9-AD1C-AEC8EEC6C2D6}"/>
                    </a:ext>
                  </a:extLst>
                </p:cNvPr>
                <p:cNvSpPr txBox="1"/>
                <p:nvPr/>
              </p:nvSpPr>
              <p:spPr>
                <a:xfrm>
                  <a:off x="17651072" y="14403427"/>
                  <a:ext cx="592149" cy="476306"/>
                </a:xfrm>
                <a:prstGeom prst="rect">
                  <a:avLst/>
                </a:prstGeom>
                <a:noFill/>
                <a:ln w="9525" cmpd="sng">
                  <a:noFill/>
                </a:ln>
                <a:effectLst/>
              </p:spPr>
              <p:txBody>
                <a:bodyPr wrap="none" anchor="ctr" anchorCtr="1">
                  <a:normAutofit fontScale="25000" lnSpcReduction="20000"/>
                </a:bodyPr>
                <a:lstStyle>
                  <a:lvl1pPr marL="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ctr" defTabSz="121917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3467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rPr>
                    <a:t>LA</a:t>
                  </a:r>
                </a:p>
              </p:txBody>
            </p:sp>
            <p:sp>
              <p:nvSpPr>
                <p:cNvPr id="127" name="Florida_L">
                  <a:extLst>
                    <a:ext uri="{FF2B5EF4-FFF2-40B4-BE49-F238E27FC236}">
                      <a16:creationId xmlns:a16="http://schemas.microsoft.com/office/drawing/2014/main" id="{2B34AE3E-DCDD-8616-6FA4-904B8EE23569}"/>
                    </a:ext>
                  </a:extLst>
                </p:cNvPr>
                <p:cNvSpPr txBox="1"/>
                <p:nvPr/>
              </p:nvSpPr>
              <p:spPr>
                <a:xfrm>
                  <a:off x="25034033" y="15959355"/>
                  <a:ext cx="579550" cy="476302"/>
                </a:xfrm>
                <a:prstGeom prst="rect">
                  <a:avLst/>
                </a:prstGeom>
                <a:noFill/>
                <a:ln w="9525" cmpd="sng">
                  <a:noFill/>
                </a:ln>
                <a:effectLst/>
              </p:spPr>
              <p:txBody>
                <a:bodyPr wrap="none" anchor="ctr" anchorCtr="1">
                  <a:normAutofit fontScale="25000" lnSpcReduction="20000"/>
                </a:bodyPr>
                <a:lstStyle>
                  <a:lvl1pPr marL="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ctr" defTabSz="121917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3467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rPr>
                    <a:t>FL</a:t>
                  </a:r>
                </a:p>
              </p:txBody>
            </p:sp>
            <p:sp>
              <p:nvSpPr>
                <p:cNvPr id="128" name="Connecticut_L">
                  <a:extLst>
                    <a:ext uri="{FF2B5EF4-FFF2-40B4-BE49-F238E27FC236}">
                      <a16:creationId xmlns:a16="http://schemas.microsoft.com/office/drawing/2014/main" id="{E48EF8E6-4AB3-5985-6A70-8FE8C72C6CE3}"/>
                    </a:ext>
                  </a:extLst>
                </p:cNvPr>
                <p:cNvSpPr txBox="1"/>
                <p:nvPr/>
              </p:nvSpPr>
              <p:spPr>
                <a:xfrm>
                  <a:off x="31358685" y="6661904"/>
                  <a:ext cx="636247" cy="476302"/>
                </a:xfrm>
                <a:prstGeom prst="rect">
                  <a:avLst/>
                </a:prstGeom>
                <a:noFill/>
                <a:ln w="9525" cmpd="sng">
                  <a:noFill/>
                </a:ln>
                <a:effectLst/>
              </p:spPr>
              <p:txBody>
                <a:bodyPr wrap="none" anchor="ctr" anchorCtr="1">
                  <a:normAutofit fontScale="25000" lnSpcReduction="20000"/>
                </a:bodyPr>
                <a:lstStyle>
                  <a:lvl1pPr marL="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ctr" defTabSz="121917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3467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rPr>
                    <a:t>CT</a:t>
                  </a:r>
                </a:p>
              </p:txBody>
            </p:sp>
            <p:sp>
              <p:nvSpPr>
                <p:cNvPr id="129" name="New_York_L">
                  <a:extLst>
                    <a:ext uri="{FF2B5EF4-FFF2-40B4-BE49-F238E27FC236}">
                      <a16:creationId xmlns:a16="http://schemas.microsoft.com/office/drawing/2014/main" id="{E7B68A4E-2BA9-2982-3ECD-8DDB93F137B0}"/>
                    </a:ext>
                  </a:extLst>
                </p:cNvPr>
                <p:cNvSpPr txBox="1"/>
                <p:nvPr/>
              </p:nvSpPr>
              <p:spPr>
                <a:xfrm>
                  <a:off x="26980566" y="4572516"/>
                  <a:ext cx="642544" cy="476306"/>
                </a:xfrm>
                <a:prstGeom prst="rect">
                  <a:avLst/>
                </a:prstGeom>
                <a:noFill/>
                <a:ln w="9525" cmpd="sng">
                  <a:noFill/>
                </a:ln>
                <a:effectLst/>
              </p:spPr>
              <p:txBody>
                <a:bodyPr wrap="none" anchor="ctr" anchorCtr="1">
                  <a:normAutofit fontScale="25000" lnSpcReduction="20000"/>
                </a:bodyPr>
                <a:lstStyle>
                  <a:lvl1pPr marL="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ctr" defTabSz="121917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3467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rPr>
                    <a:t>NY</a:t>
                  </a:r>
                </a:p>
              </p:txBody>
            </p:sp>
            <p:sp>
              <p:nvSpPr>
                <p:cNvPr id="130" name="California_L">
                  <a:extLst>
                    <a:ext uri="{FF2B5EF4-FFF2-40B4-BE49-F238E27FC236}">
                      <a16:creationId xmlns:a16="http://schemas.microsoft.com/office/drawing/2014/main" id="{CDB59841-EE45-645C-A524-4F369CD102C1}"/>
                    </a:ext>
                  </a:extLst>
                </p:cNvPr>
                <p:cNvSpPr txBox="1"/>
                <p:nvPr/>
              </p:nvSpPr>
              <p:spPr>
                <a:xfrm>
                  <a:off x="1341786" y="8230530"/>
                  <a:ext cx="642544" cy="476306"/>
                </a:xfrm>
                <a:prstGeom prst="rect">
                  <a:avLst/>
                </a:prstGeom>
                <a:noFill/>
                <a:ln w="9525" cmpd="sng">
                  <a:noFill/>
                </a:ln>
                <a:effectLst/>
              </p:spPr>
              <p:txBody>
                <a:bodyPr wrap="none" anchor="ctr" anchorCtr="1">
                  <a:normAutofit fontScale="25000" lnSpcReduction="20000"/>
                </a:bodyPr>
                <a:lstStyle>
                  <a:lvl1pPr marL="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ctr" defTabSz="121917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3467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rPr>
                    <a:t>CA</a:t>
                  </a:r>
                </a:p>
              </p:txBody>
            </p:sp>
            <p:sp>
              <p:nvSpPr>
                <p:cNvPr id="131" name="Arizona_L">
                  <a:extLst>
                    <a:ext uri="{FF2B5EF4-FFF2-40B4-BE49-F238E27FC236}">
                      <a16:creationId xmlns:a16="http://schemas.microsoft.com/office/drawing/2014/main" id="{F80958A0-EC28-73DC-0F95-1392AC9EB697}"/>
                    </a:ext>
                  </a:extLst>
                </p:cNvPr>
                <p:cNvSpPr txBox="1"/>
                <p:nvPr/>
              </p:nvSpPr>
              <p:spPr>
                <a:xfrm>
                  <a:off x="5839596" y="11431291"/>
                  <a:ext cx="611045" cy="476306"/>
                </a:xfrm>
                <a:prstGeom prst="rect">
                  <a:avLst/>
                </a:prstGeom>
                <a:noFill/>
                <a:ln w="9525" cmpd="sng">
                  <a:noFill/>
                </a:ln>
                <a:effectLst/>
              </p:spPr>
              <p:txBody>
                <a:bodyPr wrap="none" anchor="ctr" anchorCtr="1">
                  <a:normAutofit fontScale="25000" lnSpcReduction="20000"/>
                </a:bodyPr>
                <a:lstStyle>
                  <a:lvl1pPr marL="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ctr" defTabSz="121917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3467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rPr>
                    <a:t>AZ</a:t>
                  </a:r>
                </a:p>
              </p:txBody>
            </p:sp>
            <p:sp>
              <p:nvSpPr>
                <p:cNvPr id="132" name="Nevada_L">
                  <a:extLst>
                    <a:ext uri="{FF2B5EF4-FFF2-40B4-BE49-F238E27FC236}">
                      <a16:creationId xmlns:a16="http://schemas.microsoft.com/office/drawing/2014/main" id="{30DB5074-88E4-DE08-48A3-A2006C189524}"/>
                    </a:ext>
                  </a:extLst>
                </p:cNvPr>
                <p:cNvSpPr txBox="1"/>
                <p:nvPr/>
              </p:nvSpPr>
              <p:spPr>
                <a:xfrm>
                  <a:off x="3710381" y="7735174"/>
                  <a:ext cx="642544" cy="476306"/>
                </a:xfrm>
                <a:prstGeom prst="rect">
                  <a:avLst/>
                </a:prstGeom>
                <a:noFill/>
                <a:ln w="9525" cmpd="sng">
                  <a:noFill/>
                </a:ln>
                <a:effectLst/>
              </p:spPr>
              <p:txBody>
                <a:bodyPr wrap="none" anchor="ctr" anchorCtr="1">
                  <a:normAutofit fontScale="25000" lnSpcReduction="20000"/>
                </a:bodyPr>
                <a:lstStyle>
                  <a:lvl1pPr marL="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ctr" defTabSz="121917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3467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rPr>
                    <a:t>NV</a:t>
                  </a:r>
                </a:p>
              </p:txBody>
            </p:sp>
          </p:grpSp>
          <p:cxnSp>
            <p:nvCxnSpPr>
              <p:cNvPr id="9" name="Straight Arrow Connector 8">
                <a:extLst>
                  <a:ext uri="{FF2B5EF4-FFF2-40B4-BE49-F238E27FC236}">
                    <a16:creationId xmlns:a16="http://schemas.microsoft.com/office/drawing/2014/main" id="{FCC337BF-5DA4-959E-9576-00A6EB6C1E91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10125345" y="3689918"/>
                <a:ext cx="525952" cy="1103728"/>
              </a:xfrm>
              <a:prstGeom prst="straightConnector1">
                <a:avLst/>
              </a:prstGeom>
              <a:noFill/>
              <a:ln w="19050" cap="flat" cmpd="sng" algn="ctr">
                <a:solidFill>
                  <a:sysClr val="windowText" lastClr="000000"/>
                </a:solidFill>
                <a:prstDash val="solid"/>
                <a:miter lim="800000"/>
                <a:headEnd type="triangle"/>
                <a:tailEnd type="triangle"/>
              </a:ln>
              <a:effectLst/>
            </p:spPr>
          </p:cxnSp>
          <p:grpSp>
            <p:nvGrpSpPr>
              <p:cNvPr id="10" name="Group 9">
                <a:extLst>
                  <a:ext uri="{FF2B5EF4-FFF2-40B4-BE49-F238E27FC236}">
                    <a16:creationId xmlns:a16="http://schemas.microsoft.com/office/drawing/2014/main" id="{E761D9FF-6AE2-DFA8-8AAD-26EFFDF652B3}"/>
                  </a:ext>
                </a:extLst>
              </p:cNvPr>
              <p:cNvGrpSpPr/>
              <p:nvPr/>
            </p:nvGrpSpPr>
            <p:grpSpPr>
              <a:xfrm>
                <a:off x="7848270" y="5175094"/>
                <a:ext cx="1084305" cy="276999"/>
                <a:chOff x="2398047" y="6005612"/>
                <a:chExt cx="1084305" cy="276999"/>
              </a:xfrm>
            </p:grpSpPr>
            <p:sp>
              <p:nvSpPr>
                <p:cNvPr id="20" name="TextBox 19">
                  <a:extLst>
                    <a:ext uri="{FF2B5EF4-FFF2-40B4-BE49-F238E27FC236}">
                      <a16:creationId xmlns:a16="http://schemas.microsoft.com/office/drawing/2014/main" id="{F3A55DBA-50DE-41A6-4A98-2B889BF6DA80}"/>
                    </a:ext>
                  </a:extLst>
                </p:cNvPr>
                <p:cNvSpPr txBox="1"/>
                <p:nvPr/>
              </p:nvSpPr>
              <p:spPr>
                <a:xfrm>
                  <a:off x="2398047" y="6083929"/>
                  <a:ext cx="163469" cy="181069"/>
                </a:xfrm>
                <a:prstGeom prst="rect">
                  <a:avLst/>
                </a:prstGeom>
                <a:solidFill>
                  <a:srgbClr val="FF0000"/>
                </a:solidFill>
              </p:spPr>
              <p:txBody>
                <a:bodyPr wrap="square" rtlCol="0">
                  <a:spAutoFit/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</a:endParaRPr>
                </a:p>
              </p:txBody>
            </p:sp>
            <p:sp>
              <p:nvSpPr>
                <p:cNvPr id="21" name="TextBox 20">
                  <a:extLst>
                    <a:ext uri="{FF2B5EF4-FFF2-40B4-BE49-F238E27FC236}">
                      <a16:creationId xmlns:a16="http://schemas.microsoft.com/office/drawing/2014/main" id="{67A1AD92-9914-3FB2-86E3-CD9251E9F64A}"/>
                    </a:ext>
                  </a:extLst>
                </p:cNvPr>
                <p:cNvSpPr txBox="1"/>
                <p:nvPr/>
              </p:nvSpPr>
              <p:spPr>
                <a:xfrm>
                  <a:off x="2542430" y="6005612"/>
                  <a:ext cx="939922" cy="276999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2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</a:rPr>
                    <a:t>&gt;$3,359 </a:t>
                  </a:r>
                </a:p>
              </p:txBody>
            </p:sp>
          </p:grpSp>
          <p:grpSp>
            <p:nvGrpSpPr>
              <p:cNvPr id="11" name="Group 10">
                <a:extLst>
                  <a:ext uri="{FF2B5EF4-FFF2-40B4-BE49-F238E27FC236}">
                    <a16:creationId xmlns:a16="http://schemas.microsoft.com/office/drawing/2014/main" id="{D61274FE-A4D0-3AD6-E176-0EAE099C680D}"/>
                  </a:ext>
                </a:extLst>
              </p:cNvPr>
              <p:cNvGrpSpPr/>
              <p:nvPr/>
            </p:nvGrpSpPr>
            <p:grpSpPr>
              <a:xfrm>
                <a:off x="7850585" y="5419158"/>
                <a:ext cx="1498145" cy="276999"/>
                <a:chOff x="2426512" y="6026910"/>
                <a:chExt cx="1044871" cy="276999"/>
              </a:xfrm>
            </p:grpSpPr>
            <p:sp>
              <p:nvSpPr>
                <p:cNvPr id="18" name="TextBox 17">
                  <a:extLst>
                    <a:ext uri="{FF2B5EF4-FFF2-40B4-BE49-F238E27FC236}">
                      <a16:creationId xmlns:a16="http://schemas.microsoft.com/office/drawing/2014/main" id="{9511177B-CA8F-08E7-5ECB-22FA0D913FBE}"/>
                    </a:ext>
                  </a:extLst>
                </p:cNvPr>
                <p:cNvSpPr txBox="1"/>
                <p:nvPr/>
              </p:nvSpPr>
              <p:spPr>
                <a:xfrm>
                  <a:off x="2426512" y="6083929"/>
                  <a:ext cx="135004" cy="143831"/>
                </a:xfrm>
                <a:prstGeom prst="rect">
                  <a:avLst/>
                </a:prstGeom>
                <a:solidFill>
                  <a:srgbClr val="FFFF00"/>
                </a:solidFill>
              </p:spPr>
              <p:txBody>
                <a:bodyPr wrap="square" rtlCol="0">
                  <a:spAutoFit/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</a:endParaRPr>
                </a:p>
              </p:txBody>
            </p:sp>
            <p:sp>
              <p:nvSpPr>
                <p:cNvPr id="19" name="TextBox 18">
                  <a:extLst>
                    <a:ext uri="{FF2B5EF4-FFF2-40B4-BE49-F238E27FC236}">
                      <a16:creationId xmlns:a16="http://schemas.microsoft.com/office/drawing/2014/main" id="{33ABEAC6-CB93-1702-CBAA-10D0E35D878C}"/>
                    </a:ext>
                  </a:extLst>
                </p:cNvPr>
                <p:cNvSpPr txBox="1"/>
                <p:nvPr/>
              </p:nvSpPr>
              <p:spPr>
                <a:xfrm>
                  <a:off x="2531461" y="6026910"/>
                  <a:ext cx="939922" cy="276999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2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</a:rPr>
                    <a:t>$2,989 - $3,358</a:t>
                  </a:r>
                </a:p>
              </p:txBody>
            </p:sp>
          </p:grpSp>
          <p:grpSp>
            <p:nvGrpSpPr>
              <p:cNvPr id="12" name="Group 11">
                <a:extLst>
                  <a:ext uri="{FF2B5EF4-FFF2-40B4-BE49-F238E27FC236}">
                    <a16:creationId xmlns:a16="http://schemas.microsoft.com/office/drawing/2014/main" id="{D3B65BF2-7CC9-F17E-AFD4-3ABF5438D900}"/>
                  </a:ext>
                </a:extLst>
              </p:cNvPr>
              <p:cNvGrpSpPr/>
              <p:nvPr/>
            </p:nvGrpSpPr>
            <p:grpSpPr>
              <a:xfrm>
                <a:off x="7854880" y="5674467"/>
                <a:ext cx="1310977" cy="276999"/>
                <a:chOff x="2398047" y="6040413"/>
                <a:chExt cx="1310977" cy="276999"/>
              </a:xfrm>
            </p:grpSpPr>
            <p:sp>
              <p:nvSpPr>
                <p:cNvPr id="16" name="TextBox 15">
                  <a:extLst>
                    <a:ext uri="{FF2B5EF4-FFF2-40B4-BE49-F238E27FC236}">
                      <a16:creationId xmlns:a16="http://schemas.microsoft.com/office/drawing/2014/main" id="{E16EBE3A-29F8-8EB7-69BE-57B1150225A5}"/>
                    </a:ext>
                  </a:extLst>
                </p:cNvPr>
                <p:cNvSpPr txBox="1"/>
                <p:nvPr/>
              </p:nvSpPr>
              <p:spPr>
                <a:xfrm>
                  <a:off x="2398047" y="6083929"/>
                  <a:ext cx="163469" cy="181069"/>
                </a:xfrm>
                <a:prstGeom prst="rect">
                  <a:avLst/>
                </a:prstGeom>
                <a:solidFill>
                  <a:srgbClr val="0070C0"/>
                </a:solidFill>
              </p:spPr>
              <p:txBody>
                <a:bodyPr wrap="square" rtlCol="0">
                  <a:spAutoFit/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</a:endParaRPr>
                </a:p>
              </p:txBody>
            </p:sp>
            <p:sp>
              <p:nvSpPr>
                <p:cNvPr id="17" name="TextBox 16">
                  <a:extLst>
                    <a:ext uri="{FF2B5EF4-FFF2-40B4-BE49-F238E27FC236}">
                      <a16:creationId xmlns:a16="http://schemas.microsoft.com/office/drawing/2014/main" id="{E1B6E0BA-70A4-4D02-E3BE-5066D5882284}"/>
                    </a:ext>
                  </a:extLst>
                </p:cNvPr>
                <p:cNvSpPr txBox="1"/>
                <p:nvPr/>
              </p:nvSpPr>
              <p:spPr>
                <a:xfrm>
                  <a:off x="2520231" y="6040413"/>
                  <a:ext cx="1188793" cy="276999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2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</a:rPr>
                    <a:t>$2,410 - $2,988</a:t>
                  </a:r>
                </a:p>
              </p:txBody>
            </p:sp>
          </p:grpSp>
          <p:grpSp>
            <p:nvGrpSpPr>
              <p:cNvPr id="13" name="Group 12">
                <a:extLst>
                  <a:ext uri="{FF2B5EF4-FFF2-40B4-BE49-F238E27FC236}">
                    <a16:creationId xmlns:a16="http://schemas.microsoft.com/office/drawing/2014/main" id="{17B0D7E1-B037-7A67-52CA-4D039C8F99D5}"/>
                  </a:ext>
                </a:extLst>
              </p:cNvPr>
              <p:cNvGrpSpPr/>
              <p:nvPr/>
            </p:nvGrpSpPr>
            <p:grpSpPr>
              <a:xfrm>
                <a:off x="7843650" y="5917580"/>
                <a:ext cx="1073336" cy="276999"/>
                <a:chOff x="2398047" y="6026910"/>
                <a:chExt cx="1073336" cy="276999"/>
              </a:xfrm>
            </p:grpSpPr>
            <p:sp>
              <p:nvSpPr>
                <p:cNvPr id="14" name="TextBox 13">
                  <a:extLst>
                    <a:ext uri="{FF2B5EF4-FFF2-40B4-BE49-F238E27FC236}">
                      <a16:creationId xmlns:a16="http://schemas.microsoft.com/office/drawing/2014/main" id="{D400AD08-69D2-8153-7ED3-161176D3F58C}"/>
                    </a:ext>
                  </a:extLst>
                </p:cNvPr>
                <p:cNvSpPr txBox="1"/>
                <p:nvPr/>
              </p:nvSpPr>
              <p:spPr>
                <a:xfrm>
                  <a:off x="2398047" y="6083929"/>
                  <a:ext cx="163469" cy="181069"/>
                </a:xfrm>
                <a:prstGeom prst="rect">
                  <a:avLst/>
                </a:prstGeom>
                <a:solidFill>
                  <a:srgbClr val="00B050"/>
                </a:solidFill>
              </p:spPr>
              <p:txBody>
                <a:bodyPr wrap="square" rtlCol="0">
                  <a:spAutoFit/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</a:endParaRPr>
                </a:p>
              </p:txBody>
            </p:sp>
            <p:sp>
              <p:nvSpPr>
                <p:cNvPr id="15" name="TextBox 14">
                  <a:extLst>
                    <a:ext uri="{FF2B5EF4-FFF2-40B4-BE49-F238E27FC236}">
                      <a16:creationId xmlns:a16="http://schemas.microsoft.com/office/drawing/2014/main" id="{C1AE0D89-06CA-2495-0255-834CCBA67225}"/>
                    </a:ext>
                  </a:extLst>
                </p:cNvPr>
                <p:cNvSpPr txBox="1"/>
                <p:nvPr/>
              </p:nvSpPr>
              <p:spPr>
                <a:xfrm>
                  <a:off x="2531461" y="6026910"/>
                  <a:ext cx="939922" cy="276999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2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</a:rPr>
                    <a:t>&lt;$2,409 </a:t>
                  </a:r>
                </a:p>
              </p:txBody>
            </p:sp>
          </p:grpSp>
        </p:grpSp>
      </p:grpSp>
      <p:sp>
        <p:nvSpPr>
          <p:cNvPr id="154" name="TextBox 153">
            <a:extLst>
              <a:ext uri="{FF2B5EF4-FFF2-40B4-BE49-F238E27FC236}">
                <a16:creationId xmlns:a16="http://schemas.microsoft.com/office/drawing/2014/main" id="{2ADAA9BD-1581-0CF5-3B3A-1A09AA5B676D}"/>
              </a:ext>
            </a:extLst>
          </p:cNvPr>
          <p:cNvSpPr txBox="1"/>
          <p:nvPr/>
        </p:nvSpPr>
        <p:spPr>
          <a:xfrm>
            <a:off x="6781800" y="5930237"/>
            <a:ext cx="284732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E29A09"/>
              </a:buClr>
              <a:buSzTx/>
              <a:buFont typeface="Arial"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ource: Kaiser Family Foundation State Health Facts</a:t>
            </a:r>
          </a:p>
        </p:txBody>
      </p:sp>
      <p:graphicFrame>
        <p:nvGraphicFramePr>
          <p:cNvPr id="155" name="Table 154">
            <a:extLst>
              <a:ext uri="{FF2B5EF4-FFF2-40B4-BE49-F238E27FC236}">
                <a16:creationId xmlns:a16="http://schemas.microsoft.com/office/drawing/2014/main" id="{5AC37075-79C5-E0A9-152B-731EFE5FC59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18423304"/>
              </p:ext>
            </p:extLst>
          </p:nvPr>
        </p:nvGraphicFramePr>
        <p:xfrm>
          <a:off x="9517352" y="4225441"/>
          <a:ext cx="1074448" cy="1920240"/>
        </p:xfrm>
        <a:graphic>
          <a:graphicData uri="http://schemas.openxmlformats.org/drawingml/2006/table">
            <a:tbl>
              <a:tblPr firstRow="1" bandRow="1"/>
              <a:tblGrid>
                <a:gridCol w="455064">
                  <a:extLst>
                    <a:ext uri="{9D8B030D-6E8A-4147-A177-3AD203B41FA5}">
                      <a16:colId xmlns:a16="http://schemas.microsoft.com/office/drawing/2014/main" val="2194076565"/>
                    </a:ext>
                  </a:extLst>
                </a:gridCol>
                <a:gridCol w="619384">
                  <a:extLst>
                    <a:ext uri="{9D8B030D-6E8A-4147-A177-3AD203B41FA5}">
                      <a16:colId xmlns:a16="http://schemas.microsoft.com/office/drawing/2014/main" val="695338215"/>
                    </a:ext>
                  </a:extLst>
                </a:gridCol>
              </a:tblGrid>
              <a:tr h="242739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r>
                        <a:rPr lang="en-US" sz="1200" dirty="0"/>
                        <a:t>U.S.</a:t>
                      </a:r>
                    </a:p>
                  </a:txBody>
                  <a:tcPr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r>
                        <a:rPr lang="en-US" sz="1200" dirty="0"/>
                        <a:t>$3,025</a:t>
                      </a:r>
                    </a:p>
                  </a:txBody>
                  <a:tcPr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0370235"/>
                  </a:ext>
                </a:extLst>
              </a:tr>
              <a:tr h="242739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r>
                        <a:rPr lang="en-US" sz="1200" dirty="0"/>
                        <a:t>WV</a:t>
                      </a:r>
                    </a:p>
                  </a:txBody>
                  <a:tcPr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1C25E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r>
                        <a:rPr lang="en-US" sz="1200" dirty="0"/>
                        <a:t>$2,240</a:t>
                      </a:r>
                    </a:p>
                  </a:txBody>
                  <a:tcPr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1C25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1334907"/>
                  </a:ext>
                </a:extLst>
              </a:tr>
              <a:tr h="242739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r>
                        <a:rPr lang="en-US" sz="1200" dirty="0"/>
                        <a:t>VA</a:t>
                      </a:r>
                    </a:p>
                  </a:txBody>
                  <a:tcPr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r>
                        <a:rPr lang="en-US" sz="1200" dirty="0"/>
                        <a:t>$2,612</a:t>
                      </a:r>
                    </a:p>
                  </a:txBody>
                  <a:tcPr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52777743"/>
                  </a:ext>
                </a:extLst>
              </a:tr>
              <a:tr h="242739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r>
                        <a:rPr lang="en-US" sz="1200" dirty="0"/>
                        <a:t>KY</a:t>
                      </a:r>
                    </a:p>
                  </a:txBody>
                  <a:tcPr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r>
                        <a:rPr lang="en-US" sz="1200" dirty="0"/>
                        <a:t>$2,871</a:t>
                      </a:r>
                    </a:p>
                  </a:txBody>
                  <a:tcPr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03777148"/>
                  </a:ext>
                </a:extLst>
              </a:tr>
              <a:tr h="242739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r>
                        <a:rPr lang="en-US" sz="1200" dirty="0"/>
                        <a:t>PA</a:t>
                      </a:r>
                    </a:p>
                  </a:txBody>
                  <a:tcPr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r>
                        <a:rPr lang="en-US" sz="1200" dirty="0"/>
                        <a:t>$2,989</a:t>
                      </a:r>
                    </a:p>
                  </a:txBody>
                  <a:tcPr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63028889"/>
                  </a:ext>
                </a:extLst>
              </a:tr>
              <a:tr h="242739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r>
                        <a:rPr lang="en-US" sz="1200" dirty="0"/>
                        <a:t>OH</a:t>
                      </a:r>
                    </a:p>
                  </a:txBody>
                  <a:tcPr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r>
                        <a:rPr lang="en-US" sz="1200" dirty="0"/>
                        <a:t>$3,392</a:t>
                      </a:r>
                    </a:p>
                  </a:txBody>
                  <a:tcPr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42183961"/>
                  </a:ext>
                </a:extLst>
              </a:tr>
              <a:tr h="242739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r>
                        <a:rPr lang="en-US" sz="1200" dirty="0"/>
                        <a:t>MD</a:t>
                      </a:r>
                    </a:p>
                  </a:txBody>
                  <a:tcPr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r>
                        <a:rPr lang="en-US" sz="1200" dirty="0"/>
                        <a:t>$3,609</a:t>
                      </a:r>
                    </a:p>
                  </a:txBody>
                  <a:tcPr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5296529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37997177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395F673-A10C-2C2D-2CA8-AAB92B7A1EA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937084"/>
          </a:xfrm>
        </p:spPr>
        <p:txBody>
          <a:bodyPr/>
          <a:lstStyle/>
          <a:p>
            <a:r>
              <a:rPr lang="en-US" dirty="0"/>
              <a:t>WV Payer Mix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E23C2EA-170C-34AF-62BA-A1F6C81ECE7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3FBA54-5C1B-D348-9A99-18A91FDE7B7F}" type="slidenum">
              <a:rPr lang="en-US" smtClean="0"/>
              <a:t>24</a:t>
            </a:fld>
            <a:endParaRPr lang="en-US" dirty="0"/>
          </a:p>
        </p:txBody>
      </p:sp>
      <p:graphicFrame>
        <p:nvGraphicFramePr>
          <p:cNvPr id="5" name="Content Placeholder 11">
            <a:extLst>
              <a:ext uri="{FF2B5EF4-FFF2-40B4-BE49-F238E27FC236}">
                <a16:creationId xmlns:a16="http://schemas.microsoft.com/office/drawing/2014/main" id="{4064F8FA-C64B-E811-5082-FD271C1E89DC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866645277"/>
              </p:ext>
            </p:extLst>
          </p:nvPr>
        </p:nvGraphicFramePr>
        <p:xfrm>
          <a:off x="609600" y="1897269"/>
          <a:ext cx="4495801" cy="36655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6" name="TextBox 5">
            <a:extLst>
              <a:ext uri="{FF2B5EF4-FFF2-40B4-BE49-F238E27FC236}">
                <a16:creationId xmlns:a16="http://schemas.microsoft.com/office/drawing/2014/main" id="{5BB8F6FD-9AC5-22E5-DA8A-E7A277FDA4D9}"/>
              </a:ext>
            </a:extLst>
          </p:cNvPr>
          <p:cNvSpPr txBox="1"/>
          <p:nvPr/>
        </p:nvSpPr>
        <p:spPr>
          <a:xfrm>
            <a:off x="990600" y="1211722"/>
            <a:ext cx="4092737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400">
              <a:defRPr sz="1862" b="0" i="0" u="none" strike="noStrike" kern="1200" spc="0" baseline="0">
                <a:solidFill>
                  <a:prstClr val="black">
                    <a:lumMod val="65000"/>
                    <a:lumOff val="35000"/>
                  </a:prstClr>
                </a:solidFill>
                <a:latin typeface="+mn-lt"/>
                <a:ea typeface="+mn-ea"/>
                <a:cs typeface="+mn-cs"/>
              </a:defRPr>
            </a:pPr>
            <a:r>
              <a:rPr lang="en-US" sz="2200" dirty="0">
                <a:solidFill>
                  <a:prstClr val="black">
                    <a:lumMod val="65000"/>
                    <a:lumOff val="35000"/>
                  </a:prstClr>
                </a:solidFill>
                <a:latin typeface="Calibri" panose="020F0502020204030204"/>
              </a:rPr>
              <a:t>U.S. Hospital </a:t>
            </a:r>
          </a:p>
          <a:p>
            <a:pPr algn="ctr" defTabSz="914400">
              <a:defRPr sz="1862" b="0" i="0" u="none" strike="noStrike" kern="1200" spc="0" baseline="0">
                <a:solidFill>
                  <a:prstClr val="black">
                    <a:lumMod val="65000"/>
                    <a:lumOff val="35000"/>
                  </a:prstClr>
                </a:solidFill>
                <a:latin typeface="+mn-lt"/>
                <a:ea typeface="+mn-ea"/>
                <a:cs typeface="+mn-cs"/>
              </a:defRPr>
            </a:pPr>
            <a:r>
              <a:rPr lang="en-US" sz="2200" dirty="0">
                <a:solidFill>
                  <a:prstClr val="black">
                    <a:lumMod val="65000"/>
                    <a:lumOff val="35000"/>
                  </a:prstClr>
                </a:solidFill>
                <a:latin typeface="Calibri" panose="020F0502020204030204"/>
              </a:rPr>
              <a:t>Revenue by Source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EABC498A-1BEF-ED39-9E97-6D091E10E50C}"/>
              </a:ext>
            </a:extLst>
          </p:cNvPr>
          <p:cNvSpPr txBox="1"/>
          <p:nvPr/>
        </p:nvSpPr>
        <p:spPr>
          <a:xfrm>
            <a:off x="800099" y="5793122"/>
            <a:ext cx="339090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400">
              <a:defRPr/>
            </a:pPr>
            <a:r>
              <a:rPr lang="en-US" sz="800" dirty="0">
                <a:solidFill>
                  <a:prstClr val="black"/>
                </a:solidFill>
                <a:latin typeface="Calibri" panose="020F0502020204030204"/>
              </a:rPr>
              <a:t>Source: 	National Health Care Expenditures, 2020</a:t>
            </a:r>
          </a:p>
          <a:p>
            <a:pPr defTabSz="914400">
              <a:defRPr/>
            </a:pPr>
            <a:r>
              <a:rPr lang="en-US" sz="800" dirty="0">
                <a:solidFill>
                  <a:prstClr val="black"/>
                </a:solidFill>
                <a:latin typeface="Calibri" panose="020F0502020204030204"/>
              </a:rPr>
              <a:t>	Centers for Medicare and Medicaid Services</a:t>
            </a:r>
          </a:p>
        </p:txBody>
      </p:sp>
      <p:graphicFrame>
        <p:nvGraphicFramePr>
          <p:cNvPr id="9" name="Content Placeholder 11">
            <a:extLst>
              <a:ext uri="{FF2B5EF4-FFF2-40B4-BE49-F238E27FC236}">
                <a16:creationId xmlns:a16="http://schemas.microsoft.com/office/drawing/2014/main" id="{82E23AFE-E241-1307-A676-82774E6CA036}"/>
              </a:ext>
            </a:extLst>
          </p:cNvPr>
          <p:cNvGraphicFramePr>
            <a:graphicFrameLocks/>
          </p:cNvGraphicFramePr>
          <p:nvPr/>
        </p:nvGraphicFramePr>
        <p:xfrm>
          <a:off x="6208413" y="1833576"/>
          <a:ext cx="4486789" cy="37294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AF949CFF-5FBC-12A1-CDAC-70A53F861CE0}"/>
              </a:ext>
            </a:extLst>
          </p:cNvPr>
          <p:cNvSpPr txBox="1"/>
          <p:nvPr/>
        </p:nvSpPr>
        <p:spPr>
          <a:xfrm>
            <a:off x="6366073" y="1295012"/>
            <a:ext cx="4092737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 defTabSz="914400">
              <a:defRPr sz="1862" b="0" i="0" u="none" strike="noStrike" kern="1200" spc="0" baseline="0">
                <a:solidFill>
                  <a:prstClr val="black">
                    <a:lumMod val="65000"/>
                    <a:lumOff val="35000"/>
                  </a:prstClr>
                </a:solidFill>
                <a:latin typeface="+mn-lt"/>
                <a:ea typeface="+mn-ea"/>
                <a:cs typeface="+mn-cs"/>
              </a:defRPr>
            </a:pPr>
            <a:r>
              <a:rPr lang="en-US" sz="2000" dirty="0">
                <a:solidFill>
                  <a:prstClr val="black">
                    <a:lumMod val="65000"/>
                    <a:lumOff val="35000"/>
                  </a:prstClr>
                </a:solidFill>
                <a:latin typeface="Calibri" panose="020F0502020204030204"/>
              </a:rPr>
              <a:t>West Virginia Hospitals </a:t>
            </a:r>
          </a:p>
          <a:p>
            <a:pPr lvl="0" algn="ctr" defTabSz="914400">
              <a:defRPr sz="1862" b="0" i="0" u="none" strike="noStrike" kern="1200" spc="0" baseline="0">
                <a:solidFill>
                  <a:prstClr val="black">
                    <a:lumMod val="65000"/>
                    <a:lumOff val="35000"/>
                  </a:prstClr>
                </a:solidFill>
                <a:latin typeface="+mn-lt"/>
                <a:ea typeface="+mn-ea"/>
                <a:cs typeface="+mn-cs"/>
              </a:defRPr>
            </a:pPr>
            <a:r>
              <a:rPr lang="en-US" sz="2000" dirty="0">
                <a:solidFill>
                  <a:prstClr val="black">
                    <a:lumMod val="65000"/>
                    <a:lumOff val="35000"/>
                  </a:prstClr>
                </a:solidFill>
                <a:latin typeface="Calibri" panose="020F0502020204030204"/>
              </a:rPr>
              <a:t>Revenue by Source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8216A35D-D3EE-1C86-A9D2-13775DAA05DA}"/>
              </a:ext>
            </a:extLst>
          </p:cNvPr>
          <p:cNvSpPr txBox="1"/>
          <p:nvPr/>
        </p:nvSpPr>
        <p:spPr>
          <a:xfrm>
            <a:off x="6808571" y="5822159"/>
            <a:ext cx="3294434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ource: 	Medicare Cost Report</a:t>
            </a:r>
          </a:p>
        </p:txBody>
      </p:sp>
    </p:spTree>
    <p:extLst>
      <p:ext uri="{BB962C8B-B14F-4D97-AF65-F5344CB8AC3E}">
        <p14:creationId xmlns:p14="http://schemas.microsoft.com/office/powerpoint/2010/main" val="2863991271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C373684-9745-6AC5-056B-4DC7621B1CB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26893161-5952-3B71-8C9D-D9979C50ED7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257300" y="1676400"/>
            <a:ext cx="9677400" cy="2822572"/>
          </a:xfrm>
        </p:spPr>
        <p:txBody>
          <a:bodyPr>
            <a:normAutofit/>
          </a:bodyPr>
          <a:lstStyle/>
          <a:p>
            <a:r>
              <a:rPr lang="en-US" sz="5400" b="1" dirty="0">
                <a:solidFill>
                  <a:srgbClr val="002060"/>
                </a:solidFill>
              </a:rPr>
              <a:t>WVU Medicine</a:t>
            </a:r>
            <a:br>
              <a:rPr lang="en-US" sz="5400" b="1" dirty="0">
                <a:solidFill>
                  <a:srgbClr val="002060"/>
                </a:solidFill>
              </a:rPr>
            </a:br>
            <a:r>
              <a:rPr lang="en-US" sz="5400" b="1" dirty="0">
                <a:solidFill>
                  <a:srgbClr val="002060"/>
                </a:solidFill>
              </a:rPr>
              <a:t>Redefining Rural Health Car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3731F71-7EFB-24C9-29F5-4CD8EED8DE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53200"/>
            <a:ext cx="711200" cy="365125"/>
          </a:xfrm>
        </p:spPr>
        <p:txBody>
          <a:bodyPr/>
          <a:lstStyle/>
          <a:p>
            <a:fld id="{4A3FBA54-5C1B-D348-9A99-18A91FDE7B7F}" type="slidenum">
              <a:rPr lang="en-US" smtClean="0"/>
              <a:t>2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87086106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44664FA-69FD-EC0B-F732-9A1F83368F2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68437AE9-9CDC-C5AF-AA3E-0DA8E3F4B3B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057403" y="1129648"/>
            <a:ext cx="3733799" cy="4737755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4E2DC49A-92F5-1369-6D67-7DF546DB38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81200" y="69522"/>
            <a:ext cx="8229600" cy="990600"/>
          </a:xfrm>
        </p:spPr>
        <p:txBody>
          <a:bodyPr>
            <a:normAutofit/>
          </a:bodyPr>
          <a:lstStyle/>
          <a:p>
            <a:r>
              <a:rPr lang="en-US" sz="3600" b="1" dirty="0">
                <a:solidFill>
                  <a:srgbClr val="002060"/>
                </a:solidFill>
              </a:rPr>
              <a:t>West Virginia is Rugged Rural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5C5A370-1C2A-7804-C93E-B85DA45C320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658600" y="6492875"/>
            <a:ext cx="533400" cy="365125"/>
          </a:xfrm>
        </p:spPr>
        <p:txBody>
          <a:bodyPr/>
          <a:lstStyle/>
          <a:p>
            <a:pPr>
              <a:defRPr/>
            </a:pPr>
            <a:fld id="{4A3FBA54-5C1B-D348-9A99-18A91FDE7B7F}" type="slidenum">
              <a:rPr lang="en-US">
                <a:latin typeface="Arial"/>
              </a:rPr>
              <a:pPr>
                <a:defRPr/>
              </a:pPr>
              <a:t>26</a:t>
            </a:fld>
            <a:endParaRPr lang="en-US" dirty="0">
              <a:latin typeface="Arial"/>
            </a:endParaRPr>
          </a:p>
        </p:txBody>
      </p:sp>
      <p:sp>
        <p:nvSpPr>
          <p:cNvPr id="13" name="Title 3">
            <a:extLst>
              <a:ext uri="{FF2B5EF4-FFF2-40B4-BE49-F238E27FC236}">
                <a16:creationId xmlns:a16="http://schemas.microsoft.com/office/drawing/2014/main" id="{5211BEA3-637F-1D3E-302C-92D142558FFA}"/>
              </a:ext>
            </a:extLst>
          </p:cNvPr>
          <p:cNvSpPr txBox="1">
            <a:spLocks/>
          </p:cNvSpPr>
          <p:nvPr/>
        </p:nvSpPr>
        <p:spPr>
          <a:xfrm>
            <a:off x="6058886" y="1375193"/>
            <a:ext cx="4038599" cy="5034487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000" u="none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sz="2000" dirty="0">
                <a:solidFill>
                  <a:srgbClr val="1B1B1B"/>
                </a:solidFill>
                <a:latin typeface="Source Sans Pro Web"/>
              </a:rPr>
              <a:t>Census tracts in </a:t>
            </a:r>
            <a:r>
              <a:rPr lang="en-US" sz="2000" b="1" dirty="0">
                <a:solidFill>
                  <a:srgbClr val="1B1B1B"/>
                </a:solidFill>
                <a:latin typeface="Source Sans Pro Web"/>
              </a:rPr>
              <a:t>Category 6 </a:t>
            </a:r>
            <a:r>
              <a:rPr lang="en-US" sz="2000" dirty="0">
                <a:solidFill>
                  <a:srgbClr val="1B1B1B"/>
                </a:solidFill>
                <a:latin typeface="Source Sans Pro Web"/>
              </a:rPr>
              <a:t>(the highest category of ruggedness) are more numerous in </a:t>
            </a:r>
            <a:r>
              <a:rPr lang="en-US" sz="2000" b="1" dirty="0">
                <a:solidFill>
                  <a:srgbClr val="1B1B1B"/>
                </a:solidFill>
                <a:latin typeface="Source Sans Pro Web"/>
              </a:rPr>
              <a:t>West Virginia</a:t>
            </a:r>
            <a:r>
              <a:rPr lang="en-US" sz="2000" dirty="0">
                <a:solidFill>
                  <a:srgbClr val="1B1B1B"/>
                </a:solidFill>
                <a:latin typeface="Source Sans Pro Web"/>
              </a:rPr>
              <a:t>, Kentucky, and North Carolina. This reflects the unique landscape of southern Appalachia, where dissected plateaus and the ridge and valley terrain restrict road travel. </a:t>
            </a:r>
          </a:p>
          <a:p>
            <a:pPr algn="l"/>
            <a:endParaRPr lang="en-US" sz="2400" dirty="0">
              <a:solidFill>
                <a:srgbClr val="1B1B1B"/>
              </a:solidFill>
              <a:latin typeface="Source Sans Pro Web"/>
            </a:endParaRPr>
          </a:p>
          <a:p>
            <a:pPr algn="l"/>
            <a:br>
              <a:rPr lang="en-US" sz="1100" dirty="0">
                <a:solidFill>
                  <a:srgbClr val="1B1B1B"/>
                </a:solidFill>
                <a:latin typeface="Source Sans Pro Web"/>
              </a:rPr>
            </a:br>
            <a:endParaRPr lang="en-US" sz="2400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1351FF92-5B86-8F2B-CF2A-DBC51064DF65}"/>
              </a:ext>
            </a:extLst>
          </p:cNvPr>
          <p:cNvSpPr txBox="1"/>
          <p:nvPr/>
        </p:nvSpPr>
        <p:spPr>
          <a:xfrm>
            <a:off x="6478968" y="6313387"/>
            <a:ext cx="342899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>
                <a:solidFill>
                  <a:srgbClr val="1B1B1B"/>
                </a:solidFill>
                <a:latin typeface="Source Sans Pro Web"/>
              </a:rPr>
              <a:t>Dobis, E.A., Cromartie, J., Williams, R. &amp; Reed, K. (2023). </a:t>
            </a:r>
            <a:r>
              <a:rPr lang="en-US" sz="800" i="1" u="sng" dirty="0">
                <a:solidFill>
                  <a:srgbClr val="005EA2"/>
                </a:solidFill>
                <a:latin typeface="Source Sans Pro Web"/>
                <a:hlinkClick r:id="rId3"/>
              </a:rPr>
              <a:t>Characterizing Rugged Terrain in the United States</a:t>
            </a:r>
            <a:r>
              <a:rPr lang="en-US" sz="800" dirty="0">
                <a:solidFill>
                  <a:srgbClr val="1B1B1B"/>
                </a:solidFill>
                <a:latin typeface="Source Sans Pro Web"/>
              </a:rPr>
              <a:t>. U.S. Department of Agriculture, Economic Research Service. ERR-322.</a:t>
            </a:r>
            <a:endParaRPr lang="en-US" sz="800" dirty="0"/>
          </a:p>
        </p:txBody>
      </p:sp>
    </p:spTree>
    <p:extLst>
      <p:ext uri="{BB962C8B-B14F-4D97-AF65-F5344CB8AC3E}">
        <p14:creationId xmlns:p14="http://schemas.microsoft.com/office/powerpoint/2010/main" val="428163935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81F1618-3E3D-3BB1-6103-ACBBF018999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>
            <a:extLst>
              <a:ext uri="{FF2B5EF4-FFF2-40B4-BE49-F238E27FC236}">
                <a16:creationId xmlns:a16="http://schemas.microsoft.com/office/drawing/2014/main" id="{AA621D71-88C5-0197-322B-280C881AE705}"/>
              </a:ext>
            </a:extLst>
          </p:cNvPr>
          <p:cNvSpPr txBox="1"/>
          <p:nvPr/>
        </p:nvSpPr>
        <p:spPr>
          <a:xfrm>
            <a:off x="381000" y="256329"/>
            <a:ext cx="1129342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457200">
              <a:spcBef>
                <a:spcPct val="0"/>
              </a:spcBef>
            </a:pPr>
            <a:r>
              <a:rPr lang="en-US" sz="3600" b="1" dirty="0">
                <a:solidFill>
                  <a:srgbClr val="002060"/>
                </a:solidFill>
                <a:latin typeface="+mj-lt"/>
                <a:ea typeface="+mj-ea"/>
                <a:cs typeface="+mj-cs"/>
              </a:rPr>
              <a:t>Health Disparities Amongst our Patient Population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A4C06E4-41CD-6F13-3890-3C0AF12A651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630320" y="6449305"/>
            <a:ext cx="533400" cy="365125"/>
          </a:xfrm>
        </p:spPr>
        <p:txBody>
          <a:bodyPr/>
          <a:lstStyle/>
          <a:p>
            <a:pPr>
              <a:defRPr/>
            </a:pPr>
            <a:fld id="{4A3FBA54-5C1B-D348-9A99-18A91FDE7B7F}" type="slidenum">
              <a:rPr lang="en-US">
                <a:solidFill>
                  <a:schemeClr val="bg1"/>
                </a:solidFill>
                <a:latin typeface="Arial"/>
              </a:rPr>
              <a:pPr>
                <a:defRPr/>
              </a:pPr>
              <a:t>27</a:t>
            </a:fld>
            <a:endParaRPr lang="en-US" dirty="0">
              <a:solidFill>
                <a:schemeClr val="bg1"/>
              </a:solidFill>
              <a:latin typeface="Arial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EDA79CBB-C078-F23C-617A-E708FBC0CF7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114803" y="265763"/>
            <a:ext cx="6797629" cy="5133277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2CA2D3F3-C100-9D4B-D38E-E765D61C7D0C}"/>
              </a:ext>
            </a:extLst>
          </p:cNvPr>
          <p:cNvSpPr txBox="1"/>
          <p:nvPr/>
        </p:nvSpPr>
        <p:spPr>
          <a:xfrm>
            <a:off x="5029200" y="6583598"/>
            <a:ext cx="4785055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/>
            <a:r>
              <a:rPr lang="en-US" sz="900" dirty="0"/>
              <a:t>1. https://www.cdc.gov/nchs/pressroom/stats_of_the_states.htm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D0EBCC70-B37F-B05B-93A8-77E4ED8FE733}"/>
              </a:ext>
            </a:extLst>
          </p:cNvPr>
          <p:cNvSpPr txBox="1"/>
          <p:nvPr/>
        </p:nvSpPr>
        <p:spPr>
          <a:xfrm>
            <a:off x="1905003" y="1647458"/>
            <a:ext cx="4785055" cy="2369880"/>
          </a:xfrm>
          <a:prstGeom prst="rect">
            <a:avLst/>
          </a:prstGeom>
          <a:noFill/>
        </p:spPr>
        <p:txBody>
          <a:bodyPr wrap="square" lIns="0" tIns="91440" rIns="0" bIns="0" rtlCol="0">
            <a:spAutoFit/>
          </a:bodyPr>
          <a:lstStyle>
            <a:defPPr>
              <a:defRPr lang="en-US"/>
            </a:defPPr>
            <a:lvl1pPr lvl="0" algn="r" defTabSz="888978">
              <a:lnSpc>
                <a:spcPct val="90000"/>
              </a:lnSpc>
              <a:spcBef>
                <a:spcPct val="0"/>
              </a:spcBef>
              <a:spcAft>
                <a:spcPts val="267"/>
              </a:spcAft>
              <a:defRPr sz="1400" kern="0" spc="-30"/>
            </a:lvl1pPr>
          </a:lstStyle>
          <a:p>
            <a:pPr marL="342900" indent="-342900" algn="l">
              <a:lnSpc>
                <a:spcPct val="100000"/>
              </a:lnSpc>
              <a:spcAft>
                <a:spcPts val="1200"/>
              </a:spcAft>
              <a:buFont typeface="Arial" panose="020B0604020202020204" pitchFamily="34" charset="0"/>
              <a:buChar char="•"/>
              <a:defRPr/>
            </a:pPr>
            <a:r>
              <a:rPr lang="en-US" sz="2400" spc="0" dirty="0">
                <a:latin typeface="Arial" panose="020B0604020202020204" pitchFamily="34" charset="0"/>
                <a:cs typeface="Arial" panose="020B0604020202020204" pitchFamily="34" charset="0"/>
              </a:rPr>
              <a:t>Socio-economic Barriers</a:t>
            </a:r>
          </a:p>
          <a:p>
            <a:pPr marL="342900" indent="-342900" algn="l">
              <a:lnSpc>
                <a:spcPct val="100000"/>
              </a:lnSpc>
              <a:spcAft>
                <a:spcPts val="1200"/>
              </a:spcAft>
              <a:buFont typeface="Arial" panose="020B0604020202020204" pitchFamily="34" charset="0"/>
              <a:buChar char="•"/>
              <a:defRPr/>
            </a:pPr>
            <a:r>
              <a:rPr lang="en-US" sz="2400" spc="0" dirty="0">
                <a:latin typeface="Arial" panose="020B0604020202020204" pitchFamily="34" charset="0"/>
                <a:cs typeface="Arial" panose="020B0604020202020204" pitchFamily="34" charset="0"/>
              </a:rPr>
              <a:t>Geographic access to care</a:t>
            </a:r>
          </a:p>
          <a:p>
            <a:pPr marL="799992" lvl="1" indent="-342900">
              <a:spcAft>
                <a:spcPts val="1200"/>
              </a:spcAft>
              <a:buFont typeface="Wingdings" pitchFamily="2" charset="2"/>
              <a:buChar char="Ø"/>
              <a:defRPr/>
            </a:pPr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Access to surgical specialists</a:t>
            </a:r>
          </a:p>
          <a:p>
            <a:pPr marL="799992" lvl="1" indent="-342900">
              <a:spcAft>
                <a:spcPts val="1200"/>
              </a:spcAft>
              <a:buFont typeface="Wingdings" pitchFamily="2" charset="2"/>
              <a:buChar char="Ø"/>
              <a:defRPr/>
            </a:pPr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Poor medical funding </a:t>
            </a:r>
          </a:p>
          <a:p>
            <a:pPr marL="799992" lvl="1" indent="-342900">
              <a:spcAft>
                <a:spcPts val="1200"/>
              </a:spcAft>
              <a:buFont typeface="Wingdings" pitchFamily="2" charset="2"/>
              <a:buChar char="Ø"/>
              <a:defRPr/>
            </a:pPr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Outdated equipment</a:t>
            </a:r>
          </a:p>
        </p:txBody>
      </p:sp>
    </p:spTree>
    <p:extLst>
      <p:ext uri="{BB962C8B-B14F-4D97-AF65-F5344CB8AC3E}">
        <p14:creationId xmlns:p14="http://schemas.microsoft.com/office/powerpoint/2010/main" val="1332921072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9FA88B0-30A9-36BF-34A6-70BC2943EB1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map of the state of west virginia&#10;&#10;AI-generated content may be incorrect.">
            <a:extLst>
              <a:ext uri="{FF2B5EF4-FFF2-40B4-BE49-F238E27FC236}">
                <a16:creationId xmlns:a16="http://schemas.microsoft.com/office/drawing/2014/main" id="{D994E0D6-BF3C-F327-E490-1CFEE191F99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6862"/>
          <a:stretch>
            <a:fillRect/>
          </a:stretch>
        </p:blipFill>
        <p:spPr>
          <a:xfrm>
            <a:off x="2324100" y="514350"/>
            <a:ext cx="7543800" cy="5581650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EA1169B0-93EE-9AA9-C74B-EEEA13D120A7}"/>
              </a:ext>
            </a:extLst>
          </p:cNvPr>
          <p:cNvSpPr txBox="1"/>
          <p:nvPr/>
        </p:nvSpPr>
        <p:spPr>
          <a:xfrm>
            <a:off x="1524000" y="265757"/>
            <a:ext cx="89916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000" b="1" dirty="0">
                <a:solidFill>
                  <a:srgbClr val="002060"/>
                </a:solidFill>
                <a:latin typeface="+mj-lt"/>
                <a:ea typeface="+mj-ea"/>
                <a:cs typeface="+mj-cs"/>
              </a:rPr>
              <a:t>WVU Medicine Service Area – </a:t>
            </a:r>
            <a:r>
              <a:rPr lang="en-US" sz="3600" b="1" dirty="0">
                <a:solidFill>
                  <a:srgbClr val="FF0000"/>
                </a:solidFill>
              </a:rPr>
              <a:t>CAH’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6EF5DDE-9048-D23D-9E7E-05EB89D7CFC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630320" y="6492875"/>
            <a:ext cx="533400" cy="365125"/>
          </a:xfrm>
        </p:spPr>
        <p:txBody>
          <a:bodyPr/>
          <a:lstStyle/>
          <a:p>
            <a:pPr>
              <a:defRPr/>
            </a:pPr>
            <a:fld id="{4A3FBA54-5C1B-D348-9A99-18A91FDE7B7F}" type="slidenum">
              <a:rPr lang="en-US">
                <a:solidFill>
                  <a:schemeClr val="bg1"/>
                </a:solidFill>
                <a:latin typeface="Arial"/>
              </a:rPr>
              <a:pPr>
                <a:defRPr/>
              </a:pPr>
              <a:t>28</a:t>
            </a:fld>
            <a:endParaRPr lang="en-US" dirty="0">
              <a:solidFill>
                <a:schemeClr val="bg1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083435739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310CA36-60A0-02EF-B73F-8C46DF56462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6E4B98F0-133E-2DD2-04CF-68EBBB8FEEC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5194" y="858444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84" imgH="486" progId="TCLayout.ActiveDocument.1">
                  <p:embed/>
                </p:oleObj>
              </mc:Choice>
              <mc:Fallback>
                <p:oleObj name="think-cell Slide" r:id="rId4" imgW="484" imgH="4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E4B98F0-133E-2DD2-04CF-68EBBB8FEE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25194" y="858444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extBox 12">
            <a:extLst>
              <a:ext uri="{FF2B5EF4-FFF2-40B4-BE49-F238E27FC236}">
                <a16:creationId xmlns:a16="http://schemas.microsoft.com/office/drawing/2014/main" id="{8E7ABF59-7E22-7C49-0B37-6B8E22154F99}"/>
              </a:ext>
            </a:extLst>
          </p:cNvPr>
          <p:cNvSpPr txBox="1"/>
          <p:nvPr/>
        </p:nvSpPr>
        <p:spPr>
          <a:xfrm>
            <a:off x="1743456" y="2589458"/>
            <a:ext cx="8705088" cy="323146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en-US" sz="3200" kern="0" dirty="0"/>
              <a:t>To accelerate value and population health, we will be a clinically integrated system that offers full-spectrum health care, easy and convenient access, and a seamless end-to-end experience to patients and providers across the communities we serve.</a:t>
            </a:r>
            <a:endParaRPr lang="en-US" sz="3200" kern="100" dirty="0"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</p:txBody>
      </p:sp>
      <p:sp>
        <p:nvSpPr>
          <p:cNvPr id="28" name="Title 1">
            <a:extLst>
              <a:ext uri="{FF2B5EF4-FFF2-40B4-BE49-F238E27FC236}">
                <a16:creationId xmlns:a16="http://schemas.microsoft.com/office/drawing/2014/main" id="{514D6D0D-06BA-18EF-4D01-75008DF97B31}"/>
              </a:ext>
            </a:extLst>
          </p:cNvPr>
          <p:cNvSpPr txBox="1">
            <a:spLocks/>
          </p:cNvSpPr>
          <p:nvPr/>
        </p:nvSpPr>
        <p:spPr>
          <a:xfrm>
            <a:off x="36136" y="43484"/>
            <a:ext cx="9372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000" u="none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sz="4400" dirty="0">
                <a:solidFill>
                  <a:srgbClr val="002060"/>
                </a:solidFill>
              </a:rPr>
              <a:t>  </a:t>
            </a:r>
            <a:r>
              <a:rPr lang="en-US" sz="3600" b="1" dirty="0">
                <a:solidFill>
                  <a:srgbClr val="002060"/>
                </a:solidFill>
              </a:rPr>
              <a:t>Long-term Aspiration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F71ED508-10FD-5AB5-0B6D-C72C25B937C5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044027" y="1186484"/>
            <a:ext cx="4103946" cy="1402977"/>
          </a:xfrm>
          <a:prstGeom prst="rect">
            <a:avLst/>
          </a:prstGeom>
        </p:spPr>
      </p:pic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18DD8884-807E-C04F-93A3-8DFFC86E72F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30000" y="6492875"/>
            <a:ext cx="711200" cy="365125"/>
          </a:xfrm>
        </p:spPr>
        <p:txBody>
          <a:bodyPr/>
          <a:lstStyle/>
          <a:p>
            <a:fld id="{4A3FBA54-5C1B-D348-9A99-18A91FDE7B7F}" type="slidenum">
              <a:rPr lang="en-US" smtClean="0"/>
              <a:t>2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9487022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map of the west virginia hospital&#10;&#10;AI-generated content may be incorrect.">
            <a:extLst>
              <a:ext uri="{FF2B5EF4-FFF2-40B4-BE49-F238E27FC236}">
                <a16:creationId xmlns:a16="http://schemas.microsoft.com/office/drawing/2014/main" id="{D84CCE54-FE93-C8DB-2F34-69581B2B5FC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614"/>
          <a:stretch>
            <a:fillRect/>
          </a:stretch>
        </p:blipFill>
        <p:spPr>
          <a:xfrm>
            <a:off x="1257300" y="457200"/>
            <a:ext cx="9677400" cy="5714999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F66F1DD-1FC5-1711-1AA1-9164C9BCBD9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506200" y="6492875"/>
            <a:ext cx="533400" cy="365125"/>
          </a:xfrm>
        </p:spPr>
        <p:txBody>
          <a:bodyPr/>
          <a:lstStyle/>
          <a:p>
            <a:pPr>
              <a:defRPr/>
            </a:pPr>
            <a:fld id="{4A3FBA54-5C1B-D348-9A99-18A91FDE7B7F}" type="slidenum">
              <a:rPr lang="en-US">
                <a:solidFill>
                  <a:schemeClr val="bg1"/>
                </a:solidFill>
                <a:latin typeface="Arial"/>
              </a:rPr>
              <a:pPr>
                <a:defRPr/>
              </a:pPr>
              <a:t>3</a:t>
            </a:fld>
            <a:endParaRPr lang="en-US" dirty="0">
              <a:solidFill>
                <a:schemeClr val="bg1"/>
              </a:solidFill>
              <a:latin typeface="Arial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152400" y="210234"/>
            <a:ext cx="68580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600" b="1" dirty="0">
                <a:solidFill>
                  <a:srgbClr val="002060"/>
                </a:solidFill>
                <a:latin typeface="+mj-lt"/>
                <a:ea typeface="+mj-ea"/>
                <a:cs typeface="+mj-cs"/>
              </a:rPr>
              <a:t>WVU Medicine Service Area</a:t>
            </a:r>
          </a:p>
        </p:txBody>
      </p:sp>
    </p:spTree>
    <p:extLst>
      <p:ext uri="{BB962C8B-B14F-4D97-AF65-F5344CB8AC3E}">
        <p14:creationId xmlns:p14="http://schemas.microsoft.com/office/powerpoint/2010/main" val="2726642263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oup 8">
            <a:extLst>
              <a:ext uri="{FF2B5EF4-FFF2-40B4-BE49-F238E27FC236}">
                <a16:creationId xmlns:a16="http://schemas.microsoft.com/office/drawing/2014/main" id="{95A50707-FB68-4EC5-A15C-A27181CD5B51}"/>
              </a:ext>
            </a:extLst>
          </p:cNvPr>
          <p:cNvGrpSpPr/>
          <p:nvPr/>
        </p:nvGrpSpPr>
        <p:grpSpPr>
          <a:xfrm>
            <a:off x="3225592" y="3263707"/>
            <a:ext cx="5836766" cy="3504734"/>
            <a:chOff x="2852858" y="3624568"/>
            <a:chExt cx="6486289" cy="3891193"/>
          </a:xfrm>
        </p:grpSpPr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id="{58944DCF-CC76-4C61-854E-F449E2B582CD}"/>
                </a:ext>
              </a:extLst>
            </p:cNvPr>
            <p:cNvGrpSpPr/>
            <p:nvPr/>
          </p:nvGrpSpPr>
          <p:grpSpPr>
            <a:xfrm>
              <a:off x="2852858" y="3624568"/>
              <a:ext cx="6486289" cy="3891193"/>
              <a:chOff x="1588543" y="2499118"/>
              <a:chExt cx="8781118" cy="5267887"/>
            </a:xfrm>
          </p:grpSpPr>
          <p:sp>
            <p:nvSpPr>
              <p:cNvPr id="36" name="Freeform: Shape 35">
                <a:extLst>
                  <a:ext uri="{FF2B5EF4-FFF2-40B4-BE49-F238E27FC236}">
                    <a16:creationId xmlns:a16="http://schemas.microsoft.com/office/drawing/2014/main" id="{F31D2E0D-9691-4578-920F-9EA3BD5E3305}"/>
                  </a:ext>
                </a:extLst>
              </p:cNvPr>
              <p:cNvSpPr/>
              <p:nvPr/>
            </p:nvSpPr>
            <p:spPr>
              <a:xfrm rot="3266433" flipH="1">
                <a:off x="5410837" y="2041829"/>
                <a:ext cx="2747464" cy="3662042"/>
              </a:xfrm>
              <a:custGeom>
                <a:avLst/>
                <a:gdLst>
                  <a:gd name="connsiteX0" fmla="*/ 2746286 w 2747464"/>
                  <a:gd name="connsiteY0" fmla="*/ 1696252 h 3662042"/>
                  <a:gd name="connsiteX1" fmla="*/ 31351 w 2747464"/>
                  <a:gd name="connsiteY1" fmla="*/ 3687 h 3662042"/>
                  <a:gd name="connsiteX2" fmla="*/ 0 w 2747464"/>
                  <a:gd name="connsiteY2" fmla="*/ 0 h 3662042"/>
                  <a:gd name="connsiteX3" fmla="*/ 1 w 2747464"/>
                  <a:gd name="connsiteY3" fmla="*/ 3662042 h 3662042"/>
                  <a:gd name="connsiteX4" fmla="*/ 2747464 w 2747464"/>
                  <a:gd name="connsiteY4" fmla="*/ 1697991 h 3662042"/>
                  <a:gd name="connsiteX5" fmla="*/ 2746286 w 2747464"/>
                  <a:gd name="connsiteY5" fmla="*/ 1696252 h 36620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747464" h="3662042">
                    <a:moveTo>
                      <a:pt x="2746286" y="1696252"/>
                    </a:moveTo>
                    <a:cubicBezTo>
                      <a:pt x="2075002" y="757209"/>
                      <a:pt x="1086646" y="179157"/>
                      <a:pt x="31351" y="3687"/>
                    </a:cubicBezTo>
                    <a:lnTo>
                      <a:pt x="0" y="0"/>
                    </a:lnTo>
                    <a:lnTo>
                      <a:pt x="1" y="3662042"/>
                    </a:lnTo>
                    <a:lnTo>
                      <a:pt x="2747464" y="1697991"/>
                    </a:lnTo>
                    <a:lnTo>
                      <a:pt x="2746286" y="1696252"/>
                    </a:lnTo>
                    <a:close/>
                  </a:path>
                </a:pathLst>
              </a:custGeom>
              <a:solidFill>
                <a:srgbClr val="76923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IN" dirty="0">
                  <a:solidFill>
                    <a:prstClr val="white"/>
                  </a:solidFill>
                  <a:latin typeface="Arial"/>
                </a:endParaRPr>
              </a:p>
            </p:txBody>
          </p:sp>
          <p:sp>
            <p:nvSpPr>
              <p:cNvPr id="37" name="Freeform: Shape 36">
                <a:extLst>
                  <a:ext uri="{FF2B5EF4-FFF2-40B4-BE49-F238E27FC236}">
                    <a16:creationId xmlns:a16="http://schemas.microsoft.com/office/drawing/2014/main" id="{1958C438-3D38-4A2E-890E-42BB44AF6F7B}"/>
                  </a:ext>
                </a:extLst>
              </p:cNvPr>
              <p:cNvSpPr/>
              <p:nvPr/>
            </p:nvSpPr>
            <p:spPr>
              <a:xfrm rot="3266433" flipH="1">
                <a:off x="3616483" y="2827602"/>
                <a:ext cx="3489095" cy="3123023"/>
              </a:xfrm>
              <a:custGeom>
                <a:avLst/>
                <a:gdLst>
                  <a:gd name="connsiteX0" fmla="*/ 2730607 w 3489095"/>
                  <a:gd name="connsiteY0" fmla="*/ 0 h 3123023"/>
                  <a:gd name="connsiteX1" fmla="*/ 0 w 3489095"/>
                  <a:gd name="connsiteY1" fmla="*/ 1952001 h 3123023"/>
                  <a:gd name="connsiteX2" fmla="*/ 3423959 w 3489095"/>
                  <a:gd name="connsiteY2" fmla="*/ 3123023 h 3123023"/>
                  <a:gd name="connsiteX3" fmla="*/ 3432158 w 3489095"/>
                  <a:gd name="connsiteY3" fmla="*/ 3085018 h 3123023"/>
                  <a:gd name="connsiteX4" fmla="*/ 2829905 w 3489095"/>
                  <a:gd name="connsiteY4" fmla="*/ 146601 h 3123023"/>
                  <a:gd name="connsiteX5" fmla="*/ 2730607 w 3489095"/>
                  <a:gd name="connsiteY5" fmla="*/ 0 h 31230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3489095" h="3123023">
                    <a:moveTo>
                      <a:pt x="2730607" y="0"/>
                    </a:moveTo>
                    <a:lnTo>
                      <a:pt x="0" y="1952001"/>
                    </a:lnTo>
                    <a:lnTo>
                      <a:pt x="3423959" y="3123023"/>
                    </a:lnTo>
                    <a:lnTo>
                      <a:pt x="3432158" y="3085018"/>
                    </a:lnTo>
                    <a:cubicBezTo>
                      <a:pt x="3596662" y="2095679"/>
                      <a:pt x="3407334" y="1047506"/>
                      <a:pt x="2829905" y="146601"/>
                    </a:cubicBezTo>
                    <a:lnTo>
                      <a:pt x="2730607" y="0"/>
                    </a:lnTo>
                    <a:close/>
                  </a:path>
                </a:pathLst>
              </a:custGeom>
              <a:solidFill>
                <a:srgbClr val="128A97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IN" dirty="0">
                  <a:solidFill>
                    <a:prstClr val="white"/>
                  </a:solidFill>
                  <a:latin typeface="Arial"/>
                </a:endParaRPr>
              </a:p>
            </p:txBody>
          </p:sp>
          <p:sp>
            <p:nvSpPr>
              <p:cNvPr id="38" name="Freeform: Shape 37">
                <a:extLst>
                  <a:ext uri="{FF2B5EF4-FFF2-40B4-BE49-F238E27FC236}">
                    <a16:creationId xmlns:a16="http://schemas.microsoft.com/office/drawing/2014/main" id="{1E0AB6ED-1FFA-4297-A8CF-41D280F226F6}"/>
                  </a:ext>
                </a:extLst>
              </p:cNvPr>
              <p:cNvSpPr/>
              <p:nvPr/>
            </p:nvSpPr>
            <p:spPr>
              <a:xfrm rot="3266433" flipH="1">
                <a:off x="6991012" y="4388355"/>
                <a:ext cx="3049224" cy="3708075"/>
              </a:xfrm>
              <a:custGeom>
                <a:avLst/>
                <a:gdLst>
                  <a:gd name="connsiteX0" fmla="*/ 3049223 w 3049224"/>
                  <a:gd name="connsiteY0" fmla="*/ 49017 h 3708075"/>
                  <a:gd name="connsiteX1" fmla="*/ 2718188 w 3049224"/>
                  <a:gd name="connsiteY1" fmla="*/ 10088 h 3708075"/>
                  <a:gd name="connsiteX2" fmla="*/ 0 w 3049224"/>
                  <a:gd name="connsiteY2" fmla="*/ 779863 h 3708075"/>
                  <a:gd name="connsiteX3" fmla="*/ 1783906 w 3049224"/>
                  <a:gd name="connsiteY3" fmla="*/ 3275326 h 3708075"/>
                  <a:gd name="connsiteX4" fmla="*/ 3049224 w 3049224"/>
                  <a:gd name="connsiteY4" fmla="*/ 3708075 h 3708075"/>
                  <a:gd name="connsiteX5" fmla="*/ 3049223 w 3049224"/>
                  <a:gd name="connsiteY5" fmla="*/ 49017 h 37080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3049224" h="3708075">
                    <a:moveTo>
                      <a:pt x="3049223" y="49017"/>
                    </a:moveTo>
                    <a:lnTo>
                      <a:pt x="2718188" y="10088"/>
                    </a:lnTo>
                    <a:cubicBezTo>
                      <a:pt x="1783582" y="-54814"/>
                      <a:pt x="821662" y="192490"/>
                      <a:pt x="0" y="779863"/>
                    </a:cubicBezTo>
                    <a:lnTo>
                      <a:pt x="1783906" y="3275326"/>
                    </a:lnTo>
                    <a:lnTo>
                      <a:pt x="3049224" y="3708075"/>
                    </a:lnTo>
                    <a:lnTo>
                      <a:pt x="3049223" y="49017"/>
                    </a:lnTo>
                    <a:close/>
                  </a:path>
                </a:pathLst>
              </a:custGeom>
              <a:solidFill>
                <a:srgbClr val="F58427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IN" dirty="0">
                  <a:solidFill>
                    <a:prstClr val="white"/>
                  </a:solidFill>
                  <a:latin typeface="Arial"/>
                </a:endParaRPr>
              </a:p>
            </p:txBody>
          </p:sp>
          <p:sp>
            <p:nvSpPr>
              <p:cNvPr id="39" name="Freeform: Shape 38">
                <a:extLst>
                  <a:ext uri="{FF2B5EF4-FFF2-40B4-BE49-F238E27FC236}">
                    <a16:creationId xmlns:a16="http://schemas.microsoft.com/office/drawing/2014/main" id="{13F0292F-F55F-409A-989C-5960654DABDF}"/>
                  </a:ext>
                </a:extLst>
              </p:cNvPr>
              <p:cNvSpPr/>
              <p:nvPr/>
            </p:nvSpPr>
            <p:spPr>
              <a:xfrm rot="3266433" flipH="1">
                <a:off x="1772969" y="3876134"/>
                <a:ext cx="3453366" cy="3822218"/>
              </a:xfrm>
              <a:custGeom>
                <a:avLst/>
                <a:gdLst>
                  <a:gd name="connsiteX0" fmla="*/ 3453366 w 3453366"/>
                  <a:gd name="connsiteY0" fmla="*/ 1180719 h 3822218"/>
                  <a:gd name="connsiteX1" fmla="*/ 1051 w 3453366"/>
                  <a:gd name="connsiteY1" fmla="*/ 0 h 3822218"/>
                  <a:gd name="connsiteX2" fmla="*/ 0 w 3453366"/>
                  <a:gd name="connsiteY2" fmla="*/ 751 h 3822218"/>
                  <a:gd name="connsiteX3" fmla="*/ 0 w 3453366"/>
                  <a:gd name="connsiteY3" fmla="*/ 1336914 h 3822218"/>
                  <a:gd name="connsiteX4" fmla="*/ 1776643 w 3453366"/>
                  <a:gd name="connsiteY4" fmla="*/ 3822218 h 3822218"/>
                  <a:gd name="connsiteX5" fmla="*/ 3384618 w 3453366"/>
                  <a:gd name="connsiteY5" fmla="*/ 1499392 h 3822218"/>
                  <a:gd name="connsiteX6" fmla="*/ 3453366 w 3453366"/>
                  <a:gd name="connsiteY6" fmla="*/ 1180719 h 38222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453366" h="3822218">
                    <a:moveTo>
                      <a:pt x="3453366" y="1180719"/>
                    </a:moveTo>
                    <a:lnTo>
                      <a:pt x="1051" y="0"/>
                    </a:lnTo>
                    <a:lnTo>
                      <a:pt x="0" y="751"/>
                    </a:lnTo>
                    <a:lnTo>
                      <a:pt x="0" y="1336914"/>
                    </a:lnTo>
                    <a:lnTo>
                      <a:pt x="1776643" y="3822218"/>
                    </a:lnTo>
                    <a:cubicBezTo>
                      <a:pt x="2598306" y="3234844"/>
                      <a:pt x="3143585" y="2404713"/>
                      <a:pt x="3384618" y="1499392"/>
                    </a:cubicBezTo>
                    <a:lnTo>
                      <a:pt x="3453366" y="1180719"/>
                    </a:lnTo>
                    <a:close/>
                  </a:path>
                </a:pathLst>
              </a:custGeom>
              <a:solidFill>
                <a:srgbClr val="548DD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IN" dirty="0">
                  <a:solidFill>
                    <a:prstClr val="white"/>
                  </a:solidFill>
                  <a:latin typeface="Arial"/>
                </a:endParaRPr>
              </a:p>
            </p:txBody>
          </p:sp>
        </p:grpSp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8F44CDF8-E22B-43C7-997F-F14263C9E5A9}"/>
                </a:ext>
              </a:extLst>
            </p:cNvPr>
            <p:cNvSpPr/>
            <p:nvPr/>
          </p:nvSpPr>
          <p:spPr>
            <a:xfrm>
              <a:off x="4114091" y="4772333"/>
              <a:ext cx="4147443" cy="2073719"/>
            </a:xfrm>
            <a:custGeom>
              <a:avLst/>
              <a:gdLst>
                <a:gd name="connsiteX0" fmla="*/ 1638172 w 3276344"/>
                <a:gd name="connsiteY0" fmla="*/ 0 h 1638171"/>
                <a:gd name="connsiteX1" fmla="*/ 3267886 w 3276344"/>
                <a:gd name="connsiteY1" fmla="*/ 1470678 h 1638171"/>
                <a:gd name="connsiteX2" fmla="*/ 3276344 w 3276344"/>
                <a:gd name="connsiteY2" fmla="*/ 1638171 h 1638171"/>
                <a:gd name="connsiteX3" fmla="*/ 0 w 3276344"/>
                <a:gd name="connsiteY3" fmla="*/ 1638171 h 1638171"/>
                <a:gd name="connsiteX4" fmla="*/ 8458 w 3276344"/>
                <a:gd name="connsiteY4" fmla="*/ 1470678 h 1638171"/>
                <a:gd name="connsiteX5" fmla="*/ 1638172 w 3276344"/>
                <a:gd name="connsiteY5" fmla="*/ 0 h 16381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276344" h="1638171">
                  <a:moveTo>
                    <a:pt x="1638172" y="0"/>
                  </a:moveTo>
                  <a:cubicBezTo>
                    <a:pt x="2486363" y="0"/>
                    <a:pt x="3183996" y="644620"/>
                    <a:pt x="3267886" y="1470678"/>
                  </a:cubicBezTo>
                  <a:lnTo>
                    <a:pt x="3276344" y="1638171"/>
                  </a:lnTo>
                  <a:lnTo>
                    <a:pt x="0" y="1638171"/>
                  </a:lnTo>
                  <a:lnTo>
                    <a:pt x="8458" y="1470678"/>
                  </a:lnTo>
                  <a:cubicBezTo>
                    <a:pt x="92349" y="644620"/>
                    <a:pt x="789981" y="0"/>
                    <a:pt x="1638172" y="0"/>
                  </a:cubicBezTo>
                  <a:close/>
                </a:path>
              </a:pathLst>
            </a:custGeom>
            <a:solidFill>
              <a:srgbClr val="FFFFFF">
                <a:alpha val="85098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defRPr/>
              </a:pPr>
              <a:endParaRPr lang="en-IN" dirty="0">
                <a:solidFill>
                  <a:prstClr val="white"/>
                </a:solidFill>
                <a:latin typeface="Arial"/>
              </a:endParaRPr>
            </a:p>
          </p:txBody>
        </p:sp>
      </p:grp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2B0DA0D-0290-D697-D07D-EAAA640A8EB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491304"/>
            <a:ext cx="711200" cy="365125"/>
          </a:xfrm>
        </p:spPr>
        <p:txBody>
          <a:bodyPr/>
          <a:lstStyle/>
          <a:p>
            <a:pPr>
              <a:defRPr/>
            </a:pPr>
            <a:fld id="{4A3FBA54-5C1B-D348-9A99-18A91FDE7B7F}" type="slidenum">
              <a:rPr lang="en-US">
                <a:latin typeface="Arial"/>
              </a:rPr>
              <a:pPr>
                <a:defRPr/>
              </a:pPr>
              <a:t>30</a:t>
            </a:fld>
            <a:endParaRPr lang="en-US" dirty="0">
              <a:latin typeface="Arial"/>
            </a:endParaRPr>
          </a:p>
        </p:txBody>
      </p:sp>
      <p:sp>
        <p:nvSpPr>
          <p:cNvPr id="82" name="Title 1">
            <a:extLst>
              <a:ext uri="{FF2B5EF4-FFF2-40B4-BE49-F238E27FC236}">
                <a16:creationId xmlns:a16="http://schemas.microsoft.com/office/drawing/2014/main" id="{08BC23F1-6246-9C12-5983-92205B193BF1}"/>
              </a:ext>
            </a:extLst>
          </p:cNvPr>
          <p:cNvSpPr txBox="1">
            <a:spLocks/>
          </p:cNvSpPr>
          <p:nvPr/>
        </p:nvSpPr>
        <p:spPr>
          <a:xfrm>
            <a:off x="-115735" y="8931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000" u="none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defRPr/>
            </a:pPr>
            <a:r>
              <a:rPr lang="en-US" sz="3600" b="1" dirty="0">
                <a:solidFill>
                  <a:srgbClr val="002060"/>
                </a:solidFill>
                <a:latin typeface="Arial"/>
              </a:rPr>
              <a:t>  </a:t>
            </a:r>
            <a:r>
              <a:rPr lang="en-US" sz="3600" b="1" dirty="0">
                <a:solidFill>
                  <a:srgbClr val="002060"/>
                </a:solidFill>
              </a:rPr>
              <a:t>Refreshed Core Strategies</a:t>
            </a:r>
          </a:p>
        </p:txBody>
      </p:sp>
      <p:grpSp>
        <p:nvGrpSpPr>
          <p:cNvPr id="85" name="Group 84">
            <a:extLst>
              <a:ext uri="{FF2B5EF4-FFF2-40B4-BE49-F238E27FC236}">
                <a16:creationId xmlns:a16="http://schemas.microsoft.com/office/drawing/2014/main" id="{3A4A73ED-C284-F7EC-D3D9-B5CEA3F2D51C}"/>
              </a:ext>
            </a:extLst>
          </p:cNvPr>
          <p:cNvGrpSpPr/>
          <p:nvPr/>
        </p:nvGrpSpPr>
        <p:grpSpPr>
          <a:xfrm>
            <a:off x="1676400" y="937736"/>
            <a:ext cx="9029944" cy="5196056"/>
            <a:chOff x="49958" y="948365"/>
            <a:chExt cx="9029944" cy="5196056"/>
          </a:xfrm>
        </p:grpSpPr>
        <p:grpSp>
          <p:nvGrpSpPr>
            <p:cNvPr id="81" name="Group 80">
              <a:extLst>
                <a:ext uri="{FF2B5EF4-FFF2-40B4-BE49-F238E27FC236}">
                  <a16:creationId xmlns:a16="http://schemas.microsoft.com/office/drawing/2014/main" id="{D980583A-C8F7-8946-4E2C-64F8BA31CFB4}"/>
                </a:ext>
              </a:extLst>
            </p:cNvPr>
            <p:cNvGrpSpPr/>
            <p:nvPr/>
          </p:nvGrpSpPr>
          <p:grpSpPr>
            <a:xfrm>
              <a:off x="49958" y="948365"/>
              <a:ext cx="9029944" cy="5196056"/>
              <a:chOff x="-88180" y="709818"/>
              <a:chExt cx="9228332" cy="5291402"/>
            </a:xfrm>
          </p:grpSpPr>
          <p:grpSp>
            <p:nvGrpSpPr>
              <p:cNvPr id="76" name="Group 75">
                <a:extLst>
                  <a:ext uri="{FF2B5EF4-FFF2-40B4-BE49-F238E27FC236}">
                    <a16:creationId xmlns:a16="http://schemas.microsoft.com/office/drawing/2014/main" id="{F96164E1-D8D2-12F3-E900-62289C05016B}"/>
                  </a:ext>
                </a:extLst>
              </p:cNvPr>
              <p:cNvGrpSpPr/>
              <p:nvPr/>
            </p:nvGrpSpPr>
            <p:grpSpPr>
              <a:xfrm>
                <a:off x="-88180" y="709818"/>
                <a:ext cx="9228332" cy="5291402"/>
                <a:chOff x="-301581" y="680744"/>
                <a:chExt cx="9228332" cy="5291402"/>
              </a:xfrm>
            </p:grpSpPr>
            <p:grpSp>
              <p:nvGrpSpPr>
                <p:cNvPr id="16" name="Group 15">
                  <a:extLst>
                    <a:ext uri="{FF2B5EF4-FFF2-40B4-BE49-F238E27FC236}">
                      <a16:creationId xmlns:a16="http://schemas.microsoft.com/office/drawing/2014/main" id="{33CAAAC1-753A-41A5-A21B-98395C59EDC3}"/>
                    </a:ext>
                  </a:extLst>
                </p:cNvPr>
                <p:cNvGrpSpPr/>
                <p:nvPr/>
              </p:nvGrpSpPr>
              <p:grpSpPr>
                <a:xfrm>
                  <a:off x="-301581" y="680744"/>
                  <a:ext cx="9228332" cy="5291402"/>
                  <a:chOff x="829552" y="757415"/>
                  <a:chExt cx="10457425" cy="5751813"/>
                </a:xfrm>
              </p:grpSpPr>
              <p:sp>
                <p:nvSpPr>
                  <p:cNvPr id="26" name="Freeform: Shape 25">
                    <a:extLst>
                      <a:ext uri="{FF2B5EF4-FFF2-40B4-BE49-F238E27FC236}">
                        <a16:creationId xmlns:a16="http://schemas.microsoft.com/office/drawing/2014/main" id="{5DCAC278-AFF9-494B-9591-7A0EB1E60CC3}"/>
                      </a:ext>
                    </a:extLst>
                  </p:cNvPr>
                  <p:cNvSpPr/>
                  <p:nvPr/>
                </p:nvSpPr>
                <p:spPr>
                  <a:xfrm rot="793078">
                    <a:off x="7206317" y="1977483"/>
                    <a:ext cx="357096" cy="357094"/>
                  </a:xfrm>
                  <a:custGeom>
                    <a:avLst/>
                    <a:gdLst>
                      <a:gd name="connsiteX0" fmla="*/ 243840 w 243840"/>
                      <a:gd name="connsiteY0" fmla="*/ 121920 h 243839"/>
                      <a:gd name="connsiteX1" fmla="*/ 121920 w 243840"/>
                      <a:gd name="connsiteY1" fmla="*/ 243840 h 243839"/>
                      <a:gd name="connsiteX2" fmla="*/ 0 w 243840"/>
                      <a:gd name="connsiteY2" fmla="*/ 121920 h 243839"/>
                      <a:gd name="connsiteX3" fmla="*/ 121920 w 243840"/>
                      <a:gd name="connsiteY3" fmla="*/ 0 h 243839"/>
                      <a:gd name="connsiteX4" fmla="*/ 243840 w 243840"/>
                      <a:gd name="connsiteY4" fmla="*/ 121920 h 24383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243840" h="243839">
                        <a:moveTo>
                          <a:pt x="243840" y="121920"/>
                        </a:moveTo>
                        <a:cubicBezTo>
                          <a:pt x="243840" y="189255"/>
                          <a:pt x="189255" y="243840"/>
                          <a:pt x="121920" y="243840"/>
                        </a:cubicBezTo>
                        <a:cubicBezTo>
                          <a:pt x="54585" y="243840"/>
                          <a:pt x="0" y="189255"/>
                          <a:pt x="0" y="121920"/>
                        </a:cubicBezTo>
                        <a:cubicBezTo>
                          <a:pt x="0" y="54585"/>
                          <a:pt x="54585" y="0"/>
                          <a:pt x="121920" y="0"/>
                        </a:cubicBezTo>
                        <a:cubicBezTo>
                          <a:pt x="189255" y="0"/>
                          <a:pt x="243840" y="54585"/>
                          <a:pt x="243840" y="121920"/>
                        </a:cubicBezTo>
                        <a:close/>
                      </a:path>
                    </a:pathLst>
                  </a:custGeom>
                  <a:noFill/>
                  <a:ln w="9525" cap="flat">
                    <a:solidFill>
                      <a:srgbClr val="76923C"/>
                    </a:solidFill>
                    <a:prstDash val="solid"/>
                    <a:miter/>
                  </a:ln>
                </p:spPr>
                <p:txBody>
                  <a:bodyPr rtlCol="0" anchor="ctr"/>
                  <a:lstStyle>
                    <a:defPPr>
                      <a:defRPr lang="en-US"/>
                    </a:defPPr>
                    <a:lvl1pPr marL="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457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914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371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8288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2860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743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200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657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>
                      <a:defRPr/>
                    </a:pPr>
                    <a:endParaRPr lang="en-US" dirty="0">
                      <a:solidFill>
                        <a:prstClr val="black"/>
                      </a:solidFill>
                      <a:latin typeface="Arial"/>
                    </a:endParaRPr>
                  </a:p>
                </p:txBody>
              </p:sp>
              <p:grpSp>
                <p:nvGrpSpPr>
                  <p:cNvPr id="31" name="Group 30">
                    <a:extLst>
                      <a:ext uri="{FF2B5EF4-FFF2-40B4-BE49-F238E27FC236}">
                        <a16:creationId xmlns:a16="http://schemas.microsoft.com/office/drawing/2014/main" id="{83A19477-A7E3-4762-B094-73FE055C6224}"/>
                      </a:ext>
                    </a:extLst>
                  </p:cNvPr>
                  <p:cNvGrpSpPr/>
                  <p:nvPr/>
                </p:nvGrpSpPr>
                <p:grpSpPr>
                  <a:xfrm>
                    <a:off x="3095903" y="1975513"/>
                    <a:ext cx="1807068" cy="2796886"/>
                    <a:chOff x="3095903" y="1657648"/>
                    <a:chExt cx="1807068" cy="2796886"/>
                  </a:xfrm>
                </p:grpSpPr>
                <p:sp>
                  <p:nvSpPr>
                    <p:cNvPr id="67" name="Freeform: Shape 66">
                      <a:extLst>
                        <a:ext uri="{FF2B5EF4-FFF2-40B4-BE49-F238E27FC236}">
                          <a16:creationId xmlns:a16="http://schemas.microsoft.com/office/drawing/2014/main" id="{62AE9EAD-FD76-4A03-99F4-E87A61F9A3F9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3287704" y="3397864"/>
                      <a:ext cx="188590" cy="1056670"/>
                    </a:xfrm>
                    <a:custGeom>
                      <a:avLst/>
                      <a:gdLst>
                        <a:gd name="connsiteX0" fmla="*/ 250031 w 250031"/>
                        <a:gd name="connsiteY0" fmla="*/ 1202436 h 1202435"/>
                        <a:gd name="connsiteX1" fmla="*/ 0 w 250031"/>
                        <a:gd name="connsiteY1" fmla="*/ 952310 h 1202435"/>
                        <a:gd name="connsiteX2" fmla="*/ 0 w 250031"/>
                        <a:gd name="connsiteY2" fmla="*/ 0 h 1202435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</a:cxnLst>
                      <a:rect l="l" t="t" r="r" b="b"/>
                      <a:pathLst>
                        <a:path w="250031" h="1202435">
                          <a:moveTo>
                            <a:pt x="250031" y="1202436"/>
                          </a:moveTo>
                          <a:lnTo>
                            <a:pt x="0" y="952310"/>
                          </a:lnTo>
                          <a:lnTo>
                            <a:pt x="0" y="0"/>
                          </a:lnTo>
                        </a:path>
                      </a:pathLst>
                    </a:custGeom>
                    <a:noFill/>
                    <a:ln w="9525" cap="flat">
                      <a:solidFill>
                        <a:srgbClr val="548DD4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pPr>
                        <a:defRPr/>
                      </a:pPr>
                      <a:endParaRPr lang="en-US" dirty="0">
                        <a:solidFill>
                          <a:prstClr val="black"/>
                        </a:solidFill>
                        <a:latin typeface="Arial"/>
                      </a:endParaRPr>
                    </a:p>
                  </p:txBody>
                </p:sp>
                <p:sp>
                  <p:nvSpPr>
                    <p:cNvPr id="68" name="Freeform: Shape 67">
                      <a:extLst>
                        <a:ext uri="{FF2B5EF4-FFF2-40B4-BE49-F238E27FC236}">
                          <a16:creationId xmlns:a16="http://schemas.microsoft.com/office/drawing/2014/main" id="{076C8AF4-9A14-4DD2-9C89-AEDC9D5E9D33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4656631" y="2009076"/>
                      <a:ext cx="246340" cy="1412758"/>
                    </a:xfrm>
                    <a:custGeom>
                      <a:avLst/>
                      <a:gdLst>
                        <a:gd name="connsiteX0" fmla="*/ 168211 w 168211"/>
                        <a:gd name="connsiteY0" fmla="*/ 964692 h 964691"/>
                        <a:gd name="connsiteX1" fmla="*/ 0 w 168211"/>
                        <a:gd name="connsiteY1" fmla="*/ 796481 h 964691"/>
                        <a:gd name="connsiteX2" fmla="*/ 0 w 168211"/>
                        <a:gd name="connsiteY2" fmla="*/ 0 h 964691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</a:cxnLst>
                      <a:rect l="l" t="t" r="r" b="b"/>
                      <a:pathLst>
                        <a:path w="168211" h="964691">
                          <a:moveTo>
                            <a:pt x="168211" y="964692"/>
                          </a:moveTo>
                          <a:lnTo>
                            <a:pt x="0" y="796481"/>
                          </a:lnTo>
                          <a:lnTo>
                            <a:pt x="0" y="0"/>
                          </a:lnTo>
                        </a:path>
                      </a:pathLst>
                    </a:custGeom>
                    <a:noFill/>
                    <a:ln w="9525" cap="flat">
                      <a:solidFill>
                        <a:srgbClr val="31849B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pPr>
                        <a:defRPr/>
                      </a:pPr>
                      <a:endParaRPr lang="en-US" dirty="0">
                        <a:solidFill>
                          <a:prstClr val="black"/>
                        </a:solidFill>
                        <a:latin typeface="Arial"/>
                      </a:endParaRPr>
                    </a:p>
                  </p:txBody>
                </p:sp>
                <p:sp>
                  <p:nvSpPr>
                    <p:cNvPr id="69" name="Freeform: Shape 68">
                      <a:extLst>
                        <a:ext uri="{FF2B5EF4-FFF2-40B4-BE49-F238E27FC236}">
                          <a16:creationId xmlns:a16="http://schemas.microsoft.com/office/drawing/2014/main" id="{B075E87E-9593-451E-9D86-DD579059CF60}"/>
                        </a:ext>
                      </a:extLst>
                    </p:cNvPr>
                    <p:cNvSpPr/>
                    <p:nvPr/>
                  </p:nvSpPr>
                  <p:spPr>
                    <a:xfrm rot="20807399">
                      <a:off x="4463176" y="1657648"/>
                      <a:ext cx="357097" cy="357097"/>
                    </a:xfrm>
                    <a:custGeom>
                      <a:avLst/>
                      <a:gdLst>
                        <a:gd name="connsiteX0" fmla="*/ 243840 w 243840"/>
                        <a:gd name="connsiteY0" fmla="*/ 121920 h 243840"/>
                        <a:gd name="connsiteX1" fmla="*/ 121920 w 243840"/>
                        <a:gd name="connsiteY1" fmla="*/ 243840 h 243840"/>
                        <a:gd name="connsiteX2" fmla="*/ 0 w 243840"/>
                        <a:gd name="connsiteY2" fmla="*/ 121920 h 243840"/>
                        <a:gd name="connsiteX3" fmla="*/ 121920 w 243840"/>
                        <a:gd name="connsiteY3" fmla="*/ 0 h 243840"/>
                        <a:gd name="connsiteX4" fmla="*/ 243840 w 243840"/>
                        <a:gd name="connsiteY4" fmla="*/ 121920 h 24384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243840" h="243840">
                          <a:moveTo>
                            <a:pt x="243840" y="121920"/>
                          </a:moveTo>
                          <a:cubicBezTo>
                            <a:pt x="243840" y="189255"/>
                            <a:pt x="189255" y="243840"/>
                            <a:pt x="121920" y="243840"/>
                          </a:cubicBezTo>
                          <a:cubicBezTo>
                            <a:pt x="54585" y="243840"/>
                            <a:pt x="0" y="189255"/>
                            <a:pt x="0" y="121920"/>
                          </a:cubicBezTo>
                          <a:cubicBezTo>
                            <a:pt x="0" y="54585"/>
                            <a:pt x="54585" y="0"/>
                            <a:pt x="121920" y="0"/>
                          </a:cubicBezTo>
                          <a:cubicBezTo>
                            <a:pt x="189255" y="0"/>
                            <a:pt x="243840" y="54585"/>
                            <a:pt x="243840" y="121920"/>
                          </a:cubicBezTo>
                          <a:close/>
                        </a:path>
                      </a:pathLst>
                    </a:custGeom>
                    <a:noFill/>
                    <a:ln w="9525" cap="flat">
                      <a:solidFill>
                        <a:srgbClr val="31849B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pPr>
                        <a:defRPr/>
                      </a:pPr>
                      <a:endParaRPr lang="en-US" dirty="0">
                        <a:solidFill>
                          <a:prstClr val="black"/>
                        </a:solidFill>
                        <a:latin typeface="Arial"/>
                      </a:endParaRPr>
                    </a:p>
                  </p:txBody>
                </p:sp>
                <p:sp>
                  <p:nvSpPr>
                    <p:cNvPr id="70" name="Freeform: Shape 69">
                      <a:extLst>
                        <a:ext uri="{FF2B5EF4-FFF2-40B4-BE49-F238E27FC236}">
                          <a16:creationId xmlns:a16="http://schemas.microsoft.com/office/drawing/2014/main" id="{60D0C373-4671-4866-9EC5-74D061E46C9A}"/>
                        </a:ext>
                      </a:extLst>
                    </p:cNvPr>
                    <p:cNvSpPr/>
                    <p:nvPr/>
                  </p:nvSpPr>
                  <p:spPr>
                    <a:xfrm rot="21042599">
                      <a:off x="3095903" y="3048657"/>
                      <a:ext cx="357096" cy="357097"/>
                    </a:xfrm>
                    <a:custGeom>
                      <a:avLst/>
                      <a:gdLst>
                        <a:gd name="connsiteX0" fmla="*/ 243840 w 243840"/>
                        <a:gd name="connsiteY0" fmla="*/ 121920 h 243840"/>
                        <a:gd name="connsiteX1" fmla="*/ 121920 w 243840"/>
                        <a:gd name="connsiteY1" fmla="*/ 243840 h 243840"/>
                        <a:gd name="connsiteX2" fmla="*/ 0 w 243840"/>
                        <a:gd name="connsiteY2" fmla="*/ 121920 h 243840"/>
                        <a:gd name="connsiteX3" fmla="*/ 121920 w 243840"/>
                        <a:gd name="connsiteY3" fmla="*/ 0 h 243840"/>
                        <a:gd name="connsiteX4" fmla="*/ 243840 w 243840"/>
                        <a:gd name="connsiteY4" fmla="*/ 121920 h 24384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243840" h="243840">
                          <a:moveTo>
                            <a:pt x="243840" y="121920"/>
                          </a:moveTo>
                          <a:cubicBezTo>
                            <a:pt x="243840" y="189255"/>
                            <a:pt x="189255" y="243840"/>
                            <a:pt x="121920" y="243840"/>
                          </a:cubicBezTo>
                          <a:cubicBezTo>
                            <a:pt x="54585" y="243840"/>
                            <a:pt x="0" y="189255"/>
                            <a:pt x="0" y="121920"/>
                          </a:cubicBezTo>
                          <a:cubicBezTo>
                            <a:pt x="0" y="54585"/>
                            <a:pt x="54585" y="0"/>
                            <a:pt x="121920" y="0"/>
                          </a:cubicBezTo>
                          <a:cubicBezTo>
                            <a:pt x="189255" y="0"/>
                            <a:pt x="243840" y="54585"/>
                            <a:pt x="243840" y="121920"/>
                          </a:cubicBezTo>
                          <a:close/>
                        </a:path>
                      </a:pathLst>
                    </a:custGeom>
                    <a:noFill/>
                    <a:ln w="9525" cap="flat">
                      <a:solidFill>
                        <a:srgbClr val="548DD4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pPr>
                        <a:defRPr/>
                      </a:pPr>
                      <a:endParaRPr lang="en-US" dirty="0">
                        <a:solidFill>
                          <a:srgbClr val="548DD4"/>
                        </a:solidFill>
                        <a:latin typeface="Arial"/>
                      </a:endParaRPr>
                    </a:p>
                  </p:txBody>
                </p:sp>
              </p:grpSp>
              <p:grpSp>
                <p:nvGrpSpPr>
                  <p:cNvPr id="41" name="Group 40">
                    <a:extLst>
                      <a:ext uri="{FF2B5EF4-FFF2-40B4-BE49-F238E27FC236}">
                        <a16:creationId xmlns:a16="http://schemas.microsoft.com/office/drawing/2014/main" id="{6316D8FE-4C02-4BBB-A852-44795D23247D}"/>
                      </a:ext>
                    </a:extLst>
                  </p:cNvPr>
                  <p:cNvGrpSpPr/>
                  <p:nvPr/>
                </p:nvGrpSpPr>
                <p:grpSpPr>
                  <a:xfrm>
                    <a:off x="829552" y="2924686"/>
                    <a:ext cx="2347823" cy="2630797"/>
                    <a:chOff x="5778694" y="5159150"/>
                    <a:chExt cx="3050590" cy="2630797"/>
                  </a:xfrm>
                </p:grpSpPr>
                <p:sp>
                  <p:nvSpPr>
                    <p:cNvPr id="65" name="Rectangle 64">
                      <a:extLst>
                        <a:ext uri="{FF2B5EF4-FFF2-40B4-BE49-F238E27FC236}">
                          <a16:creationId xmlns:a16="http://schemas.microsoft.com/office/drawing/2014/main" id="{19949EBF-6EE1-49B2-A92B-488268BBD46F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5816389" y="5950193"/>
                      <a:ext cx="3012895" cy="1839754"/>
                    </a:xfrm>
                    <a:prstGeom prst="rect">
                      <a:avLst/>
                    </a:prstGeom>
                  </p:spPr>
                  <p:txBody>
                    <a:bodyPr wrap="square">
                      <a:spAutoFit/>
                    </a:bodyPr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pPr marL="171450" indent="-171450">
                        <a:buFont typeface="Arial" panose="020B0604020202020204" pitchFamily="34" charset="0"/>
                        <a:buChar char="•"/>
                        <a:defRPr/>
                      </a:pPr>
                      <a:r>
                        <a:rPr lang="en-US" sz="1000" dirty="0">
                          <a:solidFill>
                            <a:prstClr val="black"/>
                          </a:solidFill>
                          <a:latin typeface="Arial"/>
                        </a:rPr>
                        <a:t>Enable patients to receive the right level of care in the right spot at the right time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  <a:defRPr/>
                      </a:pPr>
                      <a:r>
                        <a:rPr lang="en-US" sz="1000" dirty="0">
                          <a:solidFill>
                            <a:prstClr val="black"/>
                          </a:solidFill>
                          <a:latin typeface="Arial"/>
                        </a:rPr>
                        <a:t>Expand capabilities and reach of our AMC through a network of regional hubs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  <a:defRPr/>
                      </a:pPr>
                      <a:r>
                        <a:rPr lang="en-US" sz="1000" dirty="0">
                          <a:solidFill>
                            <a:prstClr val="black"/>
                          </a:solidFill>
                          <a:latin typeface="Arial"/>
                        </a:rPr>
                        <a:t>Integrate our system of care to harness benefits of scare and standardization</a:t>
                      </a:r>
                    </a:p>
                    <a:p>
                      <a:pPr algn="r">
                        <a:defRPr/>
                      </a:pPr>
                      <a:endParaRPr lang="en-US" sz="1200" dirty="0">
                        <a:solidFill>
                          <a:srgbClr val="263238"/>
                        </a:solidFill>
                        <a:latin typeface="Roboto"/>
                      </a:endParaRPr>
                    </a:p>
                  </p:txBody>
                </p:sp>
                <p:sp>
                  <p:nvSpPr>
                    <p:cNvPr id="66" name="Rectangle 65">
                      <a:extLst>
                        <a:ext uri="{FF2B5EF4-FFF2-40B4-BE49-F238E27FC236}">
                          <a16:creationId xmlns:a16="http://schemas.microsoft.com/office/drawing/2014/main" id="{AB1476CD-6A4D-4041-B531-60D1D7771B65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5778694" y="5159150"/>
                      <a:ext cx="3004250" cy="817669"/>
                    </a:xfrm>
                    <a:prstGeom prst="rect">
                      <a:avLst/>
                    </a:prstGeom>
                    <a:ln>
                      <a:noFill/>
                    </a:ln>
                  </p:spPr>
                  <p:txBody>
                    <a:bodyPr wrap="square">
                      <a:spAutoFit/>
                    </a:bodyPr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pPr algn="ctr">
                        <a:defRPr/>
                      </a:pPr>
                      <a:r>
                        <a:rPr lang="en-US" sz="1400" b="1" dirty="0">
                          <a:solidFill>
                            <a:srgbClr val="548DD4"/>
                          </a:solidFill>
                          <a:latin typeface="Arial"/>
                        </a:rPr>
                        <a:t>Offer a complete and integrated continuum of care</a:t>
                      </a:r>
                    </a:p>
                  </p:txBody>
                </p:sp>
              </p:grpSp>
              <p:grpSp>
                <p:nvGrpSpPr>
                  <p:cNvPr id="43" name="Group 42">
                    <a:extLst>
                      <a:ext uri="{FF2B5EF4-FFF2-40B4-BE49-F238E27FC236}">
                        <a16:creationId xmlns:a16="http://schemas.microsoft.com/office/drawing/2014/main" id="{2B3A7F2C-DB2C-4697-A47B-7BF9886232F3}"/>
                      </a:ext>
                    </a:extLst>
                  </p:cNvPr>
                  <p:cNvGrpSpPr/>
                  <p:nvPr/>
                </p:nvGrpSpPr>
                <p:grpSpPr>
                  <a:xfrm flipH="1">
                    <a:off x="8903937" y="3365297"/>
                    <a:ext cx="411384" cy="1771179"/>
                    <a:chOff x="3083480" y="3047432"/>
                    <a:chExt cx="411384" cy="1771179"/>
                  </a:xfrm>
                </p:grpSpPr>
                <p:sp>
                  <p:nvSpPr>
                    <p:cNvPr id="60" name="Freeform: Shape 59">
                      <a:extLst>
                        <a:ext uri="{FF2B5EF4-FFF2-40B4-BE49-F238E27FC236}">
                          <a16:creationId xmlns:a16="http://schemas.microsoft.com/office/drawing/2014/main" id="{BE06F4B1-FF0A-4D62-97DE-A19A2558A0EE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3248524" y="3405854"/>
                      <a:ext cx="246340" cy="1412757"/>
                    </a:xfrm>
                    <a:custGeom>
                      <a:avLst/>
                      <a:gdLst>
                        <a:gd name="connsiteX0" fmla="*/ 168211 w 168211"/>
                        <a:gd name="connsiteY0" fmla="*/ 964692 h 964691"/>
                        <a:gd name="connsiteX1" fmla="*/ 0 w 168211"/>
                        <a:gd name="connsiteY1" fmla="*/ 796481 h 964691"/>
                        <a:gd name="connsiteX2" fmla="*/ 0 w 168211"/>
                        <a:gd name="connsiteY2" fmla="*/ 0 h 964691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</a:cxnLst>
                      <a:rect l="l" t="t" r="r" b="b"/>
                      <a:pathLst>
                        <a:path w="168211" h="964691">
                          <a:moveTo>
                            <a:pt x="168211" y="964692"/>
                          </a:moveTo>
                          <a:lnTo>
                            <a:pt x="0" y="796481"/>
                          </a:lnTo>
                          <a:lnTo>
                            <a:pt x="0" y="0"/>
                          </a:lnTo>
                        </a:path>
                      </a:pathLst>
                    </a:custGeom>
                    <a:noFill/>
                    <a:ln w="9525" cap="flat">
                      <a:solidFill>
                        <a:schemeClr val="accent2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pPr>
                        <a:defRPr/>
                      </a:pPr>
                      <a:endParaRPr lang="en-US" dirty="0">
                        <a:solidFill>
                          <a:prstClr val="black"/>
                        </a:solidFill>
                        <a:latin typeface="Arial"/>
                      </a:endParaRPr>
                    </a:p>
                  </p:txBody>
                </p:sp>
                <p:sp>
                  <p:nvSpPr>
                    <p:cNvPr id="61" name="Freeform: Shape 60">
                      <a:extLst>
                        <a:ext uri="{FF2B5EF4-FFF2-40B4-BE49-F238E27FC236}">
                          <a16:creationId xmlns:a16="http://schemas.microsoft.com/office/drawing/2014/main" id="{AFA3F62A-5611-4004-934A-192622A98AA5}"/>
                        </a:ext>
                      </a:extLst>
                    </p:cNvPr>
                    <p:cNvSpPr/>
                    <p:nvPr/>
                  </p:nvSpPr>
                  <p:spPr>
                    <a:xfrm rot="20807399">
                      <a:off x="3083480" y="3047432"/>
                      <a:ext cx="357096" cy="357095"/>
                    </a:xfrm>
                    <a:custGeom>
                      <a:avLst/>
                      <a:gdLst>
                        <a:gd name="connsiteX0" fmla="*/ 243840 w 243840"/>
                        <a:gd name="connsiteY0" fmla="*/ 121920 h 243840"/>
                        <a:gd name="connsiteX1" fmla="*/ 121920 w 243840"/>
                        <a:gd name="connsiteY1" fmla="*/ 243840 h 243840"/>
                        <a:gd name="connsiteX2" fmla="*/ 0 w 243840"/>
                        <a:gd name="connsiteY2" fmla="*/ 121920 h 243840"/>
                        <a:gd name="connsiteX3" fmla="*/ 121920 w 243840"/>
                        <a:gd name="connsiteY3" fmla="*/ 0 h 243840"/>
                        <a:gd name="connsiteX4" fmla="*/ 243840 w 243840"/>
                        <a:gd name="connsiteY4" fmla="*/ 121920 h 24384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243840" h="243840">
                          <a:moveTo>
                            <a:pt x="243840" y="121920"/>
                          </a:moveTo>
                          <a:cubicBezTo>
                            <a:pt x="243840" y="189255"/>
                            <a:pt x="189255" y="243840"/>
                            <a:pt x="121920" y="243840"/>
                          </a:cubicBezTo>
                          <a:cubicBezTo>
                            <a:pt x="54585" y="243840"/>
                            <a:pt x="0" y="189255"/>
                            <a:pt x="0" y="121920"/>
                          </a:cubicBezTo>
                          <a:cubicBezTo>
                            <a:pt x="0" y="54585"/>
                            <a:pt x="54585" y="0"/>
                            <a:pt x="121920" y="0"/>
                          </a:cubicBezTo>
                          <a:cubicBezTo>
                            <a:pt x="189255" y="0"/>
                            <a:pt x="243840" y="54585"/>
                            <a:pt x="243840" y="121920"/>
                          </a:cubicBezTo>
                          <a:close/>
                        </a:path>
                      </a:pathLst>
                    </a:custGeom>
                    <a:noFill/>
                    <a:ln w="9525" cap="flat">
                      <a:solidFill>
                        <a:schemeClr val="accent2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pPr>
                        <a:defRPr/>
                      </a:pPr>
                      <a:endParaRPr lang="en-US" dirty="0">
                        <a:solidFill>
                          <a:prstClr val="black"/>
                        </a:solidFill>
                        <a:latin typeface="Arial"/>
                      </a:endParaRPr>
                    </a:p>
                  </p:txBody>
                </p:sp>
              </p:grpSp>
              <p:grpSp>
                <p:nvGrpSpPr>
                  <p:cNvPr id="44" name="Group 43">
                    <a:extLst>
                      <a:ext uri="{FF2B5EF4-FFF2-40B4-BE49-F238E27FC236}">
                        <a16:creationId xmlns:a16="http://schemas.microsoft.com/office/drawing/2014/main" id="{EB28B5BF-BE9C-43B6-871A-555DF0065570}"/>
                      </a:ext>
                    </a:extLst>
                  </p:cNvPr>
                  <p:cNvGrpSpPr/>
                  <p:nvPr/>
                </p:nvGrpSpPr>
                <p:grpSpPr>
                  <a:xfrm>
                    <a:off x="9263465" y="3078558"/>
                    <a:ext cx="2023512" cy="3430670"/>
                    <a:chOff x="6381520" y="6274591"/>
                    <a:chExt cx="2629205" cy="3430670"/>
                  </a:xfrm>
                </p:grpSpPr>
                <p:sp>
                  <p:nvSpPr>
                    <p:cNvPr id="57" name="Rectangle 56">
                      <a:extLst>
                        <a:ext uri="{FF2B5EF4-FFF2-40B4-BE49-F238E27FC236}">
                          <a16:creationId xmlns:a16="http://schemas.microsoft.com/office/drawing/2014/main" id="{6F393E87-A10C-4221-B9BB-9FEEFC332647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381520" y="7729227"/>
                      <a:ext cx="2629205" cy="1976034"/>
                    </a:xfrm>
                    <a:prstGeom prst="rect">
                      <a:avLst/>
                    </a:prstGeom>
                  </p:spPr>
                  <p:txBody>
                    <a:bodyPr wrap="square">
                      <a:spAutoFit/>
                    </a:bodyPr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pPr marL="171450" indent="-171450">
                        <a:buFont typeface="Arial" panose="020B0604020202020204" pitchFamily="34" charset="0"/>
                        <a:buChar char="•"/>
                        <a:defRPr/>
                      </a:pPr>
                      <a:r>
                        <a:rPr lang="en-US" sz="1000" dirty="0">
                          <a:solidFill>
                            <a:prstClr val="black"/>
                          </a:solidFill>
                          <a:latin typeface="Arial"/>
                        </a:rPr>
                        <a:t>Align provider roles, recruitment, and incentives to support value-based care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  <a:defRPr/>
                      </a:pPr>
                      <a:r>
                        <a:rPr lang="en-US" sz="1000" dirty="0">
                          <a:solidFill>
                            <a:prstClr val="black"/>
                          </a:solidFill>
                          <a:latin typeface="Arial"/>
                        </a:rPr>
                        <a:t>Transform rural health care through innovative care models and applied AMC research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  <a:defRPr/>
                      </a:pPr>
                      <a:r>
                        <a:rPr lang="en-US" sz="1000" dirty="0">
                          <a:solidFill>
                            <a:prstClr val="black"/>
                          </a:solidFill>
                          <a:latin typeface="Arial"/>
                        </a:rPr>
                        <a:t>Scale Peak Health as a vehicle to align and transform care delivery</a:t>
                      </a:r>
                    </a:p>
                  </p:txBody>
                </p:sp>
                <p:sp>
                  <p:nvSpPr>
                    <p:cNvPr id="58" name="Rectangle 57">
                      <a:extLst>
                        <a:ext uri="{FF2B5EF4-FFF2-40B4-BE49-F238E27FC236}">
                          <a16:creationId xmlns:a16="http://schemas.microsoft.com/office/drawing/2014/main" id="{9FC9C4A5-F1DF-43D8-B378-16E75796163F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391280" y="6274591"/>
                      <a:ext cx="2371643" cy="1533130"/>
                    </a:xfrm>
                    <a:prstGeom prst="rect">
                      <a:avLst/>
                    </a:prstGeom>
                    <a:ln>
                      <a:noFill/>
                    </a:ln>
                  </p:spPr>
                  <p:txBody>
                    <a:bodyPr wrap="square">
                      <a:spAutoFit/>
                    </a:bodyPr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pPr algn="ctr">
                        <a:defRPr/>
                      </a:pPr>
                      <a:r>
                        <a:rPr lang="en-US" sz="1400" b="1" dirty="0">
                          <a:solidFill>
                            <a:srgbClr val="DE7422"/>
                          </a:solidFill>
                          <a:latin typeface="Arial"/>
                        </a:rPr>
                        <a:t>Become the national leader in rural population health management</a:t>
                      </a:r>
                    </a:p>
                  </p:txBody>
                </p:sp>
              </p:grpSp>
              <p:grpSp>
                <p:nvGrpSpPr>
                  <p:cNvPr id="45" name="Group 44">
                    <a:extLst>
                      <a:ext uri="{FF2B5EF4-FFF2-40B4-BE49-F238E27FC236}">
                        <a16:creationId xmlns:a16="http://schemas.microsoft.com/office/drawing/2014/main" id="{5B24612D-6288-454C-A45A-29C1B7F3428B}"/>
                      </a:ext>
                    </a:extLst>
                  </p:cNvPr>
                  <p:cNvGrpSpPr/>
                  <p:nvPr/>
                </p:nvGrpSpPr>
                <p:grpSpPr>
                  <a:xfrm>
                    <a:off x="1563535" y="757415"/>
                    <a:ext cx="3145147" cy="1427356"/>
                    <a:chOff x="5707272" y="3953448"/>
                    <a:chExt cx="4086572" cy="1427356"/>
                  </a:xfrm>
                </p:grpSpPr>
                <p:sp>
                  <p:nvSpPr>
                    <p:cNvPr id="55" name="Rectangle 54">
                      <a:extLst>
                        <a:ext uri="{FF2B5EF4-FFF2-40B4-BE49-F238E27FC236}">
                          <a16:creationId xmlns:a16="http://schemas.microsoft.com/office/drawing/2014/main" id="{ED4C96FB-C78F-4856-B7B6-22F516820F6D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5707272" y="5074178"/>
                      <a:ext cx="2629206" cy="306626"/>
                    </a:xfrm>
                    <a:prstGeom prst="rect">
                      <a:avLst/>
                    </a:prstGeom>
                  </p:spPr>
                  <p:txBody>
                    <a:bodyPr wrap="square">
                      <a:spAutoFit/>
                    </a:bodyPr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pPr algn="r">
                        <a:defRPr/>
                      </a:pPr>
                      <a:endParaRPr lang="en-US" sz="1200" dirty="0">
                        <a:solidFill>
                          <a:srgbClr val="263238"/>
                        </a:solidFill>
                        <a:latin typeface="Roboto"/>
                      </a:endParaRPr>
                    </a:p>
                  </p:txBody>
                </p:sp>
                <p:sp>
                  <p:nvSpPr>
                    <p:cNvPr id="56" name="Rectangle 55">
                      <a:extLst>
                        <a:ext uri="{FF2B5EF4-FFF2-40B4-BE49-F238E27FC236}">
                          <a16:creationId xmlns:a16="http://schemas.microsoft.com/office/drawing/2014/main" id="{C2528C38-17E1-4A78-A36D-6CA0E9CB7E9A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346027" y="3953448"/>
                      <a:ext cx="3447817" cy="817669"/>
                    </a:xfrm>
                    <a:prstGeom prst="rect">
                      <a:avLst/>
                    </a:prstGeom>
                    <a:ln>
                      <a:noFill/>
                    </a:ln>
                  </p:spPr>
                  <p:txBody>
                    <a:bodyPr wrap="square">
                      <a:spAutoFit/>
                    </a:bodyPr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pPr algn="ctr">
                        <a:defRPr/>
                      </a:pPr>
                      <a:r>
                        <a:rPr lang="en-US" sz="1400" b="1" dirty="0">
                          <a:solidFill>
                            <a:srgbClr val="31849B"/>
                          </a:solidFill>
                          <a:latin typeface="Arial"/>
                        </a:rPr>
                        <a:t>Be an exceptional place to work, learn, and practice</a:t>
                      </a:r>
                    </a:p>
                  </p:txBody>
                </p:sp>
              </p:grpSp>
              <p:grpSp>
                <p:nvGrpSpPr>
                  <p:cNvPr id="46" name="Group 45">
                    <a:extLst>
                      <a:ext uri="{FF2B5EF4-FFF2-40B4-BE49-F238E27FC236}">
                        <a16:creationId xmlns:a16="http://schemas.microsoft.com/office/drawing/2014/main" id="{5C357EAA-C192-4871-9CBC-31BF92E7A651}"/>
                      </a:ext>
                    </a:extLst>
                  </p:cNvPr>
                  <p:cNvGrpSpPr/>
                  <p:nvPr/>
                </p:nvGrpSpPr>
                <p:grpSpPr>
                  <a:xfrm>
                    <a:off x="7331641" y="757415"/>
                    <a:ext cx="2763734" cy="2537401"/>
                    <a:chOff x="8421984" y="4432400"/>
                    <a:chExt cx="3590992" cy="2537401"/>
                  </a:xfrm>
                </p:grpSpPr>
                <p:sp>
                  <p:nvSpPr>
                    <p:cNvPr id="53" name="Rectangle 52">
                      <a:extLst>
                        <a:ext uri="{FF2B5EF4-FFF2-40B4-BE49-F238E27FC236}">
                          <a16:creationId xmlns:a16="http://schemas.microsoft.com/office/drawing/2014/main" id="{39F94898-E770-4827-87A2-18FFE79E360D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8698937" y="5164116"/>
                      <a:ext cx="2974449" cy="1805685"/>
                    </a:xfrm>
                    <a:prstGeom prst="rect">
                      <a:avLst/>
                    </a:prstGeom>
                  </p:spPr>
                  <p:txBody>
                    <a:bodyPr wrap="square">
                      <a:spAutoFit/>
                    </a:bodyPr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pPr marL="171450" indent="-171450">
                        <a:buFont typeface="Arial" panose="020B0604020202020204" pitchFamily="34" charset="0"/>
                        <a:buChar char="•"/>
                        <a:defRPr/>
                      </a:pPr>
                      <a:r>
                        <a:rPr lang="en-US" sz="1000" dirty="0">
                          <a:solidFill>
                            <a:prstClr val="black"/>
                          </a:solidFill>
                          <a:latin typeface="Arial"/>
                        </a:rPr>
                        <a:t>Build a seamless health care experience through digital tools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  <a:defRPr/>
                      </a:pPr>
                      <a:r>
                        <a:rPr lang="en-US" sz="1000" dirty="0">
                          <a:solidFill>
                            <a:prstClr val="black"/>
                          </a:solidFill>
                          <a:latin typeface="Arial"/>
                        </a:rPr>
                        <a:t>Implement system-wide processes and initiatives that advance care and experience 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  <a:defRPr/>
                      </a:pPr>
                      <a:r>
                        <a:rPr lang="en-US" sz="1000" dirty="0">
                          <a:solidFill>
                            <a:prstClr val="black"/>
                          </a:solidFill>
                          <a:latin typeface="Arial"/>
                        </a:rPr>
                        <a:t>Enhance patient access and service across our continuum of care</a:t>
                      </a:r>
                    </a:p>
                  </p:txBody>
                </p:sp>
                <p:sp>
                  <p:nvSpPr>
                    <p:cNvPr id="54" name="Rectangle 53">
                      <a:extLst>
                        <a:ext uri="{FF2B5EF4-FFF2-40B4-BE49-F238E27FC236}">
                          <a16:creationId xmlns:a16="http://schemas.microsoft.com/office/drawing/2014/main" id="{08ACBC33-1E64-4DD2-8563-5F36C0CE8438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8421984" y="4432400"/>
                      <a:ext cx="3590992" cy="817669"/>
                    </a:xfrm>
                    <a:prstGeom prst="rect">
                      <a:avLst/>
                    </a:prstGeom>
                    <a:ln>
                      <a:noFill/>
                    </a:ln>
                  </p:spPr>
                  <p:txBody>
                    <a:bodyPr wrap="square">
                      <a:spAutoFit/>
                    </a:bodyPr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pPr algn="ctr">
                        <a:defRPr/>
                      </a:pPr>
                      <a:r>
                        <a:rPr lang="en-US" sz="1400" b="1" dirty="0">
                          <a:solidFill>
                            <a:srgbClr val="76923C"/>
                          </a:solidFill>
                          <a:latin typeface="Arial"/>
                        </a:rPr>
                        <a:t>Deliver superior access, care, and experience to all we serve</a:t>
                      </a:r>
                    </a:p>
                  </p:txBody>
                </p:sp>
              </p:grpSp>
            </p:grpSp>
            <p:sp>
              <p:nvSpPr>
                <p:cNvPr id="73" name="Freeform: Shape 72">
                  <a:extLst>
                    <a:ext uri="{FF2B5EF4-FFF2-40B4-BE49-F238E27FC236}">
                      <a16:creationId xmlns:a16="http://schemas.microsoft.com/office/drawing/2014/main" id="{12049D02-2FFB-616D-A77D-31EA3D2AA392}"/>
                    </a:ext>
                  </a:extLst>
                </p:cNvPr>
                <p:cNvSpPr/>
                <p:nvPr/>
              </p:nvSpPr>
              <p:spPr>
                <a:xfrm flipH="1">
                  <a:off x="5278675" y="2117389"/>
                  <a:ext cx="217387" cy="1299673"/>
                </a:xfrm>
                <a:custGeom>
                  <a:avLst/>
                  <a:gdLst>
                    <a:gd name="connsiteX0" fmla="*/ 168211 w 168211"/>
                    <a:gd name="connsiteY0" fmla="*/ 964692 h 964691"/>
                    <a:gd name="connsiteX1" fmla="*/ 0 w 168211"/>
                    <a:gd name="connsiteY1" fmla="*/ 796481 h 964691"/>
                    <a:gd name="connsiteX2" fmla="*/ 0 w 168211"/>
                    <a:gd name="connsiteY2" fmla="*/ 0 h 96469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68211" h="964691">
                      <a:moveTo>
                        <a:pt x="168211" y="964692"/>
                      </a:moveTo>
                      <a:lnTo>
                        <a:pt x="0" y="796481"/>
                      </a:lnTo>
                      <a:lnTo>
                        <a:pt x="0" y="0"/>
                      </a:lnTo>
                    </a:path>
                  </a:pathLst>
                </a:custGeom>
                <a:noFill/>
                <a:ln w="9525" cap="flat">
                  <a:solidFill>
                    <a:srgbClr val="76923C"/>
                  </a:solidFill>
                  <a:prstDash val="solid"/>
                  <a:miter/>
                </a:ln>
              </p:spPr>
              <p:txBody>
                <a:bodyPr rtlCol="0" anchor="ctr"/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>
                    <a:defRPr/>
                  </a:pPr>
                  <a:endParaRPr lang="en-US" dirty="0">
                    <a:solidFill>
                      <a:prstClr val="black"/>
                    </a:solidFill>
                    <a:latin typeface="Arial"/>
                  </a:endParaRPr>
                </a:p>
              </p:txBody>
            </p:sp>
          </p:grpSp>
          <p:sp>
            <p:nvSpPr>
              <p:cNvPr id="72" name="TextBox 71">
                <a:extLst>
                  <a:ext uri="{FF2B5EF4-FFF2-40B4-BE49-F238E27FC236}">
                    <a16:creationId xmlns:a16="http://schemas.microsoft.com/office/drawing/2014/main" id="{61B70D28-ACC8-8629-A936-2177895FA38B}"/>
                  </a:ext>
                </a:extLst>
              </p:cNvPr>
              <p:cNvSpPr txBox="1"/>
              <p:nvPr/>
            </p:nvSpPr>
            <p:spPr>
              <a:xfrm>
                <a:off x="1025399" y="1405969"/>
                <a:ext cx="2250537" cy="1034300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marL="171450" indent="-171450">
                  <a:buFont typeface="Arial" panose="020B0604020202020204" pitchFamily="34" charset="0"/>
                  <a:buChar char="•"/>
                  <a:defRPr/>
                </a:pPr>
                <a:r>
                  <a:rPr lang="en-US" sz="1000" dirty="0">
                    <a:solidFill>
                      <a:prstClr val="black"/>
                    </a:solidFill>
                    <a:latin typeface="Arial"/>
                  </a:rPr>
                  <a:t>Invest in health care education and career development</a:t>
                </a:r>
              </a:p>
              <a:p>
                <a:pPr marL="171450" indent="-171450">
                  <a:buFont typeface="Arial" panose="020B0604020202020204" pitchFamily="34" charset="0"/>
                  <a:buChar char="•"/>
                  <a:defRPr/>
                </a:pPr>
                <a:r>
                  <a:rPr lang="en-US" sz="1000" dirty="0">
                    <a:solidFill>
                      <a:prstClr val="black"/>
                    </a:solidFill>
                    <a:latin typeface="Arial"/>
                  </a:rPr>
                  <a:t>Promote a culture of health, wellness, and inclusion</a:t>
                </a:r>
              </a:p>
              <a:p>
                <a:pPr marL="171450" indent="-171450">
                  <a:buFont typeface="Arial" panose="020B0604020202020204" pitchFamily="34" charset="0"/>
                  <a:buChar char="•"/>
                  <a:defRPr/>
                </a:pPr>
                <a:r>
                  <a:rPr lang="en-US" sz="1000" dirty="0">
                    <a:solidFill>
                      <a:prstClr val="black"/>
                    </a:solidFill>
                    <a:latin typeface="Arial"/>
                  </a:rPr>
                  <a:t>Become a destination of choice for great talent to join and stay</a:t>
                </a:r>
              </a:p>
            </p:txBody>
          </p:sp>
        </p:grpSp>
        <p:sp>
          <p:nvSpPr>
            <p:cNvPr id="84" name="TextBox 83">
              <a:extLst>
                <a:ext uri="{FF2B5EF4-FFF2-40B4-BE49-F238E27FC236}">
                  <a16:creationId xmlns:a16="http://schemas.microsoft.com/office/drawing/2014/main" id="{E3DF4494-BAB7-0171-3DB5-D1EC79F2E1F7}"/>
                </a:ext>
              </a:extLst>
            </p:cNvPr>
            <p:cNvSpPr txBox="1"/>
            <p:nvPr/>
          </p:nvSpPr>
          <p:spPr>
            <a:xfrm>
              <a:off x="3213264" y="4856372"/>
              <a:ext cx="2807490" cy="1231106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>
                <a:defRPr/>
              </a:pPr>
              <a:r>
                <a:rPr lang="en-US" b="1" dirty="0">
                  <a:solidFill>
                    <a:prstClr val="black"/>
                  </a:solidFill>
                  <a:latin typeface="Arial"/>
                </a:rPr>
                <a:t>Mission</a:t>
              </a:r>
            </a:p>
            <a:p>
              <a:pPr algn="ctr">
                <a:defRPr/>
              </a:pPr>
              <a:r>
                <a:rPr lang="en-US" sz="1400" dirty="0">
                  <a:solidFill>
                    <a:prstClr val="black"/>
                  </a:solidFill>
                  <a:latin typeface="Arial"/>
                </a:rPr>
                <a:t>To improve the health of West Virginians and all we serve through excellence in patient care, research, and education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6286818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F704EDB-8818-FEC7-FA7E-BE48640FFBB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C67D901-0C28-0496-4958-5DC0540C3B2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5800" y="265757"/>
            <a:ext cx="10574912" cy="990600"/>
          </a:xfrm>
        </p:spPr>
        <p:txBody>
          <a:bodyPr>
            <a:normAutofit/>
          </a:bodyPr>
          <a:lstStyle/>
          <a:p>
            <a:r>
              <a:rPr lang="en-US" sz="3600" b="1" dirty="0">
                <a:solidFill>
                  <a:srgbClr val="002060"/>
                </a:solidFill>
              </a:rPr>
              <a:t>Significant Investments into Provider Network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F0F1605-8FA7-AEE3-99F7-0901EF00F54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630320" y="6472450"/>
            <a:ext cx="533400" cy="365125"/>
          </a:xfrm>
        </p:spPr>
        <p:txBody>
          <a:bodyPr/>
          <a:lstStyle/>
          <a:p>
            <a:pPr>
              <a:defRPr/>
            </a:pPr>
            <a:fld id="{4A3FBA54-5C1B-D348-9A99-18A91FDE7B7F}" type="slidenum">
              <a:rPr lang="en-US">
                <a:latin typeface="Arial"/>
              </a:rPr>
              <a:pPr>
                <a:defRPr/>
              </a:pPr>
              <a:t>4</a:t>
            </a:fld>
            <a:endParaRPr lang="en-US" dirty="0">
              <a:latin typeface="Arial"/>
            </a:endParaRP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46C4A8EE-7659-4ADA-2B2D-44F9ED4A496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629403" y="1752600"/>
            <a:ext cx="4800597" cy="3613865"/>
          </a:xfrm>
          <a:prstGeom prst="rect">
            <a:avLst/>
          </a:prstGeom>
          <a:gradFill>
            <a:gsLst>
              <a:gs pos="13000">
                <a:schemeClr val="bg2"/>
              </a:gs>
              <a:gs pos="100000">
                <a:schemeClr val="bg1"/>
              </a:gs>
            </a:gsLst>
            <a:lin ang="16200000" scaled="0"/>
          </a:gradFill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2C75801A-A567-0122-D9E9-C653729FA27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62000" y="1676400"/>
            <a:ext cx="5638801" cy="3766904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74504104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41086AC-EACE-69EF-EC1D-DCEAA7E5868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F92FF03-E251-5908-5EE7-C05B0086CAF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61973" y="188377"/>
            <a:ext cx="9764827" cy="690608"/>
          </a:xfrm>
        </p:spPr>
        <p:txBody>
          <a:bodyPr>
            <a:normAutofit/>
          </a:bodyPr>
          <a:lstStyle/>
          <a:p>
            <a:r>
              <a:rPr lang="en-US" sz="3600" b="1" dirty="0">
                <a:solidFill>
                  <a:srgbClr val="002060"/>
                </a:solidFill>
              </a:rPr>
              <a:t>Prior Year Board Approved Projects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0A32B9E-70C1-9EAB-B9CF-E40292A13B9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492875"/>
            <a:ext cx="711200" cy="365125"/>
          </a:xfrm>
        </p:spPr>
        <p:txBody>
          <a:bodyPr/>
          <a:lstStyle/>
          <a:p>
            <a:fld id="{4A3FBA54-5C1B-D348-9A99-18A91FDE7B7F}" type="slidenum">
              <a:rPr lang="en-US" smtClean="0"/>
              <a:t>5</a:t>
            </a:fld>
            <a:endParaRPr lang="en-US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B71E191-8F4C-3E07-E5CB-0778E8FC45CD}"/>
              </a:ext>
            </a:extLst>
          </p:cNvPr>
          <p:cNvSpPr txBox="1"/>
          <p:nvPr/>
        </p:nvSpPr>
        <p:spPr>
          <a:xfrm>
            <a:off x="1676403" y="878991"/>
            <a:ext cx="885510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At its April 17, 2024 meeting, WVUHS Board of Directors approved </a:t>
            </a:r>
            <a:r>
              <a:rPr lang="en-US" b="1" u="sng" dirty="0"/>
              <a:t>$379M </a:t>
            </a:r>
            <a:r>
              <a:rPr lang="en-US" dirty="0"/>
              <a:t>in new strategic capital projects, including: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8719F0CD-A5E6-3662-9000-0642E5846DA0}"/>
              </a:ext>
            </a:extLst>
          </p:cNvPr>
          <p:cNvSpPr txBox="1"/>
          <p:nvPr/>
        </p:nvSpPr>
        <p:spPr>
          <a:xfrm>
            <a:off x="3505200" y="5332684"/>
            <a:ext cx="54864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/>
              <a:t>Groundbreaking Date : January 24, 2025 </a:t>
            </a:r>
          </a:p>
          <a:p>
            <a:pPr algn="ctr"/>
            <a:r>
              <a:rPr lang="en-US" dirty="0"/>
              <a:t>Anticipated Completion: Fall 2027</a:t>
            </a:r>
          </a:p>
        </p:txBody>
      </p:sp>
      <p:pic>
        <p:nvPicPr>
          <p:cNvPr id="9" name="Picture 8" descr="A large building with many windows&#10;&#10;Description automatically generated">
            <a:extLst>
              <a:ext uri="{FF2B5EF4-FFF2-40B4-BE49-F238E27FC236}">
                <a16:creationId xmlns:a16="http://schemas.microsoft.com/office/drawing/2014/main" id="{805DB0E7-7F19-0559-CAF2-88826B3D1CA2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674" b="16266"/>
          <a:stretch/>
        </p:blipFill>
        <p:spPr>
          <a:xfrm>
            <a:off x="3028925" y="1661262"/>
            <a:ext cx="5867400" cy="349886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79E9BBA7-8E45-8235-A050-0684038C6300}"/>
              </a:ext>
            </a:extLst>
          </p:cNvPr>
          <p:cNvSpPr txBox="1"/>
          <p:nvPr/>
        </p:nvSpPr>
        <p:spPr>
          <a:xfrm>
            <a:off x="2613363" y="4827406"/>
            <a:ext cx="6683039" cy="369332"/>
          </a:xfrm>
          <a:prstGeom prst="rect">
            <a:avLst/>
          </a:prstGeom>
          <a:solidFill>
            <a:srgbClr val="FFC000"/>
          </a:solidFill>
          <a:ln w="12700">
            <a:solidFill>
              <a:srgbClr val="002060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dirty="0"/>
              <a:t>WVU Hospitals – Eye Institute </a:t>
            </a:r>
          </a:p>
        </p:txBody>
      </p:sp>
    </p:spTree>
    <p:extLst>
      <p:ext uri="{BB962C8B-B14F-4D97-AF65-F5344CB8AC3E}">
        <p14:creationId xmlns:p14="http://schemas.microsoft.com/office/powerpoint/2010/main" val="214362343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rotWithShape="1">
          <a:blip r:embed="rId3"/>
          <a:stretch>
            <a:fillRect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43ED3641-1777-9B00-AE3D-2EFF7606426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FE99172-2FA5-7601-1FFE-F82635B824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861283" y="188377"/>
            <a:ext cx="8409137" cy="690608"/>
          </a:xfrm>
        </p:spPr>
        <p:txBody>
          <a:bodyPr>
            <a:normAutofit/>
          </a:bodyPr>
          <a:lstStyle/>
          <a:p>
            <a:pPr algn="ctr"/>
            <a:r>
              <a:rPr lang="en-US" sz="3600" b="1" dirty="0">
                <a:solidFill>
                  <a:srgbClr val="002060"/>
                </a:solidFill>
              </a:rPr>
              <a:t>Prior Year Board Approved Projects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895EA8D-9B30-A1A4-D57C-A299D327146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76087" y="6492875"/>
            <a:ext cx="711200" cy="365125"/>
          </a:xfrm>
        </p:spPr>
        <p:txBody>
          <a:bodyPr/>
          <a:lstStyle/>
          <a:p>
            <a:fld id="{4A3FBA54-5C1B-D348-9A99-18A91FDE7B7F}" type="slidenum">
              <a:rPr lang="en-US" smtClean="0"/>
              <a:t>6</a:t>
            </a:fld>
            <a:endParaRPr lang="en-US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B580F2A3-DDEC-C112-3EDA-4D4A42C1CE66}"/>
              </a:ext>
            </a:extLst>
          </p:cNvPr>
          <p:cNvSpPr txBox="1"/>
          <p:nvPr/>
        </p:nvSpPr>
        <p:spPr>
          <a:xfrm>
            <a:off x="1600203" y="878991"/>
            <a:ext cx="893130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At its April 17, 2024 meeting, WVUHS Board of Directors approved </a:t>
            </a:r>
            <a:r>
              <a:rPr lang="en-US" b="1" u="sng" dirty="0"/>
              <a:t>$379M </a:t>
            </a:r>
            <a:r>
              <a:rPr lang="en-US" dirty="0"/>
              <a:t>in new strategic capital projects, including: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0829BF70-549C-097B-3654-D5F010448C8C}"/>
              </a:ext>
            </a:extLst>
          </p:cNvPr>
          <p:cNvSpPr txBox="1"/>
          <p:nvPr/>
        </p:nvSpPr>
        <p:spPr>
          <a:xfrm>
            <a:off x="3322652" y="5332684"/>
            <a:ext cx="54864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/>
              <a:t>Groundbreaking Date : June 6, 2024</a:t>
            </a:r>
          </a:p>
          <a:p>
            <a:pPr algn="ctr"/>
            <a:r>
              <a:rPr lang="en-US" dirty="0"/>
              <a:t>Anticipated Completion: July 1, 2025</a:t>
            </a:r>
          </a:p>
        </p:txBody>
      </p:sp>
      <p:pic>
        <p:nvPicPr>
          <p:cNvPr id="9" name="Picture 8" descr="A building with a roof and a parking lot&#10;&#10;AI-generated content may be incorrect.">
            <a:extLst>
              <a:ext uri="{FF2B5EF4-FFF2-40B4-BE49-F238E27FC236}">
                <a16:creationId xmlns:a16="http://schemas.microsoft.com/office/drawing/2014/main" id="{6AE27DF9-8882-FA81-150B-F68252BA0E13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484"/>
          <a:stretch>
            <a:fillRect/>
          </a:stretch>
        </p:blipFill>
        <p:spPr>
          <a:xfrm>
            <a:off x="2743200" y="1716563"/>
            <a:ext cx="6667500" cy="327062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9E58267A-102B-34A3-EBC4-87D9B738696F}"/>
              </a:ext>
            </a:extLst>
          </p:cNvPr>
          <p:cNvSpPr txBox="1"/>
          <p:nvPr/>
        </p:nvSpPr>
        <p:spPr>
          <a:xfrm>
            <a:off x="3152077" y="4867459"/>
            <a:ext cx="5827557" cy="369332"/>
          </a:xfrm>
          <a:prstGeom prst="rect">
            <a:avLst/>
          </a:prstGeom>
          <a:solidFill>
            <a:srgbClr val="FFC000"/>
          </a:solidFill>
          <a:ln w="12700">
            <a:solidFill>
              <a:srgbClr val="002060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dirty="0"/>
              <a:t>United Hospital Center - Elkins</a:t>
            </a:r>
          </a:p>
        </p:txBody>
      </p:sp>
    </p:spTree>
    <p:extLst>
      <p:ext uri="{BB962C8B-B14F-4D97-AF65-F5344CB8AC3E}">
        <p14:creationId xmlns:p14="http://schemas.microsoft.com/office/powerpoint/2010/main" val="33852374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177D677-D5D8-0555-5C0E-6421D315CBF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EE386F9-99AF-B13D-6E5A-68057E74484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25463" y="232411"/>
            <a:ext cx="8409137" cy="690608"/>
          </a:xfrm>
        </p:spPr>
        <p:txBody>
          <a:bodyPr>
            <a:normAutofit/>
          </a:bodyPr>
          <a:lstStyle/>
          <a:p>
            <a:r>
              <a:rPr lang="en-US" sz="3600" b="1" dirty="0">
                <a:solidFill>
                  <a:srgbClr val="002060"/>
                </a:solidFill>
              </a:rPr>
              <a:t>Prior Year Board Approved Projects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BD91058-2D0A-D0C5-B545-C36A54ABB08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57233" y="6492875"/>
            <a:ext cx="711200" cy="365125"/>
          </a:xfrm>
        </p:spPr>
        <p:txBody>
          <a:bodyPr/>
          <a:lstStyle/>
          <a:p>
            <a:fld id="{4A3FBA54-5C1B-D348-9A99-18A91FDE7B7F}" type="slidenum">
              <a:rPr lang="en-US" smtClean="0"/>
              <a:t>7</a:t>
            </a:fld>
            <a:endParaRPr lang="en-US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D1C1232-E11B-F5C7-F5E5-493BDDBCD4F8}"/>
              </a:ext>
            </a:extLst>
          </p:cNvPr>
          <p:cNvSpPr txBox="1"/>
          <p:nvPr/>
        </p:nvSpPr>
        <p:spPr>
          <a:xfrm>
            <a:off x="1600203" y="878991"/>
            <a:ext cx="893130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At its April 17, 2024 meeting, WVUHS Board of Directors approved </a:t>
            </a:r>
            <a:r>
              <a:rPr lang="en-US" b="1" u="sng" dirty="0"/>
              <a:t>$379M </a:t>
            </a:r>
            <a:r>
              <a:rPr lang="en-US" dirty="0"/>
              <a:t>in new strategic capital projects, including: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ABD8B199-C153-345D-7FFB-3B46A5A63722}"/>
              </a:ext>
            </a:extLst>
          </p:cNvPr>
          <p:cNvSpPr txBox="1"/>
          <p:nvPr/>
        </p:nvSpPr>
        <p:spPr>
          <a:xfrm>
            <a:off x="3429000" y="5332684"/>
            <a:ext cx="54864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/>
              <a:t>Groundbreaking Date : August 21, 2025</a:t>
            </a:r>
          </a:p>
          <a:p>
            <a:pPr algn="ctr"/>
            <a:r>
              <a:rPr lang="en-US" dirty="0"/>
              <a:t>Anticipated Completion: December 2027</a:t>
            </a:r>
          </a:p>
        </p:txBody>
      </p:sp>
      <p:pic>
        <p:nvPicPr>
          <p:cNvPr id="6" name="Picture 5" descr="A high angle view of a building&#10;&#10;Description automatically generated">
            <a:extLst>
              <a:ext uri="{FF2B5EF4-FFF2-40B4-BE49-F238E27FC236}">
                <a16:creationId xmlns:a16="http://schemas.microsoft.com/office/drawing/2014/main" id="{9F6394CD-34AA-78C3-D9F5-E9E0AF04D48F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76500" y="1699210"/>
            <a:ext cx="7239000" cy="335280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D44C2C8A-3C0D-A06F-BCD9-6343368DC0B8}"/>
              </a:ext>
            </a:extLst>
          </p:cNvPr>
          <p:cNvSpPr txBox="1"/>
          <p:nvPr/>
        </p:nvSpPr>
        <p:spPr>
          <a:xfrm>
            <a:off x="2981325" y="4789458"/>
            <a:ext cx="6229350" cy="369332"/>
          </a:xfrm>
          <a:prstGeom prst="rect">
            <a:avLst/>
          </a:prstGeom>
          <a:solidFill>
            <a:srgbClr val="FFC000"/>
          </a:solidFill>
          <a:ln w="12700">
            <a:solidFill>
              <a:srgbClr val="002060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dirty="0"/>
              <a:t>Princeton Community Hospital - Cancer Center</a:t>
            </a:r>
          </a:p>
        </p:txBody>
      </p:sp>
    </p:spTree>
    <p:extLst>
      <p:ext uri="{BB962C8B-B14F-4D97-AF65-F5344CB8AC3E}">
        <p14:creationId xmlns:p14="http://schemas.microsoft.com/office/powerpoint/2010/main" val="20701385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44C672D-6125-EAED-E531-DA817D2AE15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9AD21CD-142A-7ABD-C100-BF81A1649B3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82927" y="232411"/>
            <a:ext cx="7886700" cy="690608"/>
          </a:xfrm>
        </p:spPr>
        <p:txBody>
          <a:bodyPr>
            <a:normAutofit/>
          </a:bodyPr>
          <a:lstStyle/>
          <a:p>
            <a:r>
              <a:rPr lang="en-US" sz="3600" b="1" dirty="0">
                <a:solidFill>
                  <a:srgbClr val="002060"/>
                </a:solidFill>
              </a:rPr>
              <a:t>Recent Board Approved Projects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11C2F4C8-6395-89DF-5A18-52DFD7D73F51}"/>
              </a:ext>
            </a:extLst>
          </p:cNvPr>
          <p:cNvSpPr txBox="1"/>
          <p:nvPr/>
        </p:nvSpPr>
        <p:spPr>
          <a:xfrm>
            <a:off x="1752603" y="878991"/>
            <a:ext cx="877890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At its April 16, 2025 meeting, WVUHS Board of Directors approved </a:t>
            </a:r>
            <a:r>
              <a:rPr lang="en-US" b="1" u="sng" dirty="0"/>
              <a:t>$460M </a:t>
            </a:r>
            <a:r>
              <a:rPr lang="en-US" dirty="0"/>
              <a:t>in new strategic capital projects, including: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8F44C73-1819-598C-463C-E2D70B1478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492875"/>
            <a:ext cx="711200" cy="365125"/>
          </a:xfrm>
        </p:spPr>
        <p:txBody>
          <a:bodyPr/>
          <a:lstStyle/>
          <a:p>
            <a:fld id="{4A3FBA54-5C1B-D348-9A99-18A91FDE7B7F}" type="slidenum">
              <a:rPr lang="en-US" smtClean="0"/>
              <a:t>8</a:t>
            </a:fld>
            <a:endParaRPr lang="en-US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B1B4B0DE-9729-DF7F-15ED-84BF6E056FC0}"/>
              </a:ext>
            </a:extLst>
          </p:cNvPr>
          <p:cNvSpPr txBox="1"/>
          <p:nvPr/>
        </p:nvSpPr>
        <p:spPr>
          <a:xfrm>
            <a:off x="3505200" y="5351779"/>
            <a:ext cx="548640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/>
              <a:t>Groundbreaking Date : September 16, 2025</a:t>
            </a:r>
          </a:p>
          <a:p>
            <a:pPr algn="ctr"/>
            <a:r>
              <a:rPr lang="en-US" dirty="0"/>
              <a:t>Anticipated Completion: June 2028</a:t>
            </a:r>
          </a:p>
          <a:p>
            <a:endParaRPr lang="en-US" dirty="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AAAA369A-502B-7937-B1CE-8C7CE8A6868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016830" y="1690252"/>
            <a:ext cx="6279573" cy="3262748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C7316174-9438-F91E-E54A-43F271BAA9E6}"/>
              </a:ext>
            </a:extLst>
          </p:cNvPr>
          <p:cNvSpPr txBox="1"/>
          <p:nvPr/>
        </p:nvSpPr>
        <p:spPr>
          <a:xfrm>
            <a:off x="3505200" y="4829839"/>
            <a:ext cx="5410200" cy="369332"/>
          </a:xfrm>
          <a:prstGeom prst="rect">
            <a:avLst/>
          </a:prstGeom>
          <a:solidFill>
            <a:srgbClr val="FFC000"/>
          </a:solidFill>
          <a:ln w="12700">
            <a:solidFill>
              <a:srgbClr val="002060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dirty="0"/>
              <a:t>Berkeley Medical Center – New Patient Tower</a:t>
            </a:r>
          </a:p>
        </p:txBody>
      </p:sp>
    </p:spTree>
    <p:extLst>
      <p:ext uri="{BB962C8B-B14F-4D97-AF65-F5344CB8AC3E}">
        <p14:creationId xmlns:p14="http://schemas.microsoft.com/office/powerpoint/2010/main" val="248761307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080BB19-72A7-DC05-0AC1-5821C471DE4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EC073E4C-D068-34A4-3867-181B0AEF919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11294" y="1651221"/>
            <a:ext cx="6661523" cy="3547953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E8A78D70-DADA-8E99-315E-46AB0B94F03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82927" y="232411"/>
            <a:ext cx="7886700" cy="690608"/>
          </a:xfrm>
        </p:spPr>
        <p:txBody>
          <a:bodyPr>
            <a:normAutofit/>
          </a:bodyPr>
          <a:lstStyle/>
          <a:p>
            <a:r>
              <a:rPr lang="en-US" sz="3600" b="1" dirty="0">
                <a:solidFill>
                  <a:srgbClr val="002060"/>
                </a:solidFill>
              </a:rPr>
              <a:t>Recent Board Approved Project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A5C42963-7670-2616-EDC6-38D7EDF58B2D}"/>
              </a:ext>
            </a:extLst>
          </p:cNvPr>
          <p:cNvSpPr txBox="1"/>
          <p:nvPr/>
        </p:nvSpPr>
        <p:spPr>
          <a:xfrm>
            <a:off x="3421177" y="4991368"/>
            <a:ext cx="5410200" cy="369332"/>
          </a:xfrm>
          <a:prstGeom prst="rect">
            <a:avLst/>
          </a:prstGeom>
          <a:solidFill>
            <a:srgbClr val="FFC000"/>
          </a:solidFill>
          <a:ln w="12700">
            <a:solidFill>
              <a:srgbClr val="002060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dirty="0"/>
              <a:t>Jefferson Medical Center – Hospital Addition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CE6ACC49-031E-B506-7481-01C8AA4293A4}"/>
              </a:ext>
            </a:extLst>
          </p:cNvPr>
          <p:cNvSpPr txBox="1"/>
          <p:nvPr/>
        </p:nvSpPr>
        <p:spPr>
          <a:xfrm>
            <a:off x="1752603" y="878991"/>
            <a:ext cx="877890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At its April 16, 2025 meeting, WVUHS Board of Directors approved </a:t>
            </a:r>
            <a:r>
              <a:rPr lang="en-US" b="1" u="sng" dirty="0"/>
              <a:t>$460M </a:t>
            </a:r>
            <a:r>
              <a:rPr lang="en-US" dirty="0"/>
              <a:t>in new strategic capital projects, including: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6E6D1EC-1F46-F1CF-159B-C1A9066599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492875"/>
            <a:ext cx="711200" cy="365125"/>
          </a:xfrm>
        </p:spPr>
        <p:txBody>
          <a:bodyPr/>
          <a:lstStyle/>
          <a:p>
            <a:fld id="{4A3FBA54-5C1B-D348-9A99-18A91FDE7B7F}" type="slidenum">
              <a:rPr lang="en-US" smtClean="0"/>
              <a:t>9</a:t>
            </a:fld>
            <a:endParaRPr lang="en-US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E78098D9-7CDB-04F7-6F1F-1A6F59FFB903}"/>
              </a:ext>
            </a:extLst>
          </p:cNvPr>
          <p:cNvSpPr txBox="1"/>
          <p:nvPr/>
        </p:nvSpPr>
        <p:spPr>
          <a:xfrm>
            <a:off x="3421177" y="5410200"/>
            <a:ext cx="548640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/>
              <a:t>Groundbreaking Date : April 2026 </a:t>
            </a:r>
          </a:p>
          <a:p>
            <a:pPr algn="ctr"/>
            <a:r>
              <a:rPr lang="en-US" dirty="0"/>
              <a:t>Anticipated Completion: April 2028 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8467966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Office Theme">
  <a:themeElements>
    <a:clrScheme name="Custom 1">
      <a:dk1>
        <a:sysClr val="windowText" lastClr="000000"/>
      </a:dk1>
      <a:lt1>
        <a:sysClr val="window" lastClr="FFFFFF"/>
      </a:lt1>
      <a:dk2>
        <a:srgbClr val="041F93"/>
      </a:dk2>
      <a:lt2>
        <a:srgbClr val="E29A09"/>
      </a:lt2>
      <a:accent1>
        <a:srgbClr val="CA262A"/>
      </a:accent1>
      <a:accent2>
        <a:srgbClr val="DE7422"/>
      </a:accent2>
      <a:accent3>
        <a:srgbClr val="007680"/>
      </a:accent3>
      <a:accent4>
        <a:srgbClr val="0078AB"/>
      </a:accent4>
      <a:accent5>
        <a:srgbClr val="527F33"/>
      </a:accent5>
      <a:accent6>
        <a:srgbClr val="D2C99F"/>
      </a:accent6>
      <a:hlink>
        <a:srgbClr val="8DCCCF"/>
      </a:hlink>
      <a:folHlink>
        <a:srgbClr val="827BA9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2_Office Theme">
  <a:themeElements>
    <a:clrScheme name="Custom 1">
      <a:dk1>
        <a:sysClr val="windowText" lastClr="000000"/>
      </a:dk1>
      <a:lt1>
        <a:sysClr val="window" lastClr="FFFFFF"/>
      </a:lt1>
      <a:dk2>
        <a:srgbClr val="041F93"/>
      </a:dk2>
      <a:lt2>
        <a:srgbClr val="E29A09"/>
      </a:lt2>
      <a:accent1>
        <a:srgbClr val="CA262A"/>
      </a:accent1>
      <a:accent2>
        <a:srgbClr val="DE7422"/>
      </a:accent2>
      <a:accent3>
        <a:srgbClr val="007680"/>
      </a:accent3>
      <a:accent4>
        <a:srgbClr val="0078AB"/>
      </a:accent4>
      <a:accent5>
        <a:srgbClr val="527F33"/>
      </a:accent5>
      <a:accent6>
        <a:srgbClr val="D2C99F"/>
      </a:accent6>
      <a:hlink>
        <a:srgbClr val="8DCCCF"/>
      </a:hlink>
      <a:folHlink>
        <a:srgbClr val="827BA9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Custom Design">
  <a:themeElements>
    <a:clrScheme name="Custom 1">
      <a:dk1>
        <a:sysClr val="windowText" lastClr="000000"/>
      </a:dk1>
      <a:lt1>
        <a:sysClr val="window" lastClr="FFFFFF"/>
      </a:lt1>
      <a:dk2>
        <a:srgbClr val="041F93"/>
      </a:dk2>
      <a:lt2>
        <a:srgbClr val="E29A09"/>
      </a:lt2>
      <a:accent1>
        <a:srgbClr val="CA262A"/>
      </a:accent1>
      <a:accent2>
        <a:srgbClr val="DE7422"/>
      </a:accent2>
      <a:accent3>
        <a:srgbClr val="007680"/>
      </a:accent3>
      <a:accent4>
        <a:srgbClr val="0078AB"/>
      </a:accent4>
      <a:accent5>
        <a:srgbClr val="527F33"/>
      </a:accent5>
      <a:accent6>
        <a:srgbClr val="D2C99F"/>
      </a:accent6>
      <a:hlink>
        <a:srgbClr val="8DCCCF"/>
      </a:hlink>
      <a:folHlink>
        <a:srgbClr val="827BA9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4.xml><?xml version="1.0" encoding="utf-8"?>
<a:theme xmlns:a="http://schemas.openxmlformats.org/drawingml/2006/main" name="2_Custom Design">
  <a:themeElements>
    <a:clrScheme name="Custom 1">
      <a:dk1>
        <a:sysClr val="windowText" lastClr="000000"/>
      </a:dk1>
      <a:lt1>
        <a:sysClr val="window" lastClr="FFFFFF"/>
      </a:lt1>
      <a:dk2>
        <a:srgbClr val="041F93"/>
      </a:dk2>
      <a:lt2>
        <a:srgbClr val="E29A09"/>
      </a:lt2>
      <a:accent1>
        <a:srgbClr val="CA262A"/>
      </a:accent1>
      <a:accent2>
        <a:srgbClr val="DE7422"/>
      </a:accent2>
      <a:accent3>
        <a:srgbClr val="007680"/>
      </a:accent3>
      <a:accent4>
        <a:srgbClr val="0078AB"/>
      </a:accent4>
      <a:accent5>
        <a:srgbClr val="527F33"/>
      </a:accent5>
      <a:accent6>
        <a:srgbClr val="D2C99F"/>
      </a:accent6>
      <a:hlink>
        <a:srgbClr val="8DCCCF"/>
      </a:hlink>
      <a:folHlink>
        <a:srgbClr val="827BA9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5.xml><?xml version="1.0" encoding="utf-8"?>
<a:theme xmlns:a="http://schemas.openxmlformats.org/drawingml/2006/main" name="1_Custom Design">
  <a:themeElements>
    <a:clrScheme name="Custom 1">
      <a:dk1>
        <a:sysClr val="windowText" lastClr="000000"/>
      </a:dk1>
      <a:lt1>
        <a:sysClr val="window" lastClr="FFFFFF"/>
      </a:lt1>
      <a:dk2>
        <a:srgbClr val="041F93"/>
      </a:dk2>
      <a:lt2>
        <a:srgbClr val="E29A09"/>
      </a:lt2>
      <a:accent1>
        <a:srgbClr val="CA262A"/>
      </a:accent1>
      <a:accent2>
        <a:srgbClr val="DE7422"/>
      </a:accent2>
      <a:accent3>
        <a:srgbClr val="007680"/>
      </a:accent3>
      <a:accent4>
        <a:srgbClr val="0078AB"/>
      </a:accent4>
      <a:accent5>
        <a:srgbClr val="527F33"/>
      </a:accent5>
      <a:accent6>
        <a:srgbClr val="D2C99F"/>
      </a:accent6>
      <a:hlink>
        <a:srgbClr val="8DCCCF"/>
      </a:hlink>
      <a:folHlink>
        <a:srgbClr val="827BA9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Custom 1">
    <a:dk1>
      <a:sysClr val="windowText" lastClr="000000"/>
    </a:dk1>
    <a:lt1>
      <a:sysClr val="window" lastClr="FFFFFF"/>
    </a:lt1>
    <a:dk2>
      <a:srgbClr val="041F93"/>
    </a:dk2>
    <a:lt2>
      <a:srgbClr val="E29A09"/>
    </a:lt2>
    <a:accent1>
      <a:srgbClr val="CA262A"/>
    </a:accent1>
    <a:accent2>
      <a:srgbClr val="DE7422"/>
    </a:accent2>
    <a:accent3>
      <a:srgbClr val="007680"/>
    </a:accent3>
    <a:accent4>
      <a:srgbClr val="0078AB"/>
    </a:accent4>
    <a:accent5>
      <a:srgbClr val="527F33"/>
    </a:accent5>
    <a:accent6>
      <a:srgbClr val="D2C99F"/>
    </a:accent6>
    <a:hlink>
      <a:srgbClr val="8DCCCF"/>
    </a:hlink>
    <a:folHlink>
      <a:srgbClr val="827BA9"/>
    </a:folHlink>
  </a:clrScheme>
</a:themeOverride>
</file>

<file path=ppt/theme/themeOverride2.xml><?xml version="1.0" encoding="utf-8"?>
<a:themeOverride xmlns:a="http://schemas.openxmlformats.org/drawingml/2006/main">
  <a:clrScheme name="Custom 1">
    <a:dk1>
      <a:sysClr val="windowText" lastClr="000000"/>
    </a:dk1>
    <a:lt1>
      <a:sysClr val="window" lastClr="FFFFFF"/>
    </a:lt1>
    <a:dk2>
      <a:srgbClr val="041F93"/>
    </a:dk2>
    <a:lt2>
      <a:srgbClr val="E29A09"/>
    </a:lt2>
    <a:accent1>
      <a:srgbClr val="CA262A"/>
    </a:accent1>
    <a:accent2>
      <a:srgbClr val="DE7422"/>
    </a:accent2>
    <a:accent3>
      <a:srgbClr val="007680"/>
    </a:accent3>
    <a:accent4>
      <a:srgbClr val="0078AB"/>
    </a:accent4>
    <a:accent5>
      <a:srgbClr val="527F33"/>
    </a:accent5>
    <a:accent6>
      <a:srgbClr val="D2C99F"/>
    </a:accent6>
    <a:hlink>
      <a:srgbClr val="8DCCCF"/>
    </a:hlink>
    <a:folHlink>
      <a:srgbClr val="827BA9"/>
    </a:folHlink>
  </a:clrScheme>
</a:themeOverride>
</file>

<file path=ppt/theme/themeOverride3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AB468830F16A1A49A463EDAE42039D6E" ma:contentTypeVersion="15" ma:contentTypeDescription="Create a new document." ma:contentTypeScope="" ma:versionID="12525c3a452671826cf117c32a5e13c2">
  <xsd:schema xmlns:xsd="http://www.w3.org/2001/XMLSchema" xmlns:xs="http://www.w3.org/2001/XMLSchema" xmlns:p="http://schemas.microsoft.com/office/2006/metadata/properties" xmlns:ns1="http://schemas.microsoft.com/sharepoint/v3" xmlns:ns2="57c65bc1-2c81-4680-9c9f-bd9375a1de80" targetNamespace="http://schemas.microsoft.com/office/2006/metadata/properties" ma:root="true" ma:fieldsID="aebfd46832135352d965d4df97073998" ns1:_="" ns2:_="">
    <xsd:import namespace="http://schemas.microsoft.com/sharepoint/v3"/>
    <xsd:import namespace="57c65bc1-2c81-4680-9c9f-bd9375a1de80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ObjectDetectorVersions" minOccurs="0"/>
                <xsd:element ref="ns2:MediaServiceDateTaken" minOccurs="0"/>
                <xsd:element ref="ns2:MediaServiceGenerationTime" minOccurs="0"/>
                <xsd:element ref="ns2:MediaServiceEventHashCode" minOccurs="0"/>
                <xsd:element ref="ns2:MediaLengthInSeconds" minOccurs="0"/>
                <xsd:element ref="ns2:lcf76f155ced4ddcb4097134ff3c332f" minOccurs="0"/>
                <xsd:element ref="ns2:MediaServiceOCR" minOccurs="0"/>
                <xsd:element ref="ns2:MediaServiceLocation" minOccurs="0"/>
                <xsd:element ref="ns1:_ip_UnifiedCompliancePolicyProperties" minOccurs="0"/>
                <xsd:element ref="ns1:_ip_UnifiedCompliancePolicyUIAction" minOccurs="0"/>
                <xsd:element ref="ns2:MediaServiceBilling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_ip_UnifiedCompliancePolicyProperties" ma:index="20" nillable="true" ma:displayName="Unified Compliance Policy Properties" ma:hidden="true" ma:internalName="_ip_UnifiedCompliancePolicyProperties">
      <xsd:simpleType>
        <xsd:restriction base="dms:Note"/>
      </xsd:simpleType>
    </xsd:element>
    <xsd:element name="_ip_UnifiedCompliancePolicyUIAction" ma:index="21" nillable="true" ma:displayName="Unified Compliance Policy UI Action" ma:hidden="true" ma:internalName="_ip_UnifiedCompliancePolicyUIAction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7c65bc1-2c81-4680-9c9f-bd9375a1de8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11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DateTaken" ma:index="12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5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17" nillable="true" ma:taxonomy="true" ma:internalName="lcf76f155ced4ddcb4097134ff3c332f" ma:taxonomyFieldName="MediaServiceImageTags" ma:displayName="Image Tags" ma:readOnly="false" ma:fieldId="{5cf76f15-5ced-4ddc-b409-7134ff3c332f}" ma:taxonomyMulti="true" ma:sspId="0a2cda8c-ac99-413a-ba01-2f480ed33471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8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Location" ma:index="19" nillable="true" ma:displayName="Location" ma:description="" ma:indexed="true" ma:internalName="MediaServiceLocation" ma:readOnly="true">
      <xsd:simpleType>
        <xsd:restriction base="dms:Text"/>
      </xsd:simpleType>
    </xsd:element>
    <xsd:element name="MediaServiceBillingMetadata" ma:index="22" nillable="true" ma:displayName="MediaServiceBillingMetadata" ma:hidden="true" ma:internalName="MediaServiceBillingMetadata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ip_UnifiedCompliancePolicyUIAction xmlns="http://schemas.microsoft.com/sharepoint/v3" xsi:nil="true"/>
    <_ip_UnifiedCompliancePolicyProperties xmlns="http://schemas.microsoft.com/sharepoint/v3" xsi:nil="true"/>
    <lcf76f155ced4ddcb4097134ff3c332f xmlns="57c65bc1-2c81-4680-9c9f-bd9375a1de80">
      <Terms xmlns="http://schemas.microsoft.com/office/infopath/2007/PartnerControls"/>
    </lcf76f155ced4ddcb4097134ff3c332f>
  </documentManagement>
</p:properties>
</file>

<file path=customXml/itemProps1.xml><?xml version="1.0" encoding="utf-8"?>
<ds:datastoreItem xmlns:ds="http://schemas.openxmlformats.org/officeDocument/2006/customXml" ds:itemID="{F6C2740A-48B8-4E7E-A793-07B4C9CCAD67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76E94377-2288-4F09-A943-9CF1E4A7ABE2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57c65bc1-2c81-4680-9c9f-bd9375a1de80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3B69992B-C99A-4F0E-95C9-75E8E5C062CB}">
  <ds:schemaRefs>
    <ds:schemaRef ds:uri="http://schemas.microsoft.com/sharepoint/v3"/>
    <ds:schemaRef ds:uri="83e06794-8814-4f49-9f79-16afe014353e"/>
    <ds:schemaRef ds:uri="http://purl.org/dc/dcmitype/"/>
    <ds:schemaRef ds:uri="fc32be64-7099-41a9-96dd-48f253efa016"/>
    <ds:schemaRef ds:uri="http://purl.org/dc/terms/"/>
    <ds:schemaRef ds:uri="http://purl.org/dc/elements/1.1/"/>
    <ds:schemaRef ds:uri="http://schemas.microsoft.com/office/2006/documentManagement/types"/>
    <ds:schemaRef ds:uri="http://www.w3.org/XML/1998/namespace"/>
    <ds:schemaRef ds:uri="http://schemas.microsoft.com/office/infopath/2007/PartnerControls"/>
    <ds:schemaRef ds:uri="http://schemas.openxmlformats.org/package/2006/metadata/core-properties"/>
    <ds:schemaRef ds:uri="http://schemas.microsoft.com/office/2006/metadata/properties"/>
    <ds:schemaRef ds:uri="57c65bc1-2c81-4680-9c9f-bd9375a1de80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18319</TotalTime>
  <Words>1638</Words>
  <Application>Microsoft Office PowerPoint</Application>
  <PresentationFormat>Widescreen</PresentationFormat>
  <Paragraphs>382</Paragraphs>
  <Slides>30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5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0</vt:i4>
      </vt:variant>
    </vt:vector>
  </HeadingPairs>
  <TitlesOfParts>
    <vt:vector size="45" baseType="lpstr">
      <vt:lpstr>MS PGothic</vt:lpstr>
      <vt:lpstr>Aptos</vt:lpstr>
      <vt:lpstr>Arial</vt:lpstr>
      <vt:lpstr>AvantGarde Md BT</vt:lpstr>
      <vt:lpstr>Calibri</vt:lpstr>
      <vt:lpstr>Roboto</vt:lpstr>
      <vt:lpstr>Source Sans Pro Web</vt:lpstr>
      <vt:lpstr>Times New Roman</vt:lpstr>
      <vt:lpstr>Wingdings</vt:lpstr>
      <vt:lpstr>1_Office Theme</vt:lpstr>
      <vt:lpstr>2_Office Theme</vt:lpstr>
      <vt:lpstr>Custom Design</vt:lpstr>
      <vt:lpstr>2_Custom Design</vt:lpstr>
      <vt:lpstr>1_Custom Design</vt:lpstr>
      <vt:lpstr>think-cell Slide</vt:lpstr>
      <vt:lpstr>WV Economic Development Council Annual Fall Conference </vt:lpstr>
      <vt:lpstr>WVU Medicine at a Glance</vt:lpstr>
      <vt:lpstr>PowerPoint Presentation</vt:lpstr>
      <vt:lpstr>Significant Investments into Provider Network</vt:lpstr>
      <vt:lpstr>Prior Year Board Approved Projects</vt:lpstr>
      <vt:lpstr>Prior Year Board Approved Projects</vt:lpstr>
      <vt:lpstr>Prior Year Board Approved Projects</vt:lpstr>
      <vt:lpstr>Recent Board Approved Projects</vt:lpstr>
      <vt:lpstr>Recent Board Approved Projects</vt:lpstr>
      <vt:lpstr>Recent Board Approved Projects</vt:lpstr>
      <vt:lpstr>Recent Board Approved Projects</vt:lpstr>
      <vt:lpstr>Recent Board Approved Projects</vt:lpstr>
      <vt:lpstr>WVU Medicine Workforce</vt:lpstr>
      <vt:lpstr>Recruitment &amp; Retention</vt:lpstr>
      <vt:lpstr>Center for Nursing Education</vt:lpstr>
      <vt:lpstr>Turnover Rate By Year</vt:lpstr>
      <vt:lpstr>Peak</vt:lpstr>
      <vt:lpstr> Integrated Delivery &amp; Finance System</vt:lpstr>
      <vt:lpstr>PowerPoint Presentation</vt:lpstr>
      <vt:lpstr>PowerPoint Presentation</vt:lpstr>
      <vt:lpstr>Peak’s Journey</vt:lpstr>
      <vt:lpstr>PowerPoint Presentation</vt:lpstr>
      <vt:lpstr>WV Health Statistics</vt:lpstr>
      <vt:lpstr>WV Payer Mix</vt:lpstr>
      <vt:lpstr>WVU Medicine Redefining Rural Health Care</vt:lpstr>
      <vt:lpstr>West Virginia is Rugged Rural</vt:lpstr>
      <vt:lpstr>PowerPoint Presentation</vt:lpstr>
      <vt:lpstr>PowerPoint Presentation</vt:lpstr>
      <vt:lpstr>PowerPoint Presentation</vt:lpstr>
      <vt:lpstr>PowerPoint Presentation</vt:lpstr>
    </vt:vector>
  </TitlesOfParts>
  <Company>WVU Healthcare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Condia, Anthony</dc:creator>
  <cp:lastModifiedBy>Hess, David</cp:lastModifiedBy>
  <cp:revision>132</cp:revision>
  <cp:lastPrinted>2023-07-31T17:39:31Z</cp:lastPrinted>
  <dcterms:created xsi:type="dcterms:W3CDTF">2015-04-16T12:40:17Z</dcterms:created>
  <dcterms:modified xsi:type="dcterms:W3CDTF">2025-09-22T19:53:5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B468830F16A1A49A463EDAE42039D6E</vt:lpwstr>
  </property>
  <property fmtid="{D5CDD505-2E9C-101B-9397-08002B2CF9AE}" pid="3" name="MediaServiceImageTags">
    <vt:lpwstr/>
  </property>
  <property fmtid="{D5CDD505-2E9C-101B-9397-08002B2CF9AE}" pid="4" name="MSIP_Label_b8f99e99-9b44-4087-9344-0482001c1f1a_Enabled">
    <vt:lpwstr>true</vt:lpwstr>
  </property>
  <property fmtid="{D5CDD505-2E9C-101B-9397-08002B2CF9AE}" pid="5" name="MSIP_Label_b8f99e99-9b44-4087-9344-0482001c1f1a_Method">
    <vt:lpwstr>Privileged</vt:lpwstr>
  </property>
  <property fmtid="{D5CDD505-2E9C-101B-9397-08002B2CF9AE}" pid="6" name="MSIP_Label_b8f99e99-9b44-4087-9344-0482001c1f1a_SiteId">
    <vt:lpwstr>9323b596-236d-4890-bed3-60232a849027</vt:lpwstr>
  </property>
  <property fmtid="{D5CDD505-2E9C-101B-9397-08002B2CF9AE}" pid="7" name="Classification">
    <vt:lpwstr>TT_Public</vt:lpwstr>
  </property>
</Properties>
</file>